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2.xml" ContentType="application/vnd.openxmlformats-officedocument.presentationml.notesSlide+xml"/>
  <Override PartName="/ppt/tags/tag3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19" r:id="rId5"/>
    <p:sldMasterId id="2147483732" r:id="rId6"/>
  </p:sldMasterIdLst>
  <p:notesMasterIdLst>
    <p:notesMasterId r:id="rId23"/>
  </p:notesMasterIdLst>
  <p:handoutMasterIdLst>
    <p:handoutMasterId r:id="rId24"/>
  </p:handoutMasterIdLst>
  <p:sldIdLst>
    <p:sldId id="1299" r:id="rId7"/>
    <p:sldId id="584" r:id="rId8"/>
    <p:sldId id="748" r:id="rId9"/>
    <p:sldId id="2147375653" r:id="rId10"/>
    <p:sldId id="1139" r:id="rId11"/>
    <p:sldId id="2147375786" r:id="rId12"/>
    <p:sldId id="2147375802" r:id="rId13"/>
    <p:sldId id="2147375798" r:id="rId14"/>
    <p:sldId id="2147375792" r:id="rId15"/>
    <p:sldId id="2147375797" r:id="rId16"/>
    <p:sldId id="2147375809" r:id="rId17"/>
    <p:sldId id="2147375807" r:id="rId18"/>
    <p:sldId id="2147375801" r:id="rId19"/>
    <p:sldId id="2147375810" r:id="rId20"/>
    <p:sldId id="2147375808" r:id="rId21"/>
    <p:sldId id="1598" r:id="rId22"/>
  </p:sldIdLst>
  <p:sldSz cx="9144000" cy="6858000" type="screen4x3"/>
  <p:notesSz cx="6797675" cy="9926638"/>
  <p:custDataLst>
    <p:tags r:id="rId25"/>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18" userDrawn="1">
          <p15:clr>
            <a:srgbClr val="A4A3A4"/>
          </p15:clr>
        </p15:guide>
        <p15:guide id="2" pos="5556" userDrawn="1">
          <p15:clr>
            <a:srgbClr val="A4A3A4"/>
          </p15:clr>
        </p15:guide>
        <p15:guide id="3" pos="204" userDrawn="1">
          <p15:clr>
            <a:srgbClr val="A4A3A4"/>
          </p15:clr>
        </p15:guide>
        <p15:guide id="4" orient="horz" pos="40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de Veyrac Antoine 102914" initials="d1" lastIdx="7" clrIdx="6">
    <p:extLst>
      <p:ext uri="{19B8F6BF-5375-455C-9EA6-DF929625EA0E}">
        <p15:presenceInfo xmlns:p15="http://schemas.microsoft.com/office/powerpoint/2012/main" userId="S-1-5-21-2733292141-944319808-1953232315-46149" providerId="AD"/>
      </p:ext>
    </p:extLst>
  </p:cmAuthor>
  <p:cmAuthor id="1" name="BOURMAUD Jean Yves" initials="BJY" lastIdx="40" clrIdx="0"/>
  <p:cmAuthor id="2" name="RTE" initials="RTE" lastIdx="2" clrIdx="1"/>
  <p:cmAuthor id="3" name="Alexei Blokhine" initials="AB" lastIdx="16" clrIdx="2"/>
  <p:cmAuthor id="4" name="Antoine de Veyrac" initials="AdV" lastIdx="15" clrIdx="3"/>
  <p:cmAuthor id="5" name="andy" initials="a" lastIdx="2" clrIdx="4"/>
  <p:cmAuthor id="6" name="Alexander Koistinen" initials="AK" lastIdx="2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F2F2F2"/>
    <a:srgbClr val="1F497D"/>
    <a:srgbClr val="EEECE1"/>
    <a:srgbClr val="DBEEF4"/>
    <a:srgbClr val="FFC7CE"/>
    <a:srgbClr val="DCE6F2"/>
    <a:srgbClr val="F9F9F9"/>
    <a:srgbClr val="DDE9F7"/>
    <a:srgbClr val="F71DA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FD0F851-EC5A-4D38-B0AD-8093EC10F338}" styleName="Style léger 1 - Accentuation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A111915-BE36-4E01-A7E5-04B1672EAD32}" styleName="Style léger 2 - Accentuation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084" autoAdjust="0"/>
    <p:restoredTop sz="94394" autoAdjust="0"/>
  </p:normalViewPr>
  <p:slideViewPr>
    <p:cSldViewPr>
      <p:cViewPr varScale="1">
        <p:scale>
          <a:sx n="63" d="100"/>
          <a:sy n="63" d="100"/>
        </p:scale>
        <p:origin x="1592" y="56"/>
      </p:cViewPr>
      <p:guideLst>
        <p:guide orient="horz" pos="618"/>
        <p:guide pos="5556"/>
        <p:guide pos="204"/>
        <p:guide orient="horz" pos="4020"/>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51" d="100"/>
          <a:sy n="51" d="100"/>
        </p:scale>
        <p:origin x="2976"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yprien PELLETIER DE CHAMBURE" userId="954ca6a6-7c37-422b-ae6a-3f5a5fea4ba3" providerId="ADAL" clId="{20DAEFE8-2B23-48B8-A4DF-56C23DEF7074}"/>
    <pc:docChg chg="undo custSel addSld delSld modSld sldOrd modMainMaster">
      <pc:chgData name="Cyprien PELLETIER DE CHAMBURE" userId="954ca6a6-7c37-422b-ae6a-3f5a5fea4ba3" providerId="ADAL" clId="{20DAEFE8-2B23-48B8-A4DF-56C23DEF7074}" dt="2024-04-11T08:05:45.884" v="3701"/>
      <pc:docMkLst>
        <pc:docMk/>
      </pc:docMkLst>
      <pc:sldChg chg="modSp mod">
        <pc:chgData name="Cyprien PELLETIER DE CHAMBURE" userId="954ca6a6-7c37-422b-ae6a-3f5a5fea4ba3" providerId="ADAL" clId="{20DAEFE8-2B23-48B8-A4DF-56C23DEF7074}" dt="2024-04-09T08:20:38.360" v="266" actId="20577"/>
        <pc:sldMkLst>
          <pc:docMk/>
          <pc:sldMk cId="4147437518" sldId="584"/>
        </pc:sldMkLst>
        <pc:graphicFrameChg chg="modGraphic">
          <ac:chgData name="Cyprien PELLETIER DE CHAMBURE" userId="954ca6a6-7c37-422b-ae6a-3f5a5fea4ba3" providerId="ADAL" clId="{20DAEFE8-2B23-48B8-A4DF-56C23DEF7074}" dt="2024-04-09T08:20:38.360" v="266" actId="20577"/>
          <ac:graphicFrameMkLst>
            <pc:docMk/>
            <pc:sldMk cId="4147437518" sldId="584"/>
            <ac:graphicFrameMk id="7" creationId="{A80EBAAF-8127-4349-A381-0C93836B57D6}"/>
          </ac:graphicFrameMkLst>
        </pc:graphicFrameChg>
      </pc:sldChg>
      <pc:sldChg chg="ord">
        <pc:chgData name="Cyprien PELLETIER DE CHAMBURE" userId="954ca6a6-7c37-422b-ae6a-3f5a5fea4ba3" providerId="ADAL" clId="{20DAEFE8-2B23-48B8-A4DF-56C23DEF7074}" dt="2024-04-09T08:11:25.641" v="30"/>
        <pc:sldMkLst>
          <pc:docMk/>
          <pc:sldMk cId="2900409527" sldId="748"/>
        </pc:sldMkLst>
      </pc:sldChg>
      <pc:sldChg chg="del ord">
        <pc:chgData name="Cyprien PELLETIER DE CHAMBURE" userId="954ca6a6-7c37-422b-ae6a-3f5a5fea4ba3" providerId="ADAL" clId="{20DAEFE8-2B23-48B8-A4DF-56C23DEF7074}" dt="2024-04-09T08:21:22.946" v="268" actId="47"/>
        <pc:sldMkLst>
          <pc:docMk/>
          <pc:sldMk cId="1215073147" sldId="1066"/>
        </pc:sldMkLst>
      </pc:sldChg>
      <pc:sldChg chg="modSp mod ord">
        <pc:chgData name="Cyprien PELLETIER DE CHAMBURE" userId="954ca6a6-7c37-422b-ae6a-3f5a5fea4ba3" providerId="ADAL" clId="{20DAEFE8-2B23-48B8-A4DF-56C23DEF7074}" dt="2024-04-11T07:04:41.706" v="2854" actId="20577"/>
        <pc:sldMkLst>
          <pc:docMk/>
          <pc:sldMk cId="1749100472" sldId="1139"/>
        </pc:sldMkLst>
        <pc:graphicFrameChg chg="modGraphic">
          <ac:chgData name="Cyprien PELLETIER DE CHAMBURE" userId="954ca6a6-7c37-422b-ae6a-3f5a5fea4ba3" providerId="ADAL" clId="{20DAEFE8-2B23-48B8-A4DF-56C23DEF7074}" dt="2024-04-11T07:04:41.706" v="2854" actId="20577"/>
          <ac:graphicFrameMkLst>
            <pc:docMk/>
            <pc:sldMk cId="1749100472" sldId="1139"/>
            <ac:graphicFrameMk id="6" creationId="{45C57EF8-DEE1-4199-B7D5-0BB577918E78}"/>
          </ac:graphicFrameMkLst>
        </pc:graphicFrameChg>
      </pc:sldChg>
      <pc:sldChg chg="del">
        <pc:chgData name="Cyprien PELLETIER DE CHAMBURE" userId="954ca6a6-7c37-422b-ae6a-3f5a5fea4ba3" providerId="ADAL" clId="{20DAEFE8-2B23-48B8-A4DF-56C23DEF7074}" dt="2024-04-09T08:11:42.942" v="32" actId="47"/>
        <pc:sldMkLst>
          <pc:docMk/>
          <pc:sldMk cId="355627998" sldId="1222"/>
        </pc:sldMkLst>
      </pc:sldChg>
      <pc:sldChg chg="modSp mod">
        <pc:chgData name="Cyprien PELLETIER DE CHAMBURE" userId="954ca6a6-7c37-422b-ae6a-3f5a5fea4ba3" providerId="ADAL" clId="{20DAEFE8-2B23-48B8-A4DF-56C23DEF7074}" dt="2024-04-09T08:08:37.338" v="19" actId="20577"/>
        <pc:sldMkLst>
          <pc:docMk/>
          <pc:sldMk cId="2071987270" sldId="1299"/>
        </pc:sldMkLst>
        <pc:spChg chg="mod">
          <ac:chgData name="Cyprien PELLETIER DE CHAMBURE" userId="954ca6a6-7c37-422b-ae6a-3f5a5fea4ba3" providerId="ADAL" clId="{20DAEFE8-2B23-48B8-A4DF-56C23DEF7074}" dt="2024-04-09T08:08:37.338" v="19" actId="20577"/>
          <ac:spMkLst>
            <pc:docMk/>
            <pc:sldMk cId="2071987270" sldId="1299"/>
            <ac:spMk id="18" creationId="{313E059A-8078-4892-AE1D-D7D592F864D7}"/>
          </ac:spMkLst>
        </pc:spChg>
      </pc:sldChg>
      <pc:sldChg chg="del">
        <pc:chgData name="Cyprien PELLETIER DE CHAMBURE" userId="954ca6a6-7c37-422b-ae6a-3f5a5fea4ba3" providerId="ADAL" clId="{20DAEFE8-2B23-48B8-A4DF-56C23DEF7074}" dt="2024-04-09T08:11:42.942" v="32" actId="47"/>
        <pc:sldMkLst>
          <pc:docMk/>
          <pc:sldMk cId="3010365769" sldId="1305"/>
        </pc:sldMkLst>
      </pc:sldChg>
      <pc:sldChg chg="del">
        <pc:chgData name="Cyprien PELLETIER DE CHAMBURE" userId="954ca6a6-7c37-422b-ae6a-3f5a5fea4ba3" providerId="ADAL" clId="{20DAEFE8-2B23-48B8-A4DF-56C23DEF7074}" dt="2024-04-09T08:11:17.641" v="28" actId="47"/>
        <pc:sldMkLst>
          <pc:docMk/>
          <pc:sldMk cId="1254886162" sldId="1306"/>
        </pc:sldMkLst>
      </pc:sldChg>
      <pc:sldChg chg="del">
        <pc:chgData name="Cyprien PELLETIER DE CHAMBURE" userId="954ca6a6-7c37-422b-ae6a-3f5a5fea4ba3" providerId="ADAL" clId="{20DAEFE8-2B23-48B8-A4DF-56C23DEF7074}" dt="2024-04-09T08:11:42.942" v="32" actId="47"/>
        <pc:sldMkLst>
          <pc:docMk/>
          <pc:sldMk cId="2797429085" sldId="1307"/>
        </pc:sldMkLst>
      </pc:sldChg>
      <pc:sldChg chg="del">
        <pc:chgData name="Cyprien PELLETIER DE CHAMBURE" userId="954ca6a6-7c37-422b-ae6a-3f5a5fea4ba3" providerId="ADAL" clId="{20DAEFE8-2B23-48B8-A4DF-56C23DEF7074}" dt="2024-04-09T08:11:32.790" v="31" actId="47"/>
        <pc:sldMkLst>
          <pc:docMk/>
          <pc:sldMk cId="1516553123" sldId="1596"/>
        </pc:sldMkLst>
      </pc:sldChg>
      <pc:sldChg chg="modSp mod">
        <pc:chgData name="Cyprien PELLETIER DE CHAMBURE" userId="954ca6a6-7c37-422b-ae6a-3f5a5fea4ba3" providerId="ADAL" clId="{20DAEFE8-2B23-48B8-A4DF-56C23DEF7074}" dt="2024-04-09T09:29:39.818" v="2801" actId="20577"/>
        <pc:sldMkLst>
          <pc:docMk/>
          <pc:sldMk cId="3849789719" sldId="1598"/>
        </pc:sldMkLst>
        <pc:spChg chg="mod">
          <ac:chgData name="Cyprien PELLETIER DE CHAMBURE" userId="954ca6a6-7c37-422b-ae6a-3f5a5fea4ba3" providerId="ADAL" clId="{20DAEFE8-2B23-48B8-A4DF-56C23DEF7074}" dt="2024-04-09T09:29:39.818" v="2801" actId="20577"/>
          <ac:spMkLst>
            <pc:docMk/>
            <pc:sldMk cId="3849789719" sldId="1598"/>
            <ac:spMk id="4" creationId="{00000000-0000-0000-0000-000000000000}"/>
          </ac:spMkLst>
        </pc:spChg>
      </pc:sldChg>
      <pc:sldChg chg="del">
        <pc:chgData name="Cyprien PELLETIER DE CHAMBURE" userId="954ca6a6-7c37-422b-ae6a-3f5a5fea4ba3" providerId="ADAL" clId="{20DAEFE8-2B23-48B8-A4DF-56C23DEF7074}" dt="2024-04-09T08:11:42.942" v="32" actId="47"/>
        <pc:sldMkLst>
          <pc:docMk/>
          <pc:sldMk cId="3850143062" sldId="1600"/>
        </pc:sldMkLst>
      </pc:sldChg>
      <pc:sldChg chg="del">
        <pc:chgData name="Cyprien PELLETIER DE CHAMBURE" userId="954ca6a6-7c37-422b-ae6a-3f5a5fea4ba3" providerId="ADAL" clId="{20DAEFE8-2B23-48B8-A4DF-56C23DEF7074}" dt="2024-04-09T08:11:42.942" v="32" actId="47"/>
        <pc:sldMkLst>
          <pc:docMk/>
          <pc:sldMk cId="3014444494" sldId="2147375635"/>
        </pc:sldMkLst>
      </pc:sldChg>
      <pc:sldChg chg="del">
        <pc:chgData name="Cyprien PELLETIER DE CHAMBURE" userId="954ca6a6-7c37-422b-ae6a-3f5a5fea4ba3" providerId="ADAL" clId="{20DAEFE8-2B23-48B8-A4DF-56C23DEF7074}" dt="2024-04-09T08:11:42.942" v="32" actId="47"/>
        <pc:sldMkLst>
          <pc:docMk/>
          <pc:sldMk cId="1573039187" sldId="2147375641"/>
        </pc:sldMkLst>
      </pc:sldChg>
      <pc:sldChg chg="del">
        <pc:chgData name="Cyprien PELLETIER DE CHAMBURE" userId="954ca6a6-7c37-422b-ae6a-3f5a5fea4ba3" providerId="ADAL" clId="{20DAEFE8-2B23-48B8-A4DF-56C23DEF7074}" dt="2024-04-09T08:11:42.942" v="32" actId="47"/>
        <pc:sldMkLst>
          <pc:docMk/>
          <pc:sldMk cId="2478414682" sldId="2147375650"/>
        </pc:sldMkLst>
      </pc:sldChg>
      <pc:sldChg chg="del">
        <pc:chgData name="Cyprien PELLETIER DE CHAMBURE" userId="954ca6a6-7c37-422b-ae6a-3f5a5fea4ba3" providerId="ADAL" clId="{20DAEFE8-2B23-48B8-A4DF-56C23DEF7074}" dt="2024-04-09T08:11:42.942" v="32" actId="47"/>
        <pc:sldMkLst>
          <pc:docMk/>
          <pc:sldMk cId="1185557327" sldId="2147375651"/>
        </pc:sldMkLst>
      </pc:sldChg>
      <pc:sldChg chg="del">
        <pc:chgData name="Cyprien PELLETIER DE CHAMBURE" userId="954ca6a6-7c37-422b-ae6a-3f5a5fea4ba3" providerId="ADAL" clId="{20DAEFE8-2B23-48B8-A4DF-56C23DEF7074}" dt="2024-04-09T08:11:42.942" v="32" actId="47"/>
        <pc:sldMkLst>
          <pc:docMk/>
          <pc:sldMk cId="616915527" sldId="2147375652"/>
        </pc:sldMkLst>
      </pc:sldChg>
      <pc:sldChg chg="ord">
        <pc:chgData name="Cyprien PELLETIER DE CHAMBURE" userId="954ca6a6-7c37-422b-ae6a-3f5a5fea4ba3" providerId="ADAL" clId="{20DAEFE8-2B23-48B8-A4DF-56C23DEF7074}" dt="2024-04-09T08:11:25.641" v="30"/>
        <pc:sldMkLst>
          <pc:docMk/>
          <pc:sldMk cId="4220991389" sldId="2147375653"/>
        </pc:sldMkLst>
      </pc:sldChg>
      <pc:sldChg chg="addSp delSp modSp add mod">
        <pc:chgData name="Cyprien PELLETIER DE CHAMBURE" userId="954ca6a6-7c37-422b-ae6a-3f5a5fea4ba3" providerId="ADAL" clId="{20DAEFE8-2B23-48B8-A4DF-56C23DEF7074}" dt="2024-04-09T08:23:33.292" v="493" actId="20577"/>
        <pc:sldMkLst>
          <pc:docMk/>
          <pc:sldMk cId="4184632692" sldId="2147375786"/>
        </pc:sldMkLst>
        <pc:spChg chg="mod">
          <ac:chgData name="Cyprien PELLETIER DE CHAMBURE" userId="954ca6a6-7c37-422b-ae6a-3f5a5fea4ba3" providerId="ADAL" clId="{20DAEFE8-2B23-48B8-A4DF-56C23DEF7074}" dt="2024-04-09T08:21:30.668" v="271" actId="1076"/>
          <ac:spMkLst>
            <pc:docMk/>
            <pc:sldMk cId="4184632692" sldId="2147375786"/>
            <ac:spMk id="6" creationId="{F503C7B7-0155-5504-6008-473BDBDAE715}"/>
          </ac:spMkLst>
        </pc:spChg>
        <pc:spChg chg="mod">
          <ac:chgData name="Cyprien PELLETIER DE CHAMBURE" userId="954ca6a6-7c37-422b-ae6a-3f5a5fea4ba3" providerId="ADAL" clId="{20DAEFE8-2B23-48B8-A4DF-56C23DEF7074}" dt="2024-04-09T08:21:50.834" v="280" actId="1036"/>
          <ac:spMkLst>
            <pc:docMk/>
            <pc:sldMk cId="4184632692" sldId="2147375786"/>
            <ac:spMk id="7" creationId="{8AFC8A77-A9C9-EC57-055F-FCF1952E3DF7}"/>
          </ac:spMkLst>
        </pc:spChg>
        <pc:spChg chg="mod">
          <ac:chgData name="Cyprien PELLETIER DE CHAMBURE" userId="954ca6a6-7c37-422b-ae6a-3f5a5fea4ba3" providerId="ADAL" clId="{20DAEFE8-2B23-48B8-A4DF-56C23DEF7074}" dt="2024-04-09T08:21:50.834" v="280" actId="1036"/>
          <ac:spMkLst>
            <pc:docMk/>
            <pc:sldMk cId="4184632692" sldId="2147375786"/>
            <ac:spMk id="9" creationId="{0005206F-215A-9EDA-8F00-FB0735BCF572}"/>
          </ac:spMkLst>
        </pc:spChg>
        <pc:spChg chg="mod">
          <ac:chgData name="Cyprien PELLETIER DE CHAMBURE" userId="954ca6a6-7c37-422b-ae6a-3f5a5fea4ba3" providerId="ADAL" clId="{20DAEFE8-2B23-48B8-A4DF-56C23DEF7074}" dt="2024-04-09T08:21:50.834" v="280" actId="1036"/>
          <ac:spMkLst>
            <pc:docMk/>
            <pc:sldMk cId="4184632692" sldId="2147375786"/>
            <ac:spMk id="11" creationId="{A52AAE26-5C27-8027-9F92-822AF4AEC2D2}"/>
          </ac:spMkLst>
        </pc:spChg>
        <pc:spChg chg="mod">
          <ac:chgData name="Cyprien PELLETIER DE CHAMBURE" userId="954ca6a6-7c37-422b-ae6a-3f5a5fea4ba3" providerId="ADAL" clId="{20DAEFE8-2B23-48B8-A4DF-56C23DEF7074}" dt="2024-04-09T08:21:50.834" v="280" actId="1036"/>
          <ac:spMkLst>
            <pc:docMk/>
            <pc:sldMk cId="4184632692" sldId="2147375786"/>
            <ac:spMk id="13" creationId="{4B780E39-774A-427C-E45C-7A7FBC01098B}"/>
          </ac:spMkLst>
        </pc:spChg>
        <pc:spChg chg="mod">
          <ac:chgData name="Cyprien PELLETIER DE CHAMBURE" userId="954ca6a6-7c37-422b-ae6a-3f5a5fea4ba3" providerId="ADAL" clId="{20DAEFE8-2B23-48B8-A4DF-56C23DEF7074}" dt="2024-04-09T08:21:50.834" v="280" actId="1036"/>
          <ac:spMkLst>
            <pc:docMk/>
            <pc:sldMk cId="4184632692" sldId="2147375786"/>
            <ac:spMk id="14" creationId="{D8807F01-2AB7-15A5-2F1E-976F39251EBF}"/>
          </ac:spMkLst>
        </pc:spChg>
        <pc:spChg chg="mod">
          <ac:chgData name="Cyprien PELLETIER DE CHAMBURE" userId="954ca6a6-7c37-422b-ae6a-3f5a5fea4ba3" providerId="ADAL" clId="{20DAEFE8-2B23-48B8-A4DF-56C23DEF7074}" dt="2024-04-09T08:21:50.834" v="280" actId="1036"/>
          <ac:spMkLst>
            <pc:docMk/>
            <pc:sldMk cId="4184632692" sldId="2147375786"/>
            <ac:spMk id="17" creationId="{87C11820-85CE-36D9-170A-912331B7CD68}"/>
          </ac:spMkLst>
        </pc:spChg>
        <pc:spChg chg="mod">
          <ac:chgData name="Cyprien PELLETIER DE CHAMBURE" userId="954ca6a6-7c37-422b-ae6a-3f5a5fea4ba3" providerId="ADAL" clId="{20DAEFE8-2B23-48B8-A4DF-56C23DEF7074}" dt="2024-04-09T08:21:50.834" v="280" actId="1036"/>
          <ac:spMkLst>
            <pc:docMk/>
            <pc:sldMk cId="4184632692" sldId="2147375786"/>
            <ac:spMk id="18" creationId="{9241D68A-A5D4-5323-42F0-31AF47A5E1A0}"/>
          </ac:spMkLst>
        </pc:spChg>
        <pc:spChg chg="mod">
          <ac:chgData name="Cyprien PELLETIER DE CHAMBURE" userId="954ca6a6-7c37-422b-ae6a-3f5a5fea4ba3" providerId="ADAL" clId="{20DAEFE8-2B23-48B8-A4DF-56C23DEF7074}" dt="2024-04-09T08:21:50.834" v="280" actId="1036"/>
          <ac:spMkLst>
            <pc:docMk/>
            <pc:sldMk cId="4184632692" sldId="2147375786"/>
            <ac:spMk id="19" creationId="{26B1F435-9E12-EFA7-79E0-3CC121EAF3B7}"/>
          </ac:spMkLst>
        </pc:spChg>
        <pc:spChg chg="mod">
          <ac:chgData name="Cyprien PELLETIER DE CHAMBURE" userId="954ca6a6-7c37-422b-ae6a-3f5a5fea4ba3" providerId="ADAL" clId="{20DAEFE8-2B23-48B8-A4DF-56C23DEF7074}" dt="2024-04-09T08:21:50.834" v="280" actId="1036"/>
          <ac:spMkLst>
            <pc:docMk/>
            <pc:sldMk cId="4184632692" sldId="2147375786"/>
            <ac:spMk id="25" creationId="{6BC70A21-9884-2FE4-01E5-E44F7E136214}"/>
          </ac:spMkLst>
        </pc:spChg>
        <pc:spChg chg="mod">
          <ac:chgData name="Cyprien PELLETIER DE CHAMBURE" userId="954ca6a6-7c37-422b-ae6a-3f5a5fea4ba3" providerId="ADAL" clId="{20DAEFE8-2B23-48B8-A4DF-56C23DEF7074}" dt="2024-04-09T08:21:50.834" v="280" actId="1036"/>
          <ac:spMkLst>
            <pc:docMk/>
            <pc:sldMk cId="4184632692" sldId="2147375786"/>
            <ac:spMk id="26" creationId="{38A364ED-99AE-E3A0-D9C8-E881C2A699CE}"/>
          </ac:spMkLst>
        </pc:spChg>
        <pc:spChg chg="mod">
          <ac:chgData name="Cyprien PELLETIER DE CHAMBURE" userId="954ca6a6-7c37-422b-ae6a-3f5a5fea4ba3" providerId="ADAL" clId="{20DAEFE8-2B23-48B8-A4DF-56C23DEF7074}" dt="2024-04-09T08:21:50.834" v="280" actId="1036"/>
          <ac:spMkLst>
            <pc:docMk/>
            <pc:sldMk cId="4184632692" sldId="2147375786"/>
            <ac:spMk id="27" creationId="{20C5524F-D79C-5638-14D5-C5FE80F0E7D0}"/>
          </ac:spMkLst>
        </pc:spChg>
        <pc:spChg chg="del">
          <ac:chgData name="Cyprien PELLETIER DE CHAMBURE" userId="954ca6a6-7c37-422b-ae6a-3f5a5fea4ba3" providerId="ADAL" clId="{20DAEFE8-2B23-48B8-A4DF-56C23DEF7074}" dt="2024-04-09T08:21:27.856" v="269" actId="478"/>
          <ac:spMkLst>
            <pc:docMk/>
            <pc:sldMk cId="4184632692" sldId="2147375786"/>
            <ac:spMk id="28" creationId="{ADCF7C11-29B2-7535-8019-0AF1B7424CAB}"/>
          </ac:spMkLst>
        </pc:spChg>
        <pc:spChg chg="mod">
          <ac:chgData name="Cyprien PELLETIER DE CHAMBURE" userId="954ca6a6-7c37-422b-ae6a-3f5a5fea4ba3" providerId="ADAL" clId="{20DAEFE8-2B23-48B8-A4DF-56C23DEF7074}" dt="2024-04-09T08:23:33.292" v="493" actId="20577"/>
          <ac:spMkLst>
            <pc:docMk/>
            <pc:sldMk cId="4184632692" sldId="2147375786"/>
            <ac:spMk id="29" creationId="{2619DFAD-804F-65FE-480A-7F0239B77718}"/>
          </ac:spMkLst>
        </pc:spChg>
        <pc:spChg chg="del topLvl">
          <ac:chgData name="Cyprien PELLETIER DE CHAMBURE" userId="954ca6a6-7c37-422b-ae6a-3f5a5fea4ba3" providerId="ADAL" clId="{20DAEFE8-2B23-48B8-A4DF-56C23DEF7074}" dt="2024-04-09T08:21:39.614" v="275" actId="478"/>
          <ac:spMkLst>
            <pc:docMk/>
            <pc:sldMk cId="4184632692" sldId="2147375786"/>
            <ac:spMk id="30" creationId="{39397EB6-8AE4-1600-8D83-2B1251DDE157}"/>
          </ac:spMkLst>
        </pc:spChg>
        <pc:spChg chg="del">
          <ac:chgData name="Cyprien PELLETIER DE CHAMBURE" userId="954ca6a6-7c37-422b-ae6a-3f5a5fea4ba3" providerId="ADAL" clId="{20DAEFE8-2B23-48B8-A4DF-56C23DEF7074}" dt="2024-04-09T08:21:36.091" v="272" actId="478"/>
          <ac:spMkLst>
            <pc:docMk/>
            <pc:sldMk cId="4184632692" sldId="2147375786"/>
            <ac:spMk id="31" creationId="{A0D0E5BD-7C41-123C-53E6-246A30219F20}"/>
          </ac:spMkLst>
        </pc:spChg>
        <pc:grpChg chg="mod topLvl">
          <ac:chgData name="Cyprien PELLETIER DE CHAMBURE" userId="954ca6a6-7c37-422b-ae6a-3f5a5fea4ba3" providerId="ADAL" clId="{20DAEFE8-2B23-48B8-A4DF-56C23DEF7074}" dt="2024-04-09T08:21:48.325" v="277" actId="1076"/>
          <ac:grpSpMkLst>
            <pc:docMk/>
            <pc:sldMk cId="4184632692" sldId="2147375786"/>
            <ac:grpSpMk id="20" creationId="{49D8D7C5-95C6-72F0-CC7D-DC6CB9CE8E1B}"/>
          </ac:grpSpMkLst>
        </pc:grpChg>
        <pc:grpChg chg="del">
          <ac:chgData name="Cyprien PELLETIER DE CHAMBURE" userId="954ca6a6-7c37-422b-ae6a-3f5a5fea4ba3" providerId="ADAL" clId="{20DAEFE8-2B23-48B8-A4DF-56C23DEF7074}" dt="2024-04-09T08:21:36.091" v="272" actId="478"/>
          <ac:grpSpMkLst>
            <pc:docMk/>
            <pc:sldMk cId="4184632692" sldId="2147375786"/>
            <ac:grpSpMk id="32" creationId="{476686F2-8379-0801-AD91-8E28ABE01F1B}"/>
          </ac:grpSpMkLst>
        </pc:grpChg>
        <pc:grpChg chg="add del">
          <ac:chgData name="Cyprien PELLETIER DE CHAMBURE" userId="954ca6a6-7c37-422b-ae6a-3f5a5fea4ba3" providerId="ADAL" clId="{20DAEFE8-2B23-48B8-A4DF-56C23DEF7074}" dt="2024-04-09T08:21:39.614" v="275" actId="478"/>
          <ac:grpSpMkLst>
            <pc:docMk/>
            <pc:sldMk cId="4184632692" sldId="2147375786"/>
            <ac:grpSpMk id="33" creationId="{9C375916-780C-097A-B58A-12593D84D98B}"/>
          </ac:grpSpMkLst>
        </pc:grpChg>
        <pc:picChg chg="mod">
          <ac:chgData name="Cyprien PELLETIER DE CHAMBURE" userId="954ca6a6-7c37-422b-ae6a-3f5a5fea4ba3" providerId="ADAL" clId="{20DAEFE8-2B23-48B8-A4DF-56C23DEF7074}" dt="2024-04-09T08:21:50.834" v="280" actId="1036"/>
          <ac:picMkLst>
            <pc:docMk/>
            <pc:sldMk cId="4184632692" sldId="2147375786"/>
            <ac:picMk id="8" creationId="{6068AFB6-C541-D425-7746-483F2C7BAC64}"/>
          </ac:picMkLst>
        </pc:picChg>
        <pc:picChg chg="mod">
          <ac:chgData name="Cyprien PELLETIER DE CHAMBURE" userId="954ca6a6-7c37-422b-ae6a-3f5a5fea4ba3" providerId="ADAL" clId="{20DAEFE8-2B23-48B8-A4DF-56C23DEF7074}" dt="2024-04-09T08:21:50.834" v="280" actId="1036"/>
          <ac:picMkLst>
            <pc:docMk/>
            <pc:sldMk cId="4184632692" sldId="2147375786"/>
            <ac:picMk id="10" creationId="{2D2A3B25-C159-F2FE-D9C0-BF852C98F05F}"/>
          </ac:picMkLst>
        </pc:picChg>
        <pc:picChg chg="mod">
          <ac:chgData name="Cyprien PELLETIER DE CHAMBURE" userId="954ca6a6-7c37-422b-ae6a-3f5a5fea4ba3" providerId="ADAL" clId="{20DAEFE8-2B23-48B8-A4DF-56C23DEF7074}" dt="2024-04-09T08:21:50.834" v="280" actId="1036"/>
          <ac:picMkLst>
            <pc:docMk/>
            <pc:sldMk cId="4184632692" sldId="2147375786"/>
            <ac:picMk id="12" creationId="{87A36061-F890-6BE0-7924-4D174BA1B03E}"/>
          </ac:picMkLst>
        </pc:picChg>
        <pc:picChg chg="mod">
          <ac:chgData name="Cyprien PELLETIER DE CHAMBURE" userId="954ca6a6-7c37-422b-ae6a-3f5a5fea4ba3" providerId="ADAL" clId="{20DAEFE8-2B23-48B8-A4DF-56C23DEF7074}" dt="2024-04-09T08:21:50.834" v="280" actId="1036"/>
          <ac:picMkLst>
            <pc:docMk/>
            <pc:sldMk cId="4184632692" sldId="2147375786"/>
            <ac:picMk id="15" creationId="{BBFA5828-3C39-0BC4-42C5-DE05C4FAB65B}"/>
          </ac:picMkLst>
        </pc:picChg>
        <pc:picChg chg="mod">
          <ac:chgData name="Cyprien PELLETIER DE CHAMBURE" userId="954ca6a6-7c37-422b-ae6a-3f5a5fea4ba3" providerId="ADAL" clId="{20DAEFE8-2B23-48B8-A4DF-56C23DEF7074}" dt="2024-04-09T08:21:50.834" v="280" actId="1036"/>
          <ac:picMkLst>
            <pc:docMk/>
            <pc:sldMk cId="4184632692" sldId="2147375786"/>
            <ac:picMk id="16" creationId="{60F477C9-DAD6-3070-041C-EE698F1DD70C}"/>
          </ac:picMkLst>
        </pc:picChg>
      </pc:sldChg>
      <pc:sldChg chg="modSp add mod">
        <pc:chgData name="Cyprien PELLETIER DE CHAMBURE" userId="954ca6a6-7c37-422b-ae6a-3f5a5fea4ba3" providerId="ADAL" clId="{20DAEFE8-2B23-48B8-A4DF-56C23DEF7074}" dt="2024-04-09T08:56:08.942" v="988" actId="20577"/>
        <pc:sldMkLst>
          <pc:docMk/>
          <pc:sldMk cId="2694919662" sldId="2147375792"/>
        </pc:sldMkLst>
        <pc:spChg chg="mod">
          <ac:chgData name="Cyprien PELLETIER DE CHAMBURE" userId="954ca6a6-7c37-422b-ae6a-3f5a5fea4ba3" providerId="ADAL" clId="{20DAEFE8-2B23-48B8-A4DF-56C23DEF7074}" dt="2024-04-09T08:56:08.942" v="988" actId="20577"/>
          <ac:spMkLst>
            <pc:docMk/>
            <pc:sldMk cId="2694919662" sldId="2147375792"/>
            <ac:spMk id="6" creationId="{41B01113-3305-4FEF-98D2-0DCB1A28B24E}"/>
          </ac:spMkLst>
        </pc:spChg>
        <pc:spChg chg="mod">
          <ac:chgData name="Cyprien PELLETIER DE CHAMBURE" userId="954ca6a6-7c37-422b-ae6a-3f5a5fea4ba3" providerId="ADAL" clId="{20DAEFE8-2B23-48B8-A4DF-56C23DEF7074}" dt="2024-04-09T08:26:59.043" v="496" actId="1035"/>
          <ac:spMkLst>
            <pc:docMk/>
            <pc:sldMk cId="2694919662" sldId="2147375792"/>
            <ac:spMk id="9" creationId="{80DB0EB7-9359-FD2A-54F6-678580080429}"/>
          </ac:spMkLst>
        </pc:spChg>
        <pc:spChg chg="mod">
          <ac:chgData name="Cyprien PELLETIER DE CHAMBURE" userId="954ca6a6-7c37-422b-ae6a-3f5a5fea4ba3" providerId="ADAL" clId="{20DAEFE8-2B23-48B8-A4DF-56C23DEF7074}" dt="2024-04-09T08:26:59.043" v="496" actId="1035"/>
          <ac:spMkLst>
            <pc:docMk/>
            <pc:sldMk cId="2694919662" sldId="2147375792"/>
            <ac:spMk id="10" creationId="{D5CCFF5A-2873-1271-B1A2-B63530AE3525}"/>
          </ac:spMkLst>
        </pc:spChg>
        <pc:spChg chg="mod">
          <ac:chgData name="Cyprien PELLETIER DE CHAMBURE" userId="954ca6a6-7c37-422b-ae6a-3f5a5fea4ba3" providerId="ADAL" clId="{20DAEFE8-2B23-48B8-A4DF-56C23DEF7074}" dt="2024-04-09T08:27:05.719" v="504" actId="404"/>
          <ac:spMkLst>
            <pc:docMk/>
            <pc:sldMk cId="2694919662" sldId="2147375792"/>
            <ac:spMk id="11" creationId="{B687894F-D645-43B8-8CA8-C0B1955F25FE}"/>
          </ac:spMkLst>
        </pc:spChg>
        <pc:spChg chg="mod">
          <ac:chgData name="Cyprien PELLETIER DE CHAMBURE" userId="954ca6a6-7c37-422b-ae6a-3f5a5fea4ba3" providerId="ADAL" clId="{20DAEFE8-2B23-48B8-A4DF-56C23DEF7074}" dt="2024-04-09T08:26:59.043" v="496" actId="1035"/>
          <ac:spMkLst>
            <pc:docMk/>
            <pc:sldMk cId="2694919662" sldId="2147375792"/>
            <ac:spMk id="12" creationId="{83AC0FBD-68BE-3097-1960-47A551B1C305}"/>
          </ac:spMkLst>
        </pc:spChg>
        <pc:spChg chg="mod">
          <ac:chgData name="Cyprien PELLETIER DE CHAMBURE" userId="954ca6a6-7c37-422b-ae6a-3f5a5fea4ba3" providerId="ADAL" clId="{20DAEFE8-2B23-48B8-A4DF-56C23DEF7074}" dt="2024-04-09T08:26:59.043" v="496" actId="1035"/>
          <ac:spMkLst>
            <pc:docMk/>
            <pc:sldMk cId="2694919662" sldId="2147375792"/>
            <ac:spMk id="13" creationId="{F08D506A-40D6-B6EE-8F94-A1BC290755A1}"/>
          </ac:spMkLst>
        </pc:spChg>
        <pc:spChg chg="mod">
          <ac:chgData name="Cyprien PELLETIER DE CHAMBURE" userId="954ca6a6-7c37-422b-ae6a-3f5a5fea4ba3" providerId="ADAL" clId="{20DAEFE8-2B23-48B8-A4DF-56C23DEF7074}" dt="2024-04-09T08:26:59.043" v="496" actId="1035"/>
          <ac:spMkLst>
            <pc:docMk/>
            <pc:sldMk cId="2694919662" sldId="2147375792"/>
            <ac:spMk id="14" creationId="{E28DD682-478F-1CB3-6752-545EC81D70C3}"/>
          </ac:spMkLst>
        </pc:spChg>
        <pc:spChg chg="mod">
          <ac:chgData name="Cyprien PELLETIER DE CHAMBURE" userId="954ca6a6-7c37-422b-ae6a-3f5a5fea4ba3" providerId="ADAL" clId="{20DAEFE8-2B23-48B8-A4DF-56C23DEF7074}" dt="2024-04-09T08:26:59.043" v="496" actId="1035"/>
          <ac:spMkLst>
            <pc:docMk/>
            <pc:sldMk cId="2694919662" sldId="2147375792"/>
            <ac:spMk id="15" creationId="{D4384B1D-755C-EA9D-EFF3-612D5E3AEA81}"/>
          </ac:spMkLst>
        </pc:spChg>
        <pc:spChg chg="mod">
          <ac:chgData name="Cyprien PELLETIER DE CHAMBURE" userId="954ca6a6-7c37-422b-ae6a-3f5a5fea4ba3" providerId="ADAL" clId="{20DAEFE8-2B23-48B8-A4DF-56C23DEF7074}" dt="2024-04-09T08:26:59.043" v="496" actId="1035"/>
          <ac:spMkLst>
            <pc:docMk/>
            <pc:sldMk cId="2694919662" sldId="2147375792"/>
            <ac:spMk id="16" creationId="{FF138537-68C4-3B56-44C7-7ADF47206E15}"/>
          </ac:spMkLst>
        </pc:spChg>
        <pc:spChg chg="mod">
          <ac:chgData name="Cyprien PELLETIER DE CHAMBURE" userId="954ca6a6-7c37-422b-ae6a-3f5a5fea4ba3" providerId="ADAL" clId="{20DAEFE8-2B23-48B8-A4DF-56C23DEF7074}" dt="2024-04-09T08:26:59.043" v="496" actId="1035"/>
          <ac:spMkLst>
            <pc:docMk/>
            <pc:sldMk cId="2694919662" sldId="2147375792"/>
            <ac:spMk id="17" creationId="{5FF05A02-6E57-EDC1-D255-C9213B4F5C5F}"/>
          </ac:spMkLst>
        </pc:spChg>
        <pc:spChg chg="mod">
          <ac:chgData name="Cyprien PELLETIER DE CHAMBURE" userId="954ca6a6-7c37-422b-ae6a-3f5a5fea4ba3" providerId="ADAL" clId="{20DAEFE8-2B23-48B8-A4DF-56C23DEF7074}" dt="2024-04-09T08:26:59.043" v="496" actId="1035"/>
          <ac:spMkLst>
            <pc:docMk/>
            <pc:sldMk cId="2694919662" sldId="2147375792"/>
            <ac:spMk id="18" creationId="{C0342B30-8C69-2121-7598-7ACFBE9DE786}"/>
          </ac:spMkLst>
        </pc:spChg>
        <pc:spChg chg="mod">
          <ac:chgData name="Cyprien PELLETIER DE CHAMBURE" userId="954ca6a6-7c37-422b-ae6a-3f5a5fea4ba3" providerId="ADAL" clId="{20DAEFE8-2B23-48B8-A4DF-56C23DEF7074}" dt="2024-04-09T08:26:59.043" v="496" actId="1035"/>
          <ac:spMkLst>
            <pc:docMk/>
            <pc:sldMk cId="2694919662" sldId="2147375792"/>
            <ac:spMk id="19" creationId="{4BC13C83-787F-DD68-79D5-3C403628D4E3}"/>
          </ac:spMkLst>
        </pc:spChg>
        <pc:spChg chg="mod">
          <ac:chgData name="Cyprien PELLETIER DE CHAMBURE" userId="954ca6a6-7c37-422b-ae6a-3f5a5fea4ba3" providerId="ADAL" clId="{20DAEFE8-2B23-48B8-A4DF-56C23DEF7074}" dt="2024-04-09T08:26:59.043" v="496" actId="1035"/>
          <ac:spMkLst>
            <pc:docMk/>
            <pc:sldMk cId="2694919662" sldId="2147375792"/>
            <ac:spMk id="22" creationId="{C664A458-0233-CCB3-2BC8-450BABA2B825}"/>
          </ac:spMkLst>
        </pc:spChg>
        <pc:spChg chg="mod">
          <ac:chgData name="Cyprien PELLETIER DE CHAMBURE" userId="954ca6a6-7c37-422b-ae6a-3f5a5fea4ba3" providerId="ADAL" clId="{20DAEFE8-2B23-48B8-A4DF-56C23DEF7074}" dt="2024-04-09T08:26:59.043" v="496" actId="1035"/>
          <ac:spMkLst>
            <pc:docMk/>
            <pc:sldMk cId="2694919662" sldId="2147375792"/>
            <ac:spMk id="29" creationId="{6A8F5AB7-5E79-89B5-FAD9-864462F2718C}"/>
          </ac:spMkLst>
        </pc:spChg>
        <pc:spChg chg="mod">
          <ac:chgData name="Cyprien PELLETIER DE CHAMBURE" userId="954ca6a6-7c37-422b-ae6a-3f5a5fea4ba3" providerId="ADAL" clId="{20DAEFE8-2B23-48B8-A4DF-56C23DEF7074}" dt="2024-04-09T08:26:59.043" v="496" actId="1035"/>
          <ac:spMkLst>
            <pc:docMk/>
            <pc:sldMk cId="2694919662" sldId="2147375792"/>
            <ac:spMk id="30" creationId="{7C0D6C10-5237-53EE-1951-20635EB1AF42}"/>
          </ac:spMkLst>
        </pc:spChg>
        <pc:spChg chg="mod">
          <ac:chgData name="Cyprien PELLETIER DE CHAMBURE" userId="954ca6a6-7c37-422b-ae6a-3f5a5fea4ba3" providerId="ADAL" clId="{20DAEFE8-2B23-48B8-A4DF-56C23DEF7074}" dt="2024-04-09T08:26:59.043" v="496" actId="1035"/>
          <ac:spMkLst>
            <pc:docMk/>
            <pc:sldMk cId="2694919662" sldId="2147375792"/>
            <ac:spMk id="31" creationId="{3441F2F6-1690-D8BC-B257-1526151D1AEB}"/>
          </ac:spMkLst>
        </pc:spChg>
        <pc:spChg chg="mod">
          <ac:chgData name="Cyprien PELLETIER DE CHAMBURE" userId="954ca6a6-7c37-422b-ae6a-3f5a5fea4ba3" providerId="ADAL" clId="{20DAEFE8-2B23-48B8-A4DF-56C23DEF7074}" dt="2024-04-09T08:26:59.043" v="496" actId="1035"/>
          <ac:spMkLst>
            <pc:docMk/>
            <pc:sldMk cId="2694919662" sldId="2147375792"/>
            <ac:spMk id="33" creationId="{429AD4D2-3F2B-514D-96ED-8F8F97B9EFD8}"/>
          </ac:spMkLst>
        </pc:spChg>
        <pc:cxnChg chg="mod">
          <ac:chgData name="Cyprien PELLETIER DE CHAMBURE" userId="954ca6a6-7c37-422b-ae6a-3f5a5fea4ba3" providerId="ADAL" clId="{20DAEFE8-2B23-48B8-A4DF-56C23DEF7074}" dt="2024-04-09T08:26:59.043" v="496" actId="1035"/>
          <ac:cxnSpMkLst>
            <pc:docMk/>
            <pc:sldMk cId="2694919662" sldId="2147375792"/>
            <ac:cxnSpMk id="7" creationId="{0B6D3CEC-E957-E0D3-1856-B57259A6A289}"/>
          </ac:cxnSpMkLst>
        </pc:cxnChg>
        <pc:cxnChg chg="mod">
          <ac:chgData name="Cyprien PELLETIER DE CHAMBURE" userId="954ca6a6-7c37-422b-ae6a-3f5a5fea4ba3" providerId="ADAL" clId="{20DAEFE8-2B23-48B8-A4DF-56C23DEF7074}" dt="2024-04-09T08:26:59.043" v="496" actId="1035"/>
          <ac:cxnSpMkLst>
            <pc:docMk/>
            <pc:sldMk cId="2694919662" sldId="2147375792"/>
            <ac:cxnSpMk id="20" creationId="{4BF5FF6D-0C6D-2E82-8BB7-AA5248183B7A}"/>
          </ac:cxnSpMkLst>
        </pc:cxnChg>
        <pc:cxnChg chg="mod">
          <ac:chgData name="Cyprien PELLETIER DE CHAMBURE" userId="954ca6a6-7c37-422b-ae6a-3f5a5fea4ba3" providerId="ADAL" clId="{20DAEFE8-2B23-48B8-A4DF-56C23DEF7074}" dt="2024-04-09T08:26:59.043" v="496" actId="1035"/>
          <ac:cxnSpMkLst>
            <pc:docMk/>
            <pc:sldMk cId="2694919662" sldId="2147375792"/>
            <ac:cxnSpMk id="21" creationId="{5487A50D-521C-B83E-EAEC-CC39DEC4F1A4}"/>
          </ac:cxnSpMkLst>
        </pc:cxnChg>
        <pc:cxnChg chg="mod">
          <ac:chgData name="Cyprien PELLETIER DE CHAMBURE" userId="954ca6a6-7c37-422b-ae6a-3f5a5fea4ba3" providerId="ADAL" clId="{20DAEFE8-2B23-48B8-A4DF-56C23DEF7074}" dt="2024-04-09T08:26:59.043" v="496" actId="1035"/>
          <ac:cxnSpMkLst>
            <pc:docMk/>
            <pc:sldMk cId="2694919662" sldId="2147375792"/>
            <ac:cxnSpMk id="25" creationId="{B26E8688-153B-6C10-E248-1FCFB9966A3D}"/>
          </ac:cxnSpMkLst>
        </pc:cxnChg>
        <pc:cxnChg chg="mod">
          <ac:chgData name="Cyprien PELLETIER DE CHAMBURE" userId="954ca6a6-7c37-422b-ae6a-3f5a5fea4ba3" providerId="ADAL" clId="{20DAEFE8-2B23-48B8-A4DF-56C23DEF7074}" dt="2024-04-09T08:26:59.043" v="496" actId="1035"/>
          <ac:cxnSpMkLst>
            <pc:docMk/>
            <pc:sldMk cId="2694919662" sldId="2147375792"/>
            <ac:cxnSpMk id="32" creationId="{DECBA274-C9CC-5231-0375-051EE202BD25}"/>
          </ac:cxnSpMkLst>
        </pc:cxnChg>
        <pc:cxnChg chg="mod">
          <ac:chgData name="Cyprien PELLETIER DE CHAMBURE" userId="954ca6a6-7c37-422b-ae6a-3f5a5fea4ba3" providerId="ADAL" clId="{20DAEFE8-2B23-48B8-A4DF-56C23DEF7074}" dt="2024-04-09T08:26:59.043" v="496" actId="1035"/>
          <ac:cxnSpMkLst>
            <pc:docMk/>
            <pc:sldMk cId="2694919662" sldId="2147375792"/>
            <ac:cxnSpMk id="34" creationId="{A4369088-342A-6ED8-241A-990B1A822EAC}"/>
          </ac:cxnSpMkLst>
        </pc:cxnChg>
      </pc:sldChg>
      <pc:sldChg chg="addSp delSp modSp add mod">
        <pc:chgData name="Cyprien PELLETIER DE CHAMBURE" userId="954ca6a6-7c37-422b-ae6a-3f5a5fea4ba3" providerId="ADAL" clId="{20DAEFE8-2B23-48B8-A4DF-56C23DEF7074}" dt="2024-04-11T07:24:37.759" v="3063" actId="20577"/>
        <pc:sldMkLst>
          <pc:docMk/>
          <pc:sldMk cId="959147164" sldId="2147375794"/>
        </pc:sldMkLst>
        <pc:spChg chg="mod">
          <ac:chgData name="Cyprien PELLETIER DE CHAMBURE" userId="954ca6a6-7c37-422b-ae6a-3f5a5fea4ba3" providerId="ADAL" clId="{20DAEFE8-2B23-48B8-A4DF-56C23DEF7074}" dt="2024-04-09T09:17:32.737" v="2296" actId="20577"/>
          <ac:spMkLst>
            <pc:docMk/>
            <pc:sldMk cId="959147164" sldId="2147375794"/>
            <ac:spMk id="6" creationId="{41B01113-3305-4FEF-98D2-0DCB1A28B24E}"/>
          </ac:spMkLst>
        </pc:spChg>
        <pc:spChg chg="mod">
          <ac:chgData name="Cyprien PELLETIER DE CHAMBURE" userId="954ca6a6-7c37-422b-ae6a-3f5a5fea4ba3" providerId="ADAL" clId="{20DAEFE8-2B23-48B8-A4DF-56C23DEF7074}" dt="2024-04-09T09:24:29.866" v="2797" actId="404"/>
          <ac:spMkLst>
            <pc:docMk/>
            <pc:sldMk cId="959147164" sldId="2147375794"/>
            <ac:spMk id="7" creationId="{36424E45-A6DC-C465-0201-E63290AA9FE8}"/>
          </ac:spMkLst>
        </pc:spChg>
        <pc:spChg chg="del">
          <ac:chgData name="Cyprien PELLETIER DE CHAMBURE" userId="954ca6a6-7c37-422b-ae6a-3f5a5fea4ba3" providerId="ADAL" clId="{20DAEFE8-2B23-48B8-A4DF-56C23DEF7074}" dt="2024-04-09T09:17:38.138" v="2298" actId="478"/>
          <ac:spMkLst>
            <pc:docMk/>
            <pc:sldMk cId="959147164" sldId="2147375794"/>
            <ac:spMk id="10" creationId="{2C6D4DF1-612D-8474-0D7A-F22A8EBC260A}"/>
          </ac:spMkLst>
        </pc:spChg>
        <pc:spChg chg="del">
          <ac:chgData name="Cyprien PELLETIER DE CHAMBURE" userId="954ca6a6-7c37-422b-ae6a-3f5a5fea4ba3" providerId="ADAL" clId="{20DAEFE8-2B23-48B8-A4DF-56C23DEF7074}" dt="2024-04-09T09:17:38.138" v="2298" actId="478"/>
          <ac:spMkLst>
            <pc:docMk/>
            <pc:sldMk cId="959147164" sldId="2147375794"/>
            <ac:spMk id="12" creationId="{90B7E656-7DDE-9667-A698-4305FA57ECAE}"/>
          </ac:spMkLst>
        </pc:spChg>
        <pc:spChg chg="del ord">
          <ac:chgData name="Cyprien PELLETIER DE CHAMBURE" userId="954ca6a6-7c37-422b-ae6a-3f5a5fea4ba3" providerId="ADAL" clId="{20DAEFE8-2B23-48B8-A4DF-56C23DEF7074}" dt="2024-04-09T09:17:38.138" v="2298" actId="478"/>
          <ac:spMkLst>
            <pc:docMk/>
            <pc:sldMk cId="959147164" sldId="2147375794"/>
            <ac:spMk id="23" creationId="{65C22C1A-A884-613D-7372-A123E8E68EF5}"/>
          </ac:spMkLst>
        </pc:spChg>
        <pc:spChg chg="del mod">
          <ac:chgData name="Cyprien PELLETIER DE CHAMBURE" userId="954ca6a6-7c37-422b-ae6a-3f5a5fea4ba3" providerId="ADAL" clId="{20DAEFE8-2B23-48B8-A4DF-56C23DEF7074}" dt="2024-04-09T09:17:38.138" v="2298" actId="478"/>
          <ac:spMkLst>
            <pc:docMk/>
            <pc:sldMk cId="959147164" sldId="2147375794"/>
            <ac:spMk id="24" creationId="{BFFE20A7-056D-CE3A-2E12-28A0BC0CD21D}"/>
          </ac:spMkLst>
        </pc:spChg>
        <pc:spChg chg="del mod">
          <ac:chgData name="Cyprien PELLETIER DE CHAMBURE" userId="954ca6a6-7c37-422b-ae6a-3f5a5fea4ba3" providerId="ADAL" clId="{20DAEFE8-2B23-48B8-A4DF-56C23DEF7074}" dt="2024-04-09T09:17:38.138" v="2298" actId="478"/>
          <ac:spMkLst>
            <pc:docMk/>
            <pc:sldMk cId="959147164" sldId="2147375794"/>
            <ac:spMk id="25" creationId="{B3C13AE0-7FBC-5C59-D391-60302762875F}"/>
          </ac:spMkLst>
        </pc:spChg>
        <pc:graphicFrameChg chg="del mod">
          <ac:chgData name="Cyprien PELLETIER DE CHAMBURE" userId="954ca6a6-7c37-422b-ae6a-3f5a5fea4ba3" providerId="ADAL" clId="{20DAEFE8-2B23-48B8-A4DF-56C23DEF7074}" dt="2024-04-09T09:17:38.138" v="2298" actId="478"/>
          <ac:graphicFrameMkLst>
            <pc:docMk/>
            <pc:sldMk cId="959147164" sldId="2147375794"/>
            <ac:graphicFrameMk id="9" creationId="{0E868CDA-6806-D84F-2908-88DBD8AEF836}"/>
          </ac:graphicFrameMkLst>
        </pc:graphicFrameChg>
        <pc:graphicFrameChg chg="add mod modGraphic">
          <ac:chgData name="Cyprien PELLETIER DE CHAMBURE" userId="954ca6a6-7c37-422b-ae6a-3f5a5fea4ba3" providerId="ADAL" clId="{20DAEFE8-2B23-48B8-A4DF-56C23DEF7074}" dt="2024-04-11T07:24:37.759" v="3063" actId="20577"/>
          <ac:graphicFrameMkLst>
            <pc:docMk/>
            <pc:sldMk cId="959147164" sldId="2147375794"/>
            <ac:graphicFrameMk id="26" creationId="{1F3572B2-E834-A443-8770-613209722663}"/>
          </ac:graphicFrameMkLst>
        </pc:graphicFrameChg>
        <pc:picChg chg="del">
          <ac:chgData name="Cyprien PELLETIER DE CHAMBURE" userId="954ca6a6-7c37-422b-ae6a-3f5a5fea4ba3" providerId="ADAL" clId="{20DAEFE8-2B23-48B8-A4DF-56C23DEF7074}" dt="2024-04-09T09:17:38.138" v="2298" actId="478"/>
          <ac:picMkLst>
            <pc:docMk/>
            <pc:sldMk cId="959147164" sldId="2147375794"/>
            <ac:picMk id="15" creationId="{C7959735-CDC9-3BD8-0C22-D10F2DED40C4}"/>
          </ac:picMkLst>
        </pc:picChg>
        <pc:picChg chg="del mod">
          <ac:chgData name="Cyprien PELLETIER DE CHAMBURE" userId="954ca6a6-7c37-422b-ae6a-3f5a5fea4ba3" providerId="ADAL" clId="{20DAEFE8-2B23-48B8-A4DF-56C23DEF7074}" dt="2024-04-09T09:17:38.138" v="2298" actId="478"/>
          <ac:picMkLst>
            <pc:docMk/>
            <pc:sldMk cId="959147164" sldId="2147375794"/>
            <ac:picMk id="16" creationId="{B27CC99E-4926-A725-6263-4A727D241160}"/>
          </ac:picMkLst>
        </pc:picChg>
        <pc:picChg chg="del mod">
          <ac:chgData name="Cyprien PELLETIER DE CHAMBURE" userId="954ca6a6-7c37-422b-ae6a-3f5a5fea4ba3" providerId="ADAL" clId="{20DAEFE8-2B23-48B8-A4DF-56C23DEF7074}" dt="2024-04-09T09:17:38.138" v="2298" actId="478"/>
          <ac:picMkLst>
            <pc:docMk/>
            <pc:sldMk cId="959147164" sldId="2147375794"/>
            <ac:picMk id="18" creationId="{8596C4E3-3F0A-457A-0ED4-D923A553A72D}"/>
          </ac:picMkLst>
        </pc:picChg>
        <pc:picChg chg="del">
          <ac:chgData name="Cyprien PELLETIER DE CHAMBURE" userId="954ca6a6-7c37-422b-ae6a-3f5a5fea4ba3" providerId="ADAL" clId="{20DAEFE8-2B23-48B8-A4DF-56C23DEF7074}" dt="2024-04-09T09:17:38.138" v="2298" actId="478"/>
          <ac:picMkLst>
            <pc:docMk/>
            <pc:sldMk cId="959147164" sldId="2147375794"/>
            <ac:picMk id="19" creationId="{EC5F0817-0AB5-0C94-BDCF-001F8C1B70B7}"/>
          </ac:picMkLst>
        </pc:picChg>
        <pc:picChg chg="del">
          <ac:chgData name="Cyprien PELLETIER DE CHAMBURE" userId="954ca6a6-7c37-422b-ae6a-3f5a5fea4ba3" providerId="ADAL" clId="{20DAEFE8-2B23-48B8-A4DF-56C23DEF7074}" dt="2024-04-09T09:17:38.138" v="2298" actId="478"/>
          <ac:picMkLst>
            <pc:docMk/>
            <pc:sldMk cId="959147164" sldId="2147375794"/>
            <ac:picMk id="20" creationId="{71320CEF-8BFB-B24E-30B4-6D896D515DF4}"/>
          </ac:picMkLst>
        </pc:picChg>
        <pc:picChg chg="del">
          <ac:chgData name="Cyprien PELLETIER DE CHAMBURE" userId="954ca6a6-7c37-422b-ae6a-3f5a5fea4ba3" providerId="ADAL" clId="{20DAEFE8-2B23-48B8-A4DF-56C23DEF7074}" dt="2024-04-09T09:17:38.138" v="2298" actId="478"/>
          <ac:picMkLst>
            <pc:docMk/>
            <pc:sldMk cId="959147164" sldId="2147375794"/>
            <ac:picMk id="21" creationId="{DB36BBE0-E78C-6F37-0E77-BFC2F4B099AA}"/>
          </ac:picMkLst>
        </pc:picChg>
        <pc:picChg chg="del">
          <ac:chgData name="Cyprien PELLETIER DE CHAMBURE" userId="954ca6a6-7c37-422b-ae6a-3f5a5fea4ba3" providerId="ADAL" clId="{20DAEFE8-2B23-48B8-A4DF-56C23DEF7074}" dt="2024-04-09T09:17:38.138" v="2298" actId="478"/>
          <ac:picMkLst>
            <pc:docMk/>
            <pc:sldMk cId="959147164" sldId="2147375794"/>
            <ac:picMk id="22" creationId="{427C54F9-CC16-3234-C859-7D07A61A5078}"/>
          </ac:picMkLst>
        </pc:picChg>
        <pc:cxnChg chg="del mod">
          <ac:chgData name="Cyprien PELLETIER DE CHAMBURE" userId="954ca6a6-7c37-422b-ae6a-3f5a5fea4ba3" providerId="ADAL" clId="{20DAEFE8-2B23-48B8-A4DF-56C23DEF7074}" dt="2024-04-09T09:17:38.138" v="2298" actId="478"/>
          <ac:cxnSpMkLst>
            <pc:docMk/>
            <pc:sldMk cId="959147164" sldId="2147375794"/>
            <ac:cxnSpMk id="4" creationId="{388DB0FB-BA63-C8CB-A390-E7F357776F34}"/>
          </ac:cxnSpMkLst>
        </pc:cxnChg>
        <pc:cxnChg chg="add del mod">
          <ac:chgData name="Cyprien PELLETIER DE CHAMBURE" userId="954ca6a6-7c37-422b-ae6a-3f5a5fea4ba3" providerId="ADAL" clId="{20DAEFE8-2B23-48B8-A4DF-56C23DEF7074}" dt="2024-04-09T09:17:38.138" v="2298" actId="478"/>
          <ac:cxnSpMkLst>
            <pc:docMk/>
            <pc:sldMk cId="959147164" sldId="2147375794"/>
            <ac:cxnSpMk id="11" creationId="{46BFA724-D74F-4D05-5EDA-0F973493D59A}"/>
          </ac:cxnSpMkLst>
        </pc:cxnChg>
        <pc:cxnChg chg="del">
          <ac:chgData name="Cyprien PELLETIER DE CHAMBURE" userId="954ca6a6-7c37-422b-ae6a-3f5a5fea4ba3" providerId="ADAL" clId="{20DAEFE8-2B23-48B8-A4DF-56C23DEF7074}" dt="2024-04-09T09:17:38.138" v="2298" actId="478"/>
          <ac:cxnSpMkLst>
            <pc:docMk/>
            <pc:sldMk cId="959147164" sldId="2147375794"/>
            <ac:cxnSpMk id="14" creationId="{B764E4DD-12DF-5FD9-6B56-D702CB31966F}"/>
          </ac:cxnSpMkLst>
        </pc:cxnChg>
        <pc:cxnChg chg="del">
          <ac:chgData name="Cyprien PELLETIER DE CHAMBURE" userId="954ca6a6-7c37-422b-ae6a-3f5a5fea4ba3" providerId="ADAL" clId="{20DAEFE8-2B23-48B8-A4DF-56C23DEF7074}" dt="2024-04-09T09:17:38.138" v="2298" actId="478"/>
          <ac:cxnSpMkLst>
            <pc:docMk/>
            <pc:sldMk cId="959147164" sldId="2147375794"/>
            <ac:cxnSpMk id="17" creationId="{0EE67CA2-E759-2CD3-E449-53CCC4256F54}"/>
          </ac:cxnSpMkLst>
        </pc:cxnChg>
      </pc:sldChg>
      <pc:sldChg chg="addSp delSp modSp add mod addCm modCm">
        <pc:chgData name="Cyprien PELLETIER DE CHAMBURE" userId="954ca6a6-7c37-422b-ae6a-3f5a5fea4ba3" providerId="ADAL" clId="{20DAEFE8-2B23-48B8-A4DF-56C23DEF7074}" dt="2024-04-11T08:05:30.688" v="3700"/>
        <pc:sldMkLst>
          <pc:docMk/>
          <pc:sldMk cId="3727319328" sldId="2147375797"/>
        </pc:sldMkLst>
        <pc:spChg chg="add mod">
          <ac:chgData name="Cyprien PELLETIER DE CHAMBURE" userId="954ca6a6-7c37-422b-ae6a-3f5a5fea4ba3" providerId="ADAL" clId="{20DAEFE8-2B23-48B8-A4DF-56C23DEF7074}" dt="2024-04-09T08:29:31.394" v="519"/>
          <ac:spMkLst>
            <pc:docMk/>
            <pc:sldMk cId="3727319328" sldId="2147375797"/>
            <ac:spMk id="4" creationId="{AA9E569E-D32C-5B45-98E3-71154B965AC2}"/>
          </ac:spMkLst>
        </pc:spChg>
        <pc:spChg chg="mod">
          <ac:chgData name="Cyprien PELLETIER DE CHAMBURE" userId="954ca6a6-7c37-422b-ae6a-3f5a5fea4ba3" providerId="ADAL" clId="{20DAEFE8-2B23-48B8-A4DF-56C23DEF7074}" dt="2024-04-09T08:56:29.791" v="1050" actId="20577"/>
          <ac:spMkLst>
            <pc:docMk/>
            <pc:sldMk cId="3727319328" sldId="2147375797"/>
            <ac:spMk id="6" creationId="{41B01113-3305-4FEF-98D2-0DCB1A28B24E}"/>
          </ac:spMkLst>
        </pc:spChg>
        <pc:spChg chg="add mod">
          <ac:chgData name="Cyprien PELLETIER DE CHAMBURE" userId="954ca6a6-7c37-422b-ae6a-3f5a5fea4ba3" providerId="ADAL" clId="{20DAEFE8-2B23-48B8-A4DF-56C23DEF7074}" dt="2024-04-09T08:29:31.394" v="519"/>
          <ac:spMkLst>
            <pc:docMk/>
            <pc:sldMk cId="3727319328" sldId="2147375797"/>
            <ac:spMk id="9" creationId="{9F7881AA-0B83-ADF7-A101-FE3534B24A31}"/>
          </ac:spMkLst>
        </pc:spChg>
        <pc:spChg chg="mod">
          <ac:chgData name="Cyprien PELLETIER DE CHAMBURE" userId="954ca6a6-7c37-422b-ae6a-3f5a5fea4ba3" providerId="ADAL" clId="{20DAEFE8-2B23-48B8-A4DF-56C23DEF7074}" dt="2024-04-09T08:30:36.413" v="544" actId="404"/>
          <ac:spMkLst>
            <pc:docMk/>
            <pc:sldMk cId="3727319328" sldId="2147375797"/>
            <ac:spMk id="11" creationId="{B687894F-D645-43B8-8CA8-C0B1955F25FE}"/>
          </ac:spMkLst>
        </pc:spChg>
        <pc:spChg chg="add mod">
          <ac:chgData name="Cyprien PELLETIER DE CHAMBURE" userId="954ca6a6-7c37-422b-ae6a-3f5a5fea4ba3" providerId="ADAL" clId="{20DAEFE8-2B23-48B8-A4DF-56C23DEF7074}" dt="2024-04-09T08:29:31.394" v="519"/>
          <ac:spMkLst>
            <pc:docMk/>
            <pc:sldMk cId="3727319328" sldId="2147375797"/>
            <ac:spMk id="12" creationId="{5154FCA8-E2C3-C9D2-75D4-807AE60D6F74}"/>
          </ac:spMkLst>
        </pc:spChg>
        <pc:spChg chg="add mod">
          <ac:chgData name="Cyprien PELLETIER DE CHAMBURE" userId="954ca6a6-7c37-422b-ae6a-3f5a5fea4ba3" providerId="ADAL" clId="{20DAEFE8-2B23-48B8-A4DF-56C23DEF7074}" dt="2024-04-09T08:29:31.394" v="519"/>
          <ac:spMkLst>
            <pc:docMk/>
            <pc:sldMk cId="3727319328" sldId="2147375797"/>
            <ac:spMk id="14" creationId="{2DA5779C-723D-ACE8-C717-508E2E5F33D9}"/>
          </ac:spMkLst>
        </pc:spChg>
        <pc:spChg chg="add mod">
          <ac:chgData name="Cyprien PELLETIER DE CHAMBURE" userId="954ca6a6-7c37-422b-ae6a-3f5a5fea4ba3" providerId="ADAL" clId="{20DAEFE8-2B23-48B8-A4DF-56C23DEF7074}" dt="2024-04-09T08:29:31.394" v="519"/>
          <ac:spMkLst>
            <pc:docMk/>
            <pc:sldMk cId="3727319328" sldId="2147375797"/>
            <ac:spMk id="15" creationId="{0714AA20-EF4F-B9AF-022E-54B17FA2485D}"/>
          </ac:spMkLst>
        </pc:spChg>
        <pc:spChg chg="add mod">
          <ac:chgData name="Cyprien PELLETIER DE CHAMBURE" userId="954ca6a6-7c37-422b-ae6a-3f5a5fea4ba3" providerId="ADAL" clId="{20DAEFE8-2B23-48B8-A4DF-56C23DEF7074}" dt="2024-04-09T08:29:31.394" v="519"/>
          <ac:spMkLst>
            <pc:docMk/>
            <pc:sldMk cId="3727319328" sldId="2147375797"/>
            <ac:spMk id="18" creationId="{A7FF7614-788E-84A0-55BD-CFB5BBE47400}"/>
          </ac:spMkLst>
        </pc:spChg>
        <pc:spChg chg="add mod">
          <ac:chgData name="Cyprien PELLETIER DE CHAMBURE" userId="954ca6a6-7c37-422b-ae6a-3f5a5fea4ba3" providerId="ADAL" clId="{20DAEFE8-2B23-48B8-A4DF-56C23DEF7074}" dt="2024-04-09T08:29:31.394" v="519"/>
          <ac:spMkLst>
            <pc:docMk/>
            <pc:sldMk cId="3727319328" sldId="2147375797"/>
            <ac:spMk id="19" creationId="{B2A8598A-A711-CBB3-901E-416397475839}"/>
          </ac:spMkLst>
        </pc:spChg>
        <pc:spChg chg="add mod">
          <ac:chgData name="Cyprien PELLETIER DE CHAMBURE" userId="954ca6a6-7c37-422b-ae6a-3f5a5fea4ba3" providerId="ADAL" clId="{20DAEFE8-2B23-48B8-A4DF-56C23DEF7074}" dt="2024-04-09T08:29:31.394" v="519"/>
          <ac:spMkLst>
            <pc:docMk/>
            <pc:sldMk cId="3727319328" sldId="2147375797"/>
            <ac:spMk id="20" creationId="{A2C4644D-2C50-A1A9-BEC8-0895D27932C5}"/>
          </ac:spMkLst>
        </pc:spChg>
        <pc:spChg chg="add mod">
          <ac:chgData name="Cyprien PELLETIER DE CHAMBURE" userId="954ca6a6-7c37-422b-ae6a-3f5a5fea4ba3" providerId="ADAL" clId="{20DAEFE8-2B23-48B8-A4DF-56C23DEF7074}" dt="2024-04-09T08:29:31.394" v="519"/>
          <ac:spMkLst>
            <pc:docMk/>
            <pc:sldMk cId="3727319328" sldId="2147375797"/>
            <ac:spMk id="21" creationId="{A8F3D650-8F3F-9821-DB78-2735DA2FDD9E}"/>
          </ac:spMkLst>
        </pc:spChg>
        <pc:spChg chg="add mod">
          <ac:chgData name="Cyprien PELLETIER DE CHAMBURE" userId="954ca6a6-7c37-422b-ae6a-3f5a5fea4ba3" providerId="ADAL" clId="{20DAEFE8-2B23-48B8-A4DF-56C23DEF7074}" dt="2024-04-09T08:29:31.394" v="519"/>
          <ac:spMkLst>
            <pc:docMk/>
            <pc:sldMk cId="3727319328" sldId="2147375797"/>
            <ac:spMk id="22" creationId="{906D0AE8-D812-DA82-3CBF-ED659D96C130}"/>
          </ac:spMkLst>
        </pc:spChg>
        <pc:spChg chg="add mod">
          <ac:chgData name="Cyprien PELLETIER DE CHAMBURE" userId="954ca6a6-7c37-422b-ae6a-3f5a5fea4ba3" providerId="ADAL" clId="{20DAEFE8-2B23-48B8-A4DF-56C23DEF7074}" dt="2024-04-09T08:29:31.394" v="519"/>
          <ac:spMkLst>
            <pc:docMk/>
            <pc:sldMk cId="3727319328" sldId="2147375797"/>
            <ac:spMk id="23" creationId="{0BD18A7E-8B51-260D-FC07-D492A0EEE768}"/>
          </ac:spMkLst>
        </pc:spChg>
        <pc:spChg chg="add mod">
          <ac:chgData name="Cyprien PELLETIER DE CHAMBURE" userId="954ca6a6-7c37-422b-ae6a-3f5a5fea4ba3" providerId="ADAL" clId="{20DAEFE8-2B23-48B8-A4DF-56C23DEF7074}" dt="2024-04-09T08:29:31.394" v="519"/>
          <ac:spMkLst>
            <pc:docMk/>
            <pc:sldMk cId="3727319328" sldId="2147375797"/>
            <ac:spMk id="24" creationId="{1F783279-0E5E-339E-9565-78FB05652CBD}"/>
          </ac:spMkLst>
        </pc:spChg>
        <pc:spChg chg="add mod">
          <ac:chgData name="Cyprien PELLETIER DE CHAMBURE" userId="954ca6a6-7c37-422b-ae6a-3f5a5fea4ba3" providerId="ADAL" clId="{20DAEFE8-2B23-48B8-A4DF-56C23DEF7074}" dt="2024-04-09T08:29:31.394" v="519"/>
          <ac:spMkLst>
            <pc:docMk/>
            <pc:sldMk cId="3727319328" sldId="2147375797"/>
            <ac:spMk id="25" creationId="{239CD83A-B169-6187-A1C1-E74E7BBBD22F}"/>
          </ac:spMkLst>
        </pc:spChg>
        <pc:spChg chg="mod">
          <ac:chgData name="Cyprien PELLETIER DE CHAMBURE" userId="954ca6a6-7c37-422b-ae6a-3f5a5fea4ba3" providerId="ADAL" clId="{20DAEFE8-2B23-48B8-A4DF-56C23DEF7074}" dt="2024-04-09T08:29:31.394" v="519"/>
          <ac:spMkLst>
            <pc:docMk/>
            <pc:sldMk cId="3727319328" sldId="2147375797"/>
            <ac:spMk id="29" creationId="{9410C667-429C-3987-9F02-F141D22C00C1}"/>
          </ac:spMkLst>
        </pc:spChg>
        <pc:spChg chg="mod">
          <ac:chgData name="Cyprien PELLETIER DE CHAMBURE" userId="954ca6a6-7c37-422b-ae6a-3f5a5fea4ba3" providerId="ADAL" clId="{20DAEFE8-2B23-48B8-A4DF-56C23DEF7074}" dt="2024-04-09T08:29:31.394" v="519"/>
          <ac:spMkLst>
            <pc:docMk/>
            <pc:sldMk cId="3727319328" sldId="2147375797"/>
            <ac:spMk id="30" creationId="{E42ED310-3F03-F001-34FA-BEE28A4AE215}"/>
          </ac:spMkLst>
        </pc:spChg>
        <pc:spChg chg="mod">
          <ac:chgData name="Cyprien PELLETIER DE CHAMBURE" userId="954ca6a6-7c37-422b-ae6a-3f5a5fea4ba3" providerId="ADAL" clId="{20DAEFE8-2B23-48B8-A4DF-56C23DEF7074}" dt="2024-04-09T08:29:31.394" v="519"/>
          <ac:spMkLst>
            <pc:docMk/>
            <pc:sldMk cId="3727319328" sldId="2147375797"/>
            <ac:spMk id="31" creationId="{2E392451-215E-542E-7022-853CC5D01CC0}"/>
          </ac:spMkLst>
        </pc:spChg>
        <pc:spChg chg="mod">
          <ac:chgData name="Cyprien PELLETIER DE CHAMBURE" userId="954ca6a6-7c37-422b-ae6a-3f5a5fea4ba3" providerId="ADAL" clId="{20DAEFE8-2B23-48B8-A4DF-56C23DEF7074}" dt="2024-04-09T08:29:31.394" v="519"/>
          <ac:spMkLst>
            <pc:docMk/>
            <pc:sldMk cId="3727319328" sldId="2147375797"/>
            <ac:spMk id="32" creationId="{29AE44C5-7C7F-C2DE-54A7-366BD9CAE684}"/>
          </ac:spMkLst>
        </pc:spChg>
        <pc:spChg chg="mod">
          <ac:chgData name="Cyprien PELLETIER DE CHAMBURE" userId="954ca6a6-7c37-422b-ae6a-3f5a5fea4ba3" providerId="ADAL" clId="{20DAEFE8-2B23-48B8-A4DF-56C23DEF7074}" dt="2024-04-09T08:29:31.394" v="519"/>
          <ac:spMkLst>
            <pc:docMk/>
            <pc:sldMk cId="3727319328" sldId="2147375797"/>
            <ac:spMk id="33" creationId="{4DD9F27E-B319-32F6-7BA3-FE6C9A72624C}"/>
          </ac:spMkLst>
        </pc:spChg>
        <pc:spChg chg="mod">
          <ac:chgData name="Cyprien PELLETIER DE CHAMBURE" userId="954ca6a6-7c37-422b-ae6a-3f5a5fea4ba3" providerId="ADAL" clId="{20DAEFE8-2B23-48B8-A4DF-56C23DEF7074}" dt="2024-04-09T08:29:31.394" v="519"/>
          <ac:spMkLst>
            <pc:docMk/>
            <pc:sldMk cId="3727319328" sldId="2147375797"/>
            <ac:spMk id="34" creationId="{23E21FF6-E1B1-71BE-B76D-DF5B08C6CBFE}"/>
          </ac:spMkLst>
        </pc:spChg>
        <pc:spChg chg="mod">
          <ac:chgData name="Cyprien PELLETIER DE CHAMBURE" userId="954ca6a6-7c37-422b-ae6a-3f5a5fea4ba3" providerId="ADAL" clId="{20DAEFE8-2B23-48B8-A4DF-56C23DEF7074}" dt="2024-04-09T08:30:13.694" v="529"/>
          <ac:spMkLst>
            <pc:docMk/>
            <pc:sldMk cId="3727319328" sldId="2147375797"/>
            <ac:spMk id="42" creationId="{B2853636-E661-FA4B-77FE-DE359E2C67CD}"/>
          </ac:spMkLst>
        </pc:spChg>
        <pc:spChg chg="mod">
          <ac:chgData name="Cyprien PELLETIER DE CHAMBURE" userId="954ca6a6-7c37-422b-ae6a-3f5a5fea4ba3" providerId="ADAL" clId="{20DAEFE8-2B23-48B8-A4DF-56C23DEF7074}" dt="2024-04-09T08:30:13.694" v="529"/>
          <ac:spMkLst>
            <pc:docMk/>
            <pc:sldMk cId="3727319328" sldId="2147375797"/>
            <ac:spMk id="43" creationId="{2FDBC746-6D83-FDD9-330C-DCED0F373593}"/>
          </ac:spMkLst>
        </pc:spChg>
        <pc:spChg chg="mod">
          <ac:chgData name="Cyprien PELLETIER DE CHAMBURE" userId="954ca6a6-7c37-422b-ae6a-3f5a5fea4ba3" providerId="ADAL" clId="{20DAEFE8-2B23-48B8-A4DF-56C23DEF7074}" dt="2024-04-09T08:30:13.694" v="529"/>
          <ac:spMkLst>
            <pc:docMk/>
            <pc:sldMk cId="3727319328" sldId="2147375797"/>
            <ac:spMk id="44" creationId="{67594A51-D4B9-A8F8-8743-1C64D3CF83C5}"/>
          </ac:spMkLst>
        </pc:spChg>
        <pc:spChg chg="mod">
          <ac:chgData name="Cyprien PELLETIER DE CHAMBURE" userId="954ca6a6-7c37-422b-ae6a-3f5a5fea4ba3" providerId="ADAL" clId="{20DAEFE8-2B23-48B8-A4DF-56C23DEF7074}" dt="2024-04-09T08:30:13.694" v="529"/>
          <ac:spMkLst>
            <pc:docMk/>
            <pc:sldMk cId="3727319328" sldId="2147375797"/>
            <ac:spMk id="45" creationId="{6279028B-CBEA-82C3-475D-91B6641FFF8F}"/>
          </ac:spMkLst>
        </pc:spChg>
        <pc:spChg chg="mod">
          <ac:chgData name="Cyprien PELLETIER DE CHAMBURE" userId="954ca6a6-7c37-422b-ae6a-3f5a5fea4ba3" providerId="ADAL" clId="{20DAEFE8-2B23-48B8-A4DF-56C23DEF7074}" dt="2024-04-09T08:30:13.694" v="529"/>
          <ac:spMkLst>
            <pc:docMk/>
            <pc:sldMk cId="3727319328" sldId="2147375797"/>
            <ac:spMk id="46" creationId="{85A134DA-B3AF-CC98-2741-03419183DCA7}"/>
          </ac:spMkLst>
        </pc:spChg>
        <pc:spChg chg="mod">
          <ac:chgData name="Cyprien PELLETIER DE CHAMBURE" userId="954ca6a6-7c37-422b-ae6a-3f5a5fea4ba3" providerId="ADAL" clId="{20DAEFE8-2B23-48B8-A4DF-56C23DEF7074}" dt="2024-04-09T08:30:13.694" v="529"/>
          <ac:spMkLst>
            <pc:docMk/>
            <pc:sldMk cId="3727319328" sldId="2147375797"/>
            <ac:spMk id="47" creationId="{1F1C56A6-5EE1-9AE1-1C0D-C1B2C8C8D14B}"/>
          </ac:spMkLst>
        </pc:spChg>
        <pc:spChg chg="add mod">
          <ac:chgData name="Cyprien PELLETIER DE CHAMBURE" userId="954ca6a6-7c37-422b-ae6a-3f5a5fea4ba3" providerId="ADAL" clId="{20DAEFE8-2B23-48B8-A4DF-56C23DEF7074}" dt="2024-04-11T08:00:33.014" v="3145" actId="20577"/>
          <ac:spMkLst>
            <pc:docMk/>
            <pc:sldMk cId="3727319328" sldId="2147375797"/>
            <ac:spMk id="48" creationId="{72335FA9-2DBB-4BFC-9E06-8F6CFE464F88}"/>
          </ac:spMkLst>
        </pc:spChg>
        <pc:grpChg chg="add mod">
          <ac:chgData name="Cyprien PELLETIER DE CHAMBURE" userId="954ca6a6-7c37-422b-ae6a-3f5a5fea4ba3" providerId="ADAL" clId="{20DAEFE8-2B23-48B8-A4DF-56C23DEF7074}" dt="2024-04-09T08:29:31.394" v="519"/>
          <ac:grpSpMkLst>
            <pc:docMk/>
            <pc:sldMk cId="3727319328" sldId="2147375797"/>
            <ac:grpSpMk id="26" creationId="{51D8C5DE-8AA3-2869-8D97-C96035271E50}"/>
          </ac:grpSpMkLst>
        </pc:grpChg>
        <pc:grpChg chg="mod">
          <ac:chgData name="Cyprien PELLETIER DE CHAMBURE" userId="954ca6a6-7c37-422b-ae6a-3f5a5fea4ba3" providerId="ADAL" clId="{20DAEFE8-2B23-48B8-A4DF-56C23DEF7074}" dt="2024-04-09T08:29:31.394" v="519"/>
          <ac:grpSpMkLst>
            <pc:docMk/>
            <pc:sldMk cId="3727319328" sldId="2147375797"/>
            <ac:grpSpMk id="27" creationId="{7F9A31D5-D064-61D6-EFB2-91F37C9AFA64}"/>
          </ac:grpSpMkLst>
        </pc:grpChg>
        <pc:grpChg chg="mod">
          <ac:chgData name="Cyprien PELLETIER DE CHAMBURE" userId="954ca6a6-7c37-422b-ae6a-3f5a5fea4ba3" providerId="ADAL" clId="{20DAEFE8-2B23-48B8-A4DF-56C23DEF7074}" dt="2024-04-09T08:29:31.394" v="519"/>
          <ac:grpSpMkLst>
            <pc:docMk/>
            <pc:sldMk cId="3727319328" sldId="2147375797"/>
            <ac:grpSpMk id="28" creationId="{E33014E7-6C2D-3DDD-A42F-D78ABAB572AF}"/>
          </ac:grpSpMkLst>
        </pc:grpChg>
        <pc:grpChg chg="add mod">
          <ac:chgData name="Cyprien PELLETIER DE CHAMBURE" userId="954ca6a6-7c37-422b-ae6a-3f5a5fea4ba3" providerId="ADAL" clId="{20DAEFE8-2B23-48B8-A4DF-56C23DEF7074}" dt="2024-04-09T08:30:43.168" v="546" actId="1076"/>
          <ac:grpSpMkLst>
            <pc:docMk/>
            <pc:sldMk cId="3727319328" sldId="2147375797"/>
            <ac:grpSpMk id="39" creationId="{CC102EF3-FDEE-92AE-D8FF-90B2B420067F}"/>
          </ac:grpSpMkLst>
        </pc:grpChg>
        <pc:grpChg chg="mod">
          <ac:chgData name="Cyprien PELLETIER DE CHAMBURE" userId="954ca6a6-7c37-422b-ae6a-3f5a5fea4ba3" providerId="ADAL" clId="{20DAEFE8-2B23-48B8-A4DF-56C23DEF7074}" dt="2024-04-09T08:30:13.694" v="529"/>
          <ac:grpSpMkLst>
            <pc:docMk/>
            <pc:sldMk cId="3727319328" sldId="2147375797"/>
            <ac:grpSpMk id="40" creationId="{636E483A-D3D3-1782-CCC6-A4FF707A4C70}"/>
          </ac:grpSpMkLst>
        </pc:grpChg>
        <pc:grpChg chg="mod">
          <ac:chgData name="Cyprien PELLETIER DE CHAMBURE" userId="954ca6a6-7c37-422b-ae6a-3f5a5fea4ba3" providerId="ADAL" clId="{20DAEFE8-2B23-48B8-A4DF-56C23DEF7074}" dt="2024-04-09T08:30:13.694" v="529"/>
          <ac:grpSpMkLst>
            <pc:docMk/>
            <pc:sldMk cId="3727319328" sldId="2147375797"/>
            <ac:grpSpMk id="41" creationId="{81EC468E-A9E2-96E0-17B8-9D1B2AAF959B}"/>
          </ac:grpSpMkLst>
        </pc:grpChg>
        <pc:picChg chg="add mod">
          <ac:chgData name="Cyprien PELLETIER DE CHAMBURE" userId="954ca6a6-7c37-422b-ae6a-3f5a5fea4ba3" providerId="ADAL" clId="{20DAEFE8-2B23-48B8-A4DF-56C23DEF7074}" dt="2024-04-09T08:29:31.394" v="519"/>
          <ac:picMkLst>
            <pc:docMk/>
            <pc:sldMk cId="3727319328" sldId="2147375797"/>
            <ac:picMk id="7" creationId="{1E9517A4-1D68-A20E-A1F7-712098683EC4}"/>
          </ac:picMkLst>
        </pc:picChg>
        <pc:picChg chg="add mod">
          <ac:chgData name="Cyprien PELLETIER DE CHAMBURE" userId="954ca6a6-7c37-422b-ae6a-3f5a5fea4ba3" providerId="ADAL" clId="{20DAEFE8-2B23-48B8-A4DF-56C23DEF7074}" dt="2024-04-09T08:29:31.394" v="519"/>
          <ac:picMkLst>
            <pc:docMk/>
            <pc:sldMk cId="3727319328" sldId="2147375797"/>
            <ac:picMk id="10" creationId="{95862A27-402C-9FD8-6CB9-0E8015FF2E00}"/>
          </ac:picMkLst>
        </pc:picChg>
        <pc:picChg chg="add mod">
          <ac:chgData name="Cyprien PELLETIER DE CHAMBURE" userId="954ca6a6-7c37-422b-ae6a-3f5a5fea4ba3" providerId="ADAL" clId="{20DAEFE8-2B23-48B8-A4DF-56C23DEF7074}" dt="2024-04-09T08:29:31.394" v="519"/>
          <ac:picMkLst>
            <pc:docMk/>
            <pc:sldMk cId="3727319328" sldId="2147375797"/>
            <ac:picMk id="13" creationId="{1DD4E9EF-46FD-4D44-896A-A93A9DE99A2F}"/>
          </ac:picMkLst>
        </pc:picChg>
        <pc:picChg chg="add mod">
          <ac:chgData name="Cyprien PELLETIER DE CHAMBURE" userId="954ca6a6-7c37-422b-ae6a-3f5a5fea4ba3" providerId="ADAL" clId="{20DAEFE8-2B23-48B8-A4DF-56C23DEF7074}" dt="2024-04-09T08:29:31.394" v="519"/>
          <ac:picMkLst>
            <pc:docMk/>
            <pc:sldMk cId="3727319328" sldId="2147375797"/>
            <ac:picMk id="16" creationId="{5DCBB83F-6B97-228B-DE9C-27BE9FC35954}"/>
          </ac:picMkLst>
        </pc:picChg>
        <pc:picChg chg="add mod">
          <ac:chgData name="Cyprien PELLETIER DE CHAMBURE" userId="954ca6a6-7c37-422b-ae6a-3f5a5fea4ba3" providerId="ADAL" clId="{20DAEFE8-2B23-48B8-A4DF-56C23DEF7074}" dt="2024-04-09T08:29:31.394" v="519"/>
          <ac:picMkLst>
            <pc:docMk/>
            <pc:sldMk cId="3727319328" sldId="2147375797"/>
            <ac:picMk id="17" creationId="{F0CD84DC-C252-FD3E-4773-CA22F3C287CF}"/>
          </ac:picMkLst>
        </pc:picChg>
        <pc:picChg chg="add del mod">
          <ac:chgData name="Cyprien PELLETIER DE CHAMBURE" userId="954ca6a6-7c37-422b-ae6a-3f5a5fea4ba3" providerId="ADAL" clId="{20DAEFE8-2B23-48B8-A4DF-56C23DEF7074}" dt="2024-04-09T08:29:54.808" v="525" actId="22"/>
          <ac:picMkLst>
            <pc:docMk/>
            <pc:sldMk cId="3727319328" sldId="2147375797"/>
            <ac:picMk id="36" creationId="{B9663133-72A8-B326-9525-9DE89BA00E12}"/>
          </ac:picMkLst>
        </pc:picChg>
        <pc:picChg chg="add mod">
          <ac:chgData name="Cyprien PELLETIER DE CHAMBURE" userId="954ca6a6-7c37-422b-ae6a-3f5a5fea4ba3" providerId="ADAL" clId="{20DAEFE8-2B23-48B8-A4DF-56C23DEF7074}" dt="2024-04-09T08:30:38.839" v="545" actId="1076"/>
          <ac:picMkLst>
            <pc:docMk/>
            <pc:sldMk cId="3727319328" sldId="2147375797"/>
            <ac:picMk id="38" creationId="{510B0190-2912-028D-6B5A-E9E6B84C243D}"/>
          </ac:picMkLst>
        </pc:picChg>
        <pc:extLst>
          <p:ext xmlns:p="http://schemas.openxmlformats.org/presentationml/2006/main" uri="{D6D511B9-2390-475A-947B-AFAB55BFBCF1}">
            <pc226:cmChg xmlns:pc226="http://schemas.microsoft.com/office/powerpoint/2022/06/main/command" chg="add mod">
              <pc226:chgData name="Cyprien PELLETIER DE CHAMBURE" userId="954ca6a6-7c37-422b-ae6a-3f5a5fea4ba3" providerId="ADAL" clId="{20DAEFE8-2B23-48B8-A4DF-56C23DEF7074}" dt="2024-04-11T08:05:30.688" v="3700"/>
              <pc2:cmMkLst xmlns:pc2="http://schemas.microsoft.com/office/powerpoint/2019/9/main/command">
                <pc:docMk/>
                <pc:sldMk cId="3727319328" sldId="2147375797"/>
                <pc2:cmMk id="{8E2BF4C9-88F0-4870-82AA-4B9CDE6819CD}"/>
              </pc2:cmMkLst>
              <pc226:cmRplyChg chg="add mod">
                <pc226:chgData name="Cyprien PELLETIER DE CHAMBURE" userId="954ca6a6-7c37-422b-ae6a-3f5a5fea4ba3" providerId="ADAL" clId="{20DAEFE8-2B23-48B8-A4DF-56C23DEF7074}" dt="2024-04-11T07:09:31.875" v="2855"/>
                <pc2:cmRplyMkLst xmlns:pc2="http://schemas.microsoft.com/office/powerpoint/2019/9/main/command">
                  <pc:docMk/>
                  <pc:sldMk cId="3727319328" sldId="2147375797"/>
                  <pc2:cmMk id="{8E2BF4C9-88F0-4870-82AA-4B9CDE6819CD}"/>
                  <pc2:cmRplyMk id="{CCA319EF-1FD2-4D23-8AE4-4CAE2C98B88D}"/>
                </pc2:cmRplyMkLst>
              </pc226:cmRplyChg>
            </pc226:cmChg>
          </p:ext>
        </pc:extLst>
      </pc:sldChg>
      <pc:sldChg chg="add">
        <pc:chgData name="Cyprien PELLETIER DE CHAMBURE" userId="954ca6a6-7c37-422b-ae6a-3f5a5fea4ba3" providerId="ADAL" clId="{20DAEFE8-2B23-48B8-A4DF-56C23DEF7074}" dt="2024-04-09T08:10:49.906" v="24"/>
        <pc:sldMkLst>
          <pc:docMk/>
          <pc:sldMk cId="4064103686" sldId="2147375798"/>
        </pc:sldMkLst>
      </pc:sldChg>
      <pc:sldChg chg="modSp add mod addCm delCm modCm">
        <pc:chgData name="Cyprien PELLETIER DE CHAMBURE" userId="954ca6a6-7c37-422b-ae6a-3f5a5fea4ba3" providerId="ADAL" clId="{20DAEFE8-2B23-48B8-A4DF-56C23DEF7074}" dt="2024-04-11T07:21:35.922" v="3062"/>
        <pc:sldMkLst>
          <pc:docMk/>
          <pc:sldMk cId="967375908" sldId="2147375801"/>
        </pc:sldMkLst>
        <pc:spChg chg="mod">
          <ac:chgData name="Cyprien PELLETIER DE CHAMBURE" userId="954ca6a6-7c37-422b-ae6a-3f5a5fea4ba3" providerId="ADAL" clId="{20DAEFE8-2B23-48B8-A4DF-56C23DEF7074}" dt="2024-04-11T07:20:25.882" v="3060" actId="20577"/>
          <ac:spMkLst>
            <pc:docMk/>
            <pc:sldMk cId="967375908" sldId="2147375801"/>
            <ac:spMk id="13" creationId="{0B82AC7E-924F-9933-0E4F-3F1C5ED8B94B}"/>
          </ac:spMkLst>
        </pc:spChg>
        <pc:extLst>
          <p:ext xmlns:p="http://schemas.openxmlformats.org/presentationml/2006/main" uri="{D6D511B9-2390-475A-947B-AFAB55BFBCF1}">
            <pc226:cmChg xmlns:pc226="http://schemas.microsoft.com/office/powerpoint/2022/06/main/command" chg="add del mod">
              <pc226:chgData name="Cyprien PELLETIER DE CHAMBURE" userId="954ca6a6-7c37-422b-ae6a-3f5a5fea4ba3" providerId="ADAL" clId="{20DAEFE8-2B23-48B8-A4DF-56C23DEF7074}" dt="2024-04-09T09:00:01.440" v="1524"/>
              <pc2:cmMkLst xmlns:pc2="http://schemas.microsoft.com/office/powerpoint/2019/9/main/command">
                <pc:docMk/>
                <pc:sldMk cId="967375908" sldId="2147375801"/>
                <pc2:cmMk id="{0713695C-934E-4B9B-A6C2-37B75D2A629A}"/>
              </pc2:cmMkLst>
            </pc226:cmChg>
            <pc226:cmChg xmlns:pc226="http://schemas.microsoft.com/office/powerpoint/2022/06/main/command" chg="add del mod">
              <pc226:chgData name="Cyprien PELLETIER DE CHAMBURE" userId="954ca6a6-7c37-422b-ae6a-3f5a5fea4ba3" providerId="ADAL" clId="{20DAEFE8-2B23-48B8-A4DF-56C23DEF7074}" dt="2024-04-11T07:21:35.922" v="3062"/>
              <pc2:cmMkLst xmlns:pc2="http://schemas.microsoft.com/office/powerpoint/2019/9/main/command">
                <pc:docMk/>
                <pc:sldMk cId="967375908" sldId="2147375801"/>
                <pc2:cmMk id="{07ED708E-CBB9-432F-9C27-250D8ADA2D95}"/>
              </pc2:cmMkLst>
            </pc226:cmChg>
          </p:ext>
        </pc:extLst>
      </pc:sldChg>
      <pc:sldChg chg="modSp add mod">
        <pc:chgData name="Cyprien PELLETIER DE CHAMBURE" userId="954ca6a6-7c37-422b-ae6a-3f5a5fea4ba3" providerId="ADAL" clId="{20DAEFE8-2B23-48B8-A4DF-56C23DEF7074}" dt="2024-04-09T08:13:01.380" v="120" actId="20577"/>
        <pc:sldMkLst>
          <pc:docMk/>
          <pc:sldMk cId="772903263" sldId="2147375802"/>
        </pc:sldMkLst>
        <pc:spChg chg="mod">
          <ac:chgData name="Cyprien PELLETIER DE CHAMBURE" userId="954ca6a6-7c37-422b-ae6a-3f5a5fea4ba3" providerId="ADAL" clId="{20DAEFE8-2B23-48B8-A4DF-56C23DEF7074}" dt="2024-04-09T08:13:01.380" v="120" actId="20577"/>
          <ac:spMkLst>
            <pc:docMk/>
            <pc:sldMk cId="772903263" sldId="2147375802"/>
            <ac:spMk id="4" creationId="{817F9E25-095B-6074-B902-5E255C09E35A}"/>
          </ac:spMkLst>
        </pc:spChg>
      </pc:sldChg>
      <pc:sldChg chg="addSp delSp modSp add mod">
        <pc:chgData name="Cyprien PELLETIER DE CHAMBURE" userId="954ca6a6-7c37-422b-ae6a-3f5a5fea4ba3" providerId="ADAL" clId="{20DAEFE8-2B23-48B8-A4DF-56C23DEF7074}" dt="2024-04-11T07:13:03.364" v="2969" actId="1035"/>
        <pc:sldMkLst>
          <pc:docMk/>
          <pc:sldMk cId="800488190" sldId="2147375803"/>
        </pc:sldMkLst>
        <pc:spChg chg="add del mod">
          <ac:chgData name="Cyprien PELLETIER DE CHAMBURE" userId="954ca6a6-7c37-422b-ae6a-3f5a5fea4ba3" providerId="ADAL" clId="{20DAEFE8-2B23-48B8-A4DF-56C23DEF7074}" dt="2024-04-09T08:40:25.857" v="655" actId="478"/>
          <ac:spMkLst>
            <pc:docMk/>
            <pc:sldMk cId="800488190" sldId="2147375803"/>
            <ac:spMk id="4" creationId="{FEAF4A78-6DAC-C3AE-D139-83808B4CA8F9}"/>
          </ac:spMkLst>
        </pc:spChg>
        <pc:spChg chg="mod">
          <ac:chgData name="Cyprien PELLETIER DE CHAMBURE" userId="954ca6a6-7c37-422b-ae6a-3f5a5fea4ba3" providerId="ADAL" clId="{20DAEFE8-2B23-48B8-A4DF-56C23DEF7074}" dt="2024-04-09T08:56:55.069" v="1100" actId="20577"/>
          <ac:spMkLst>
            <pc:docMk/>
            <pc:sldMk cId="800488190" sldId="2147375803"/>
            <ac:spMk id="6" creationId="{E97135F0-3A97-4C59-8383-3E393D74D5FB}"/>
          </ac:spMkLst>
        </pc:spChg>
        <pc:spChg chg="add mod">
          <ac:chgData name="Cyprien PELLETIER DE CHAMBURE" userId="954ca6a6-7c37-422b-ae6a-3f5a5fea4ba3" providerId="ADAL" clId="{20DAEFE8-2B23-48B8-A4DF-56C23DEF7074}" dt="2024-04-11T07:13:03.364" v="2969" actId="1035"/>
          <ac:spMkLst>
            <pc:docMk/>
            <pc:sldMk cId="800488190" sldId="2147375803"/>
            <ac:spMk id="7" creationId="{381E6936-C3B7-0CD2-551F-6D1551BB5505}"/>
          </ac:spMkLst>
        </pc:spChg>
        <pc:spChg chg="mod">
          <ac:chgData name="Cyprien PELLETIER DE CHAMBURE" userId="954ca6a6-7c37-422b-ae6a-3f5a5fea4ba3" providerId="ADAL" clId="{20DAEFE8-2B23-48B8-A4DF-56C23DEF7074}" dt="2024-04-11T07:12:59.873" v="2967" actId="20577"/>
          <ac:spMkLst>
            <pc:docMk/>
            <pc:sldMk cId="800488190" sldId="2147375803"/>
            <ac:spMk id="11" creationId="{74B1C2C2-3DEF-5CB9-18DE-4D0EAE3FFA86}"/>
          </ac:spMkLst>
        </pc:spChg>
      </pc:sldChg>
      <pc:sldChg chg="add del">
        <pc:chgData name="Cyprien PELLETIER DE CHAMBURE" userId="954ca6a6-7c37-422b-ae6a-3f5a5fea4ba3" providerId="ADAL" clId="{20DAEFE8-2B23-48B8-A4DF-56C23DEF7074}" dt="2024-04-09T08:39:10.946" v="564" actId="47"/>
        <pc:sldMkLst>
          <pc:docMk/>
          <pc:sldMk cId="2701806182" sldId="2147375804"/>
        </pc:sldMkLst>
      </pc:sldChg>
      <pc:sldChg chg="addSp delSp modSp add mod">
        <pc:chgData name="Cyprien PELLETIER DE CHAMBURE" userId="954ca6a6-7c37-422b-ae6a-3f5a5fea4ba3" providerId="ADAL" clId="{20DAEFE8-2B23-48B8-A4DF-56C23DEF7074}" dt="2024-04-11T07:13:27.645" v="2981" actId="20577"/>
        <pc:sldMkLst>
          <pc:docMk/>
          <pc:sldMk cId="1393127787" sldId="2147375805"/>
        </pc:sldMkLst>
        <pc:spChg chg="mod">
          <ac:chgData name="Cyprien PELLETIER DE CHAMBURE" userId="954ca6a6-7c37-422b-ae6a-3f5a5fea4ba3" providerId="ADAL" clId="{20DAEFE8-2B23-48B8-A4DF-56C23DEF7074}" dt="2024-04-09T08:57:06.042" v="1146" actId="20577"/>
          <ac:spMkLst>
            <pc:docMk/>
            <pc:sldMk cId="1393127787" sldId="2147375805"/>
            <ac:spMk id="6" creationId="{17C48559-30F9-A06A-CD08-99C5A4FE0BE8}"/>
          </ac:spMkLst>
        </pc:spChg>
        <pc:spChg chg="add del mod">
          <ac:chgData name="Cyprien PELLETIER DE CHAMBURE" userId="954ca6a6-7c37-422b-ae6a-3f5a5fea4ba3" providerId="ADAL" clId="{20DAEFE8-2B23-48B8-A4DF-56C23DEF7074}" dt="2024-04-09T08:41:04.489" v="661" actId="478"/>
          <ac:spMkLst>
            <pc:docMk/>
            <pc:sldMk cId="1393127787" sldId="2147375805"/>
            <ac:spMk id="7" creationId="{49C97298-8870-8126-2D07-DEDA19D08878}"/>
          </ac:spMkLst>
        </pc:spChg>
        <pc:spChg chg="add mod">
          <ac:chgData name="Cyprien PELLETIER DE CHAMBURE" userId="954ca6a6-7c37-422b-ae6a-3f5a5fea4ba3" providerId="ADAL" clId="{20DAEFE8-2B23-48B8-A4DF-56C23DEF7074}" dt="2024-04-11T07:13:27.645" v="2981" actId="20577"/>
          <ac:spMkLst>
            <pc:docMk/>
            <pc:sldMk cId="1393127787" sldId="2147375805"/>
            <ac:spMk id="9" creationId="{8F345D02-058F-0932-56C1-78858BDF176E}"/>
          </ac:spMkLst>
        </pc:spChg>
        <pc:spChg chg="del">
          <ac:chgData name="Cyprien PELLETIER DE CHAMBURE" userId="954ca6a6-7c37-422b-ae6a-3f5a5fea4ba3" providerId="ADAL" clId="{20DAEFE8-2B23-48B8-A4DF-56C23DEF7074}" dt="2024-04-09T08:41:02.007" v="660" actId="478"/>
          <ac:spMkLst>
            <pc:docMk/>
            <pc:sldMk cId="1393127787" sldId="2147375805"/>
            <ac:spMk id="11" creationId="{98101BDB-0D52-A121-A8A2-09CD873EA8A1}"/>
          </ac:spMkLst>
        </pc:spChg>
        <pc:spChg chg="add mod">
          <ac:chgData name="Cyprien PELLETIER DE CHAMBURE" userId="954ca6a6-7c37-422b-ae6a-3f5a5fea4ba3" providerId="ADAL" clId="{20DAEFE8-2B23-48B8-A4DF-56C23DEF7074}" dt="2024-04-09T08:53:12.854" v="902" actId="1036"/>
          <ac:spMkLst>
            <pc:docMk/>
            <pc:sldMk cId="1393127787" sldId="2147375805"/>
            <ac:spMk id="12" creationId="{48A15A6B-1C92-E10C-D08E-B98384CA655E}"/>
          </ac:spMkLst>
        </pc:spChg>
        <pc:spChg chg="add mod">
          <ac:chgData name="Cyprien PELLETIER DE CHAMBURE" userId="954ca6a6-7c37-422b-ae6a-3f5a5fea4ba3" providerId="ADAL" clId="{20DAEFE8-2B23-48B8-A4DF-56C23DEF7074}" dt="2024-04-09T08:53:12.854" v="902" actId="1036"/>
          <ac:spMkLst>
            <pc:docMk/>
            <pc:sldMk cId="1393127787" sldId="2147375805"/>
            <ac:spMk id="13" creationId="{359FDF05-ED39-560D-1C55-297B29C633EA}"/>
          </ac:spMkLst>
        </pc:spChg>
      </pc:sldChg>
      <pc:sldChg chg="addSp delSp modSp add mod addCm delCm modCm">
        <pc:chgData name="Cyprien PELLETIER DE CHAMBURE" userId="954ca6a6-7c37-422b-ae6a-3f5a5fea4ba3" providerId="ADAL" clId="{20DAEFE8-2B23-48B8-A4DF-56C23DEF7074}" dt="2024-04-11T08:04:24.011" v="3684" actId="20577"/>
        <pc:sldMkLst>
          <pc:docMk/>
          <pc:sldMk cId="3130669488" sldId="2147375806"/>
        </pc:sldMkLst>
        <pc:spChg chg="add mod">
          <ac:chgData name="Cyprien PELLETIER DE CHAMBURE" userId="954ca6a6-7c37-422b-ae6a-3f5a5fea4ba3" providerId="ADAL" clId="{20DAEFE8-2B23-48B8-A4DF-56C23DEF7074}" dt="2024-04-09T08:52:49.480" v="893"/>
          <ac:spMkLst>
            <pc:docMk/>
            <pc:sldMk cId="3130669488" sldId="2147375806"/>
            <ac:spMk id="4" creationId="{8BC7C8B9-B463-681A-9AE0-68D65BFE5C10}"/>
          </ac:spMkLst>
        </pc:spChg>
        <pc:spChg chg="mod">
          <ac:chgData name="Cyprien PELLETIER DE CHAMBURE" userId="954ca6a6-7c37-422b-ae6a-3f5a5fea4ba3" providerId="ADAL" clId="{20DAEFE8-2B23-48B8-A4DF-56C23DEF7074}" dt="2024-04-11T08:01:07.508" v="3192" actId="20577"/>
          <ac:spMkLst>
            <pc:docMk/>
            <pc:sldMk cId="3130669488" sldId="2147375806"/>
            <ac:spMk id="6" creationId="{BC1A5EE2-A0DC-69DB-EABA-B9D68A3C9696}"/>
          </ac:spMkLst>
        </pc:spChg>
        <pc:spChg chg="add del mod">
          <ac:chgData name="Cyprien PELLETIER DE CHAMBURE" userId="954ca6a6-7c37-422b-ae6a-3f5a5fea4ba3" providerId="ADAL" clId="{20DAEFE8-2B23-48B8-A4DF-56C23DEF7074}" dt="2024-04-09T08:54:18.554" v="913" actId="478"/>
          <ac:spMkLst>
            <pc:docMk/>
            <pc:sldMk cId="3130669488" sldId="2147375806"/>
            <ac:spMk id="9" creationId="{3AA2CB89-F683-2BC1-3F5C-EF9CDEE997CC}"/>
          </ac:spMkLst>
        </pc:spChg>
        <pc:spChg chg="add mod">
          <ac:chgData name="Cyprien PELLETIER DE CHAMBURE" userId="954ca6a6-7c37-422b-ae6a-3f5a5fea4ba3" providerId="ADAL" clId="{20DAEFE8-2B23-48B8-A4DF-56C23DEF7074}" dt="2024-04-11T08:04:24.011" v="3684" actId="20577"/>
          <ac:spMkLst>
            <pc:docMk/>
            <pc:sldMk cId="3130669488" sldId="2147375806"/>
            <ac:spMk id="10" creationId="{58340C9B-2590-8350-383C-B547C39CE3E8}"/>
          </ac:spMkLst>
        </pc:spChg>
        <pc:spChg chg="del mod">
          <ac:chgData name="Cyprien PELLETIER DE CHAMBURE" userId="954ca6a6-7c37-422b-ae6a-3f5a5fea4ba3" providerId="ADAL" clId="{20DAEFE8-2B23-48B8-A4DF-56C23DEF7074}" dt="2024-04-09T08:54:15.274" v="911" actId="478"/>
          <ac:spMkLst>
            <pc:docMk/>
            <pc:sldMk cId="3130669488" sldId="2147375806"/>
            <ac:spMk id="11" creationId="{C90BB667-BA23-3C97-BBA3-C1B5AA55B8B2}"/>
          </ac:spMkLst>
        </pc:spChg>
        <pc:extLst>
          <p:ext xmlns:p="http://schemas.openxmlformats.org/presentationml/2006/main" uri="{D6D511B9-2390-475A-947B-AFAB55BFBCF1}">
            <pc226:cmChg xmlns:pc226="http://schemas.microsoft.com/office/powerpoint/2022/06/main/command" chg="add del mod">
              <pc226:chgData name="Cyprien PELLETIER DE CHAMBURE" userId="954ca6a6-7c37-422b-ae6a-3f5a5fea4ba3" providerId="ADAL" clId="{20DAEFE8-2B23-48B8-A4DF-56C23DEF7074}" dt="2024-04-11T08:01:19.873" v="3200"/>
              <pc2:cmMkLst xmlns:pc2="http://schemas.microsoft.com/office/powerpoint/2019/9/main/command">
                <pc:docMk/>
                <pc:sldMk cId="3130669488" sldId="2147375806"/>
                <pc2:cmMk id="{88AEAF2F-4882-4DE3-981A-7697AA343193}"/>
              </pc2:cmMkLst>
            </pc226:cmChg>
          </p:ext>
        </pc:extLst>
      </pc:sldChg>
      <pc:sldChg chg="add del">
        <pc:chgData name="Cyprien PELLETIER DE CHAMBURE" userId="954ca6a6-7c37-422b-ae6a-3f5a5fea4ba3" providerId="ADAL" clId="{20DAEFE8-2B23-48B8-A4DF-56C23DEF7074}" dt="2024-04-09T08:53:48.216" v="907" actId="47"/>
        <pc:sldMkLst>
          <pc:docMk/>
          <pc:sldMk cId="720465551" sldId="2147375807"/>
        </pc:sldMkLst>
      </pc:sldChg>
      <pc:sldChg chg="modSp add mod addCm delCm modCm">
        <pc:chgData name="Cyprien PELLETIER DE CHAMBURE" userId="954ca6a6-7c37-422b-ae6a-3f5a5fea4ba3" providerId="ADAL" clId="{20DAEFE8-2B23-48B8-A4DF-56C23DEF7074}" dt="2024-04-11T08:05:45.884" v="3701"/>
        <pc:sldMkLst>
          <pc:docMk/>
          <pc:sldMk cId="981626754" sldId="2147375807"/>
        </pc:sldMkLst>
        <pc:spChg chg="mod">
          <ac:chgData name="Cyprien PELLETIER DE CHAMBURE" userId="954ca6a6-7c37-422b-ae6a-3f5a5fea4ba3" providerId="ADAL" clId="{20DAEFE8-2B23-48B8-A4DF-56C23DEF7074}" dt="2024-04-09T09:15:07.406" v="2242" actId="20577"/>
          <ac:spMkLst>
            <pc:docMk/>
            <pc:sldMk cId="981626754" sldId="2147375807"/>
            <ac:spMk id="6" creationId="{E3955EE3-F8C9-5B37-CA5F-411821AA7BBC}"/>
          </ac:spMkLst>
        </pc:spChg>
        <pc:spChg chg="mod">
          <ac:chgData name="Cyprien PELLETIER DE CHAMBURE" userId="954ca6a6-7c37-422b-ae6a-3f5a5fea4ba3" providerId="ADAL" clId="{20DAEFE8-2B23-48B8-A4DF-56C23DEF7074}" dt="2024-04-11T07:18:27.828" v="3018" actId="404"/>
          <ac:spMkLst>
            <pc:docMk/>
            <pc:sldMk cId="981626754" sldId="2147375807"/>
            <ac:spMk id="11" creationId="{9F1ABCF0-B3B1-001C-3F38-D936CE6A0CF5}"/>
          </ac:spMkLst>
        </pc:spChg>
        <pc:extLst>
          <p:ext xmlns:p="http://schemas.openxmlformats.org/presentationml/2006/main" uri="{D6D511B9-2390-475A-947B-AFAB55BFBCF1}">
            <pc226:cmChg xmlns:pc226="http://schemas.microsoft.com/office/powerpoint/2022/06/main/command" chg="add del mod">
              <pc226:chgData name="Cyprien PELLETIER DE CHAMBURE" userId="954ca6a6-7c37-422b-ae6a-3f5a5fea4ba3" providerId="ADAL" clId="{20DAEFE8-2B23-48B8-A4DF-56C23DEF7074}" dt="2024-04-11T08:05:45.884" v="3701"/>
              <pc2:cmMkLst xmlns:pc2="http://schemas.microsoft.com/office/powerpoint/2019/9/main/command">
                <pc:docMk/>
                <pc:sldMk cId="981626754" sldId="2147375807"/>
                <pc2:cmMk id="{618245CF-BE7B-47CD-9EA8-27BC7DFB0239}"/>
              </pc2:cmMkLst>
            </pc226:cmChg>
          </p:ext>
        </pc:extLst>
      </pc:sldChg>
      <pc:sldChg chg="add">
        <pc:chgData name="Cyprien PELLETIER DE CHAMBURE" userId="954ca6a6-7c37-422b-ae6a-3f5a5fea4ba3" providerId="ADAL" clId="{20DAEFE8-2B23-48B8-A4DF-56C23DEF7074}" dt="2024-04-09T09:14:16.669" v="2200"/>
        <pc:sldMkLst>
          <pc:docMk/>
          <pc:sldMk cId="4233762188" sldId="2147375808"/>
        </pc:sldMkLst>
      </pc:sldChg>
      <pc:sldChg chg="modSp add mod delCm modCm">
        <pc:chgData name="Cyprien PELLETIER DE CHAMBURE" userId="954ca6a6-7c37-422b-ae6a-3f5a5fea4ba3" providerId="ADAL" clId="{20DAEFE8-2B23-48B8-A4DF-56C23DEF7074}" dt="2024-04-11T08:05:04.488" v="3699" actId="20577"/>
        <pc:sldMkLst>
          <pc:docMk/>
          <pc:sldMk cId="1505116244" sldId="2147375809"/>
        </pc:sldMkLst>
        <pc:spChg chg="mod">
          <ac:chgData name="Cyprien PELLETIER DE CHAMBURE" userId="954ca6a6-7c37-422b-ae6a-3f5a5fea4ba3" providerId="ADAL" clId="{20DAEFE8-2B23-48B8-A4DF-56C23DEF7074}" dt="2024-04-11T08:05:04.488" v="3699" actId="20577"/>
          <ac:spMkLst>
            <pc:docMk/>
            <pc:sldMk cId="1505116244" sldId="2147375809"/>
            <ac:spMk id="10" creationId="{AB07F490-E607-4675-7B8A-A1A1E0B9C72B}"/>
          </ac:spMkLst>
        </pc:spChg>
        <pc:extLst>
          <p:ext xmlns:p="http://schemas.openxmlformats.org/presentationml/2006/main" uri="{D6D511B9-2390-475A-947B-AFAB55BFBCF1}">
            <pc226:cmChg xmlns:pc226="http://schemas.microsoft.com/office/powerpoint/2022/06/main/command" chg="del mod">
              <pc226:chgData name="Cyprien PELLETIER DE CHAMBURE" userId="954ca6a6-7c37-422b-ae6a-3f5a5fea4ba3" providerId="ADAL" clId="{20DAEFE8-2B23-48B8-A4DF-56C23DEF7074}" dt="2024-04-11T08:05:02.579" v="3698"/>
              <pc2:cmMkLst xmlns:pc2="http://schemas.microsoft.com/office/powerpoint/2019/9/main/command">
                <pc:docMk/>
                <pc:sldMk cId="1505116244" sldId="2147375809"/>
                <pc2:cmMk id="{9E4DD950-DE5F-4818-9255-46972568AFEF}"/>
              </pc2:cmMkLst>
            </pc226:cmChg>
          </p:ext>
        </pc:extLst>
      </pc:sldChg>
      <pc:sldMasterChg chg="modSldLayout">
        <pc:chgData name="Cyprien PELLETIER DE CHAMBURE" userId="954ca6a6-7c37-422b-ae6a-3f5a5fea4ba3" providerId="ADAL" clId="{20DAEFE8-2B23-48B8-A4DF-56C23DEF7074}" dt="2024-04-09T08:10:02.907" v="23" actId="207"/>
        <pc:sldMasterMkLst>
          <pc:docMk/>
          <pc:sldMasterMk cId="0" sldId="2147483648"/>
        </pc:sldMasterMkLst>
        <pc:sldLayoutChg chg="modSp mod">
          <pc:chgData name="Cyprien PELLETIER DE CHAMBURE" userId="954ca6a6-7c37-422b-ae6a-3f5a5fea4ba3" providerId="ADAL" clId="{20DAEFE8-2B23-48B8-A4DF-56C23DEF7074}" dt="2024-04-09T08:10:02.907" v="23" actId="207"/>
          <pc:sldLayoutMkLst>
            <pc:docMk/>
            <pc:sldMasterMk cId="0" sldId="2147483648"/>
            <pc:sldLayoutMk cId="0" sldId="2147483649"/>
          </pc:sldLayoutMkLst>
          <pc:spChg chg="mod">
            <ac:chgData name="Cyprien PELLETIER DE CHAMBURE" userId="954ca6a6-7c37-422b-ae6a-3f5a5fea4ba3" providerId="ADAL" clId="{20DAEFE8-2B23-48B8-A4DF-56C23DEF7074}" dt="2024-04-09T08:10:02.907" v="23" actId="207"/>
            <ac:spMkLst>
              <pc:docMk/>
              <pc:sldMasterMk cId="0" sldId="2147483648"/>
              <pc:sldLayoutMk cId="0" sldId="2147483649"/>
              <ac:spMk id="34" creationId="{00000000-0000-0000-0000-000000000000}"/>
            </ac:spMkLst>
          </pc:spChg>
          <pc:spChg chg="mod">
            <ac:chgData name="Cyprien PELLETIER DE CHAMBURE" userId="954ca6a6-7c37-422b-ae6a-3f5a5fea4ba3" providerId="ADAL" clId="{20DAEFE8-2B23-48B8-A4DF-56C23DEF7074}" dt="2024-04-09T08:09:06.975" v="21" actId="207"/>
            <ac:spMkLst>
              <pc:docMk/>
              <pc:sldMasterMk cId="0" sldId="2147483648"/>
              <pc:sldLayoutMk cId="0" sldId="2147483649"/>
              <ac:spMk id="45" creationId="{00000000-0000-0000-0000-000000000000}"/>
            </ac:spMkLst>
          </pc:spChg>
          <pc:spChg chg="mod">
            <ac:chgData name="Cyprien PELLETIER DE CHAMBURE" userId="954ca6a6-7c37-422b-ae6a-3f5a5fea4ba3" providerId="ADAL" clId="{20DAEFE8-2B23-48B8-A4DF-56C23DEF7074}" dt="2024-04-09T08:09:04.151" v="20" actId="207"/>
            <ac:spMkLst>
              <pc:docMk/>
              <pc:sldMasterMk cId="0" sldId="2147483648"/>
              <pc:sldLayoutMk cId="0" sldId="2147483649"/>
              <ac:spMk id="96" creationId="{00000000-0000-0000-0000-000000000000}"/>
            </ac:spMkLst>
          </pc:spChg>
          <pc:spChg chg="mod">
            <ac:chgData name="Cyprien PELLETIER DE CHAMBURE" userId="954ca6a6-7c37-422b-ae6a-3f5a5fea4ba3" providerId="ADAL" clId="{20DAEFE8-2B23-48B8-A4DF-56C23DEF7074}" dt="2024-04-09T08:09:13.414" v="22" actId="207"/>
            <ac:spMkLst>
              <pc:docMk/>
              <pc:sldMasterMk cId="0" sldId="2147483648"/>
              <pc:sldLayoutMk cId="0" sldId="2147483649"/>
              <ac:spMk id="100" creationId="{00000000-0000-0000-0000-000000000000}"/>
            </ac:spMkLst>
          </pc:spChg>
        </pc:sldLayoutChg>
      </pc:sldMasterChg>
    </pc:docChg>
  </pc:docChgLst>
  <pc:docChgLst>
    <pc:chgData name="Cyprien PELLETIER DE CHAMBURE" userId="954ca6a6-7c37-422b-ae6a-3f5a5fea4ba3" providerId="ADAL" clId="{1D8BC3A6-FE52-45B5-8CF2-AD9BC6BFD399}"/>
    <pc:docChg chg="modSld">
      <pc:chgData name="Cyprien PELLETIER DE CHAMBURE" userId="954ca6a6-7c37-422b-ae6a-3f5a5fea4ba3" providerId="ADAL" clId="{1D8BC3A6-FE52-45B5-8CF2-AD9BC6BFD399}" dt="2024-04-23T13:12:26.676" v="21" actId="20577"/>
      <pc:docMkLst>
        <pc:docMk/>
      </pc:docMkLst>
      <pc:sldChg chg="modSp mod">
        <pc:chgData name="Cyprien PELLETIER DE CHAMBURE" userId="954ca6a6-7c37-422b-ae6a-3f5a5fea4ba3" providerId="ADAL" clId="{1D8BC3A6-FE52-45B5-8CF2-AD9BC6BFD399}" dt="2024-04-23T13:12:26.676" v="21" actId="20577"/>
        <pc:sldMkLst>
          <pc:docMk/>
          <pc:sldMk cId="2071987270" sldId="1299"/>
        </pc:sldMkLst>
        <pc:spChg chg="mod">
          <ac:chgData name="Cyprien PELLETIER DE CHAMBURE" userId="954ca6a6-7c37-422b-ae6a-3f5a5fea4ba3" providerId="ADAL" clId="{1D8BC3A6-FE52-45B5-8CF2-AD9BC6BFD399}" dt="2024-04-23T13:12:26.676" v="21" actId="20577"/>
          <ac:spMkLst>
            <pc:docMk/>
            <pc:sldMk cId="2071987270" sldId="1299"/>
            <ac:spMk id="18" creationId="{313E059A-8078-4892-AE1D-D7D592F864D7}"/>
          </ac:spMkLst>
        </pc:spChg>
      </pc:sldChg>
      <pc:sldChg chg="modSp mod">
        <pc:chgData name="Cyprien PELLETIER DE CHAMBURE" userId="954ca6a6-7c37-422b-ae6a-3f5a5fea4ba3" providerId="ADAL" clId="{1D8BC3A6-FE52-45B5-8CF2-AD9BC6BFD399}" dt="2024-04-19T08:43:44.264" v="0" actId="20577"/>
        <pc:sldMkLst>
          <pc:docMk/>
          <pc:sldMk cId="1505116244" sldId="2147375809"/>
        </pc:sldMkLst>
        <pc:spChg chg="mod">
          <ac:chgData name="Cyprien PELLETIER DE CHAMBURE" userId="954ca6a6-7c37-422b-ae6a-3f5a5fea4ba3" providerId="ADAL" clId="{1D8BC3A6-FE52-45B5-8CF2-AD9BC6BFD399}" dt="2024-04-19T08:43:44.264" v="0" actId="20577"/>
          <ac:spMkLst>
            <pc:docMk/>
            <pc:sldMk cId="1505116244" sldId="2147375809"/>
            <ac:spMk id="10" creationId="{AB07F490-E607-4675-7B8A-A1A1E0B9C72B}"/>
          </ac:spMkLst>
        </pc:spChg>
      </pc:sldChg>
    </pc:docChg>
  </pc:docChgLst>
  <pc:docChgLst>
    <pc:chgData name="Cyprien PELLETIER DE CHAMBURE" userId="954ca6a6-7c37-422b-ae6a-3f5a5fea4ba3" providerId="ADAL" clId="{0FE39BE6-7419-4CDA-9D38-81AD3DE155D7}"/>
    <pc:docChg chg="undo custSel addSld delSld modSld">
      <pc:chgData name="Cyprien PELLETIER DE CHAMBURE" userId="954ca6a6-7c37-422b-ae6a-3f5a5fea4ba3" providerId="ADAL" clId="{0FE39BE6-7419-4CDA-9D38-81AD3DE155D7}" dt="2023-11-22T09:05:43.646" v="33" actId="1035"/>
      <pc:docMkLst>
        <pc:docMk/>
      </pc:docMkLst>
      <pc:sldChg chg="add del">
        <pc:chgData name="Cyprien PELLETIER DE CHAMBURE" userId="954ca6a6-7c37-422b-ae6a-3f5a5fea4ba3" providerId="ADAL" clId="{0FE39BE6-7419-4CDA-9D38-81AD3DE155D7}" dt="2023-11-08T10:25:07.360" v="2" actId="47"/>
        <pc:sldMkLst>
          <pc:docMk/>
          <pc:sldMk cId="646633170" sldId="794"/>
        </pc:sldMkLst>
      </pc:sldChg>
      <pc:sldChg chg="delSp modSp mod addCm delCm modCm">
        <pc:chgData name="Cyprien PELLETIER DE CHAMBURE" userId="954ca6a6-7c37-422b-ae6a-3f5a5fea4ba3" providerId="ADAL" clId="{0FE39BE6-7419-4CDA-9D38-81AD3DE155D7}" dt="2023-11-22T09:05:24.206" v="21"/>
        <pc:sldMkLst>
          <pc:docMk/>
          <pc:sldMk cId="1516553123" sldId="1596"/>
        </pc:sldMkLst>
        <pc:spChg chg="del">
          <ac:chgData name="Cyprien PELLETIER DE CHAMBURE" userId="954ca6a6-7c37-422b-ae6a-3f5a5fea4ba3" providerId="ADAL" clId="{0FE39BE6-7419-4CDA-9D38-81AD3DE155D7}" dt="2023-11-22T09:05:18.782" v="18" actId="478"/>
          <ac:spMkLst>
            <pc:docMk/>
            <pc:sldMk cId="1516553123" sldId="1596"/>
            <ac:spMk id="54" creationId="{900E3778-5478-B32C-62AB-BF19FBBCAEDF}"/>
          </ac:spMkLst>
        </pc:spChg>
        <pc:spChg chg="mod">
          <ac:chgData name="Cyprien PELLETIER DE CHAMBURE" userId="954ca6a6-7c37-422b-ae6a-3f5a5fea4ba3" providerId="ADAL" clId="{0FE39BE6-7419-4CDA-9D38-81AD3DE155D7}" dt="2023-11-22T09:05:12.147" v="17" actId="20577"/>
          <ac:spMkLst>
            <pc:docMk/>
            <pc:sldMk cId="1516553123" sldId="1596"/>
            <ac:spMk id="58" creationId="{A26F717E-F1B5-3A1A-8C79-E5F3C1A61576}"/>
          </ac:spMkLst>
        </pc:spChg>
        <pc:spChg chg="mod">
          <ac:chgData name="Cyprien PELLETIER DE CHAMBURE" userId="954ca6a6-7c37-422b-ae6a-3f5a5fea4ba3" providerId="ADAL" clId="{0FE39BE6-7419-4CDA-9D38-81AD3DE155D7}" dt="2023-11-08T10:26:52.868" v="10" actId="1037"/>
          <ac:spMkLst>
            <pc:docMk/>
            <pc:sldMk cId="1516553123" sldId="1596"/>
            <ac:spMk id="60" creationId="{281CEB2A-F0A6-F39D-70DE-5367ABA18023}"/>
          </ac:spMkLst>
        </pc:spChg>
        <pc:extLst>
          <p:ext xmlns:p="http://schemas.openxmlformats.org/presentationml/2006/main" uri="{D6D511B9-2390-475A-947B-AFAB55BFBCF1}">
            <pc226:cmChg xmlns:pc226="http://schemas.microsoft.com/office/powerpoint/2022/06/main/command" chg="add del mod">
              <pc226:chgData name="Cyprien PELLETIER DE CHAMBURE" userId="954ca6a6-7c37-422b-ae6a-3f5a5fea4ba3" providerId="ADAL" clId="{0FE39BE6-7419-4CDA-9D38-81AD3DE155D7}" dt="2023-11-22T09:05:24.206" v="21"/>
              <pc2:cmMkLst xmlns:pc2="http://schemas.microsoft.com/office/powerpoint/2019/9/main/command">
                <pc:docMk/>
                <pc:sldMk cId="1516553123" sldId="1596"/>
                <pc2:cmMk id="{D835CFCD-5C9F-42A8-B5CB-CA13074BEDDA}"/>
              </pc2:cmMkLst>
            </pc226:cmChg>
          </p:ext>
        </pc:extLst>
      </pc:sldChg>
      <pc:sldChg chg="modSp mod addCm delCm modCm">
        <pc:chgData name="Cyprien PELLETIER DE CHAMBURE" userId="954ca6a6-7c37-422b-ae6a-3f5a5fea4ba3" providerId="ADAL" clId="{0FE39BE6-7419-4CDA-9D38-81AD3DE155D7}" dt="2023-11-22T09:05:43.646" v="33" actId="1035"/>
        <pc:sldMkLst>
          <pc:docMk/>
          <pc:sldMk cId="616915527" sldId="2147375652"/>
        </pc:sldMkLst>
        <pc:spChg chg="mod">
          <ac:chgData name="Cyprien PELLETIER DE CHAMBURE" userId="954ca6a6-7c37-422b-ae6a-3f5a5fea4ba3" providerId="ADAL" clId="{0FE39BE6-7419-4CDA-9D38-81AD3DE155D7}" dt="2023-11-22T09:05:43.646" v="33" actId="1035"/>
          <ac:spMkLst>
            <pc:docMk/>
            <pc:sldMk cId="616915527" sldId="2147375652"/>
            <ac:spMk id="9" creationId="{72A220E7-074D-4BCA-A351-1D73F66E9BB4}"/>
          </ac:spMkLst>
        </pc:spChg>
        <pc:extLst>
          <p:ext xmlns:p="http://schemas.openxmlformats.org/presentationml/2006/main" uri="{D6D511B9-2390-475A-947B-AFAB55BFBCF1}">
            <pc226:cmChg xmlns:pc226="http://schemas.microsoft.com/office/powerpoint/2022/06/main/command" chg="add del mod">
              <pc226:chgData name="Cyprien PELLETIER DE CHAMBURE" userId="954ca6a6-7c37-422b-ae6a-3f5a5fea4ba3" providerId="ADAL" clId="{0FE39BE6-7419-4CDA-9D38-81AD3DE155D7}" dt="2023-11-22T09:05:34.703" v="23"/>
              <pc2:cmMkLst xmlns:pc2="http://schemas.microsoft.com/office/powerpoint/2019/9/main/command">
                <pc:docMk/>
                <pc:sldMk cId="616915527" sldId="2147375652"/>
                <pc2:cmMk id="{A1C41AB5-539D-4960-AA1E-17ADC7BE8A2F}"/>
              </pc2:cmMkLst>
              <pc226:cmRplyChg chg="add">
                <pc226:chgData name="Cyprien PELLETIER DE CHAMBURE" userId="954ca6a6-7c37-422b-ae6a-3f5a5fea4ba3" providerId="ADAL" clId="{0FE39BE6-7419-4CDA-9D38-81AD3DE155D7}" dt="2023-11-09T14:05:15.968" v="13"/>
                <pc2:cmRplyMkLst xmlns:pc2="http://schemas.microsoft.com/office/powerpoint/2019/9/main/command">
                  <pc:docMk/>
                  <pc:sldMk cId="616915527" sldId="2147375652"/>
                  <pc2:cmMk id="{A1C41AB5-539D-4960-AA1E-17ADC7BE8A2F}"/>
                  <pc2:cmRplyMk id="{9A7580E2-7A20-467D-BB22-AEDC396C99F0}"/>
                </pc2:cmRplyMkLst>
              </pc226:cmRplyChg>
            </pc226:cmChg>
          </p:ext>
        </pc:extLst>
      </pc:sldChg>
    </pc:docChg>
  </pc:docChgLst>
  <pc:docChgLst>
    <pc:chgData name="Cyprien DE CHAMBURE" userId="954ca6a6-7c37-422b-ae6a-3f5a5fea4ba3" providerId="ADAL" clId="{0FE39BE6-7419-4CDA-9D38-81AD3DE155D7}"/>
    <pc:docChg chg="undo redo custSel addSld delSld modSld">
      <pc:chgData name="Cyprien DE CHAMBURE" userId="954ca6a6-7c37-422b-ae6a-3f5a5fea4ba3" providerId="ADAL" clId="{0FE39BE6-7419-4CDA-9D38-81AD3DE155D7}" dt="2023-11-20T13:30:27.504" v="3585" actId="1076"/>
      <pc:docMkLst>
        <pc:docMk/>
      </pc:docMkLst>
      <pc:sldChg chg="modSp mod">
        <pc:chgData name="Cyprien DE CHAMBURE" userId="954ca6a6-7c37-422b-ae6a-3f5a5fea4ba3" providerId="ADAL" clId="{0FE39BE6-7419-4CDA-9D38-81AD3DE155D7}" dt="2023-11-07T17:08:01.243" v="3409" actId="20577"/>
        <pc:sldMkLst>
          <pc:docMk/>
          <pc:sldMk cId="4147437518" sldId="584"/>
        </pc:sldMkLst>
        <pc:graphicFrameChg chg="modGraphic">
          <ac:chgData name="Cyprien DE CHAMBURE" userId="954ca6a6-7c37-422b-ae6a-3f5a5fea4ba3" providerId="ADAL" clId="{0FE39BE6-7419-4CDA-9D38-81AD3DE155D7}" dt="2023-11-07T17:08:01.243" v="3409" actId="20577"/>
          <ac:graphicFrameMkLst>
            <pc:docMk/>
            <pc:sldMk cId="4147437518" sldId="584"/>
            <ac:graphicFrameMk id="7" creationId="{A80EBAAF-8127-4349-A381-0C93836B57D6}"/>
          </ac:graphicFrameMkLst>
        </pc:graphicFrameChg>
      </pc:sldChg>
      <pc:sldChg chg="modSp mod">
        <pc:chgData name="Cyprien DE CHAMBURE" userId="954ca6a6-7c37-422b-ae6a-3f5a5fea4ba3" providerId="ADAL" clId="{0FE39BE6-7419-4CDA-9D38-81AD3DE155D7}" dt="2023-11-07T17:08:04.540" v="3410" actId="20577"/>
        <pc:sldMkLst>
          <pc:docMk/>
          <pc:sldMk cId="2900409527" sldId="748"/>
        </pc:sldMkLst>
        <pc:spChg chg="mod">
          <ac:chgData name="Cyprien DE CHAMBURE" userId="954ca6a6-7c37-422b-ae6a-3f5a5fea4ba3" providerId="ADAL" clId="{0FE39BE6-7419-4CDA-9D38-81AD3DE155D7}" dt="2023-11-07T17:08:04.540" v="3410" actId="20577"/>
          <ac:spMkLst>
            <pc:docMk/>
            <pc:sldMk cId="2900409527" sldId="748"/>
            <ac:spMk id="4" creationId="{00000000-0000-0000-0000-000000000000}"/>
          </ac:spMkLst>
        </pc:spChg>
      </pc:sldChg>
      <pc:sldChg chg="delCm">
        <pc:chgData name="Cyprien DE CHAMBURE" userId="954ca6a6-7c37-422b-ae6a-3f5a5fea4ba3" providerId="ADAL" clId="{0FE39BE6-7419-4CDA-9D38-81AD3DE155D7}" dt="2023-11-07T14:11:25.807" v="57"/>
        <pc:sldMkLst>
          <pc:docMk/>
          <pc:sldMk cId="646633170" sldId="794"/>
        </pc:sldMkLst>
        <pc:extLst>
          <p:ext xmlns:p="http://schemas.openxmlformats.org/presentationml/2006/main" uri="{D6D511B9-2390-475A-947B-AFAB55BFBCF1}">
            <pc226:cmChg xmlns:pc226="http://schemas.microsoft.com/office/powerpoint/2022/06/main/command" chg="del">
              <pc226:chgData name="Cyprien DE CHAMBURE" userId="954ca6a6-7c37-422b-ae6a-3f5a5fea4ba3" providerId="ADAL" clId="{0FE39BE6-7419-4CDA-9D38-81AD3DE155D7}" dt="2023-11-07T14:11:25.807" v="57"/>
              <pc2:cmMkLst xmlns:pc2="http://schemas.microsoft.com/office/powerpoint/2019/9/main/command">
                <pc:docMk/>
                <pc:sldMk cId="646633170" sldId="794"/>
                <pc2:cmMk id="{C43E5882-EA86-415C-82D1-96C0ED81F60F}"/>
              </pc2:cmMkLst>
            </pc226:cmChg>
          </p:ext>
        </pc:extLst>
      </pc:sldChg>
      <pc:sldChg chg="modSp mod">
        <pc:chgData name="Cyprien DE CHAMBURE" userId="954ca6a6-7c37-422b-ae6a-3f5a5fea4ba3" providerId="ADAL" clId="{0FE39BE6-7419-4CDA-9D38-81AD3DE155D7}" dt="2023-11-07T14:07:13.369" v="56" actId="20577"/>
        <pc:sldMkLst>
          <pc:docMk/>
          <pc:sldMk cId="1749100472" sldId="1139"/>
        </pc:sldMkLst>
        <pc:graphicFrameChg chg="modGraphic">
          <ac:chgData name="Cyprien DE CHAMBURE" userId="954ca6a6-7c37-422b-ae6a-3f5a5fea4ba3" providerId="ADAL" clId="{0FE39BE6-7419-4CDA-9D38-81AD3DE155D7}" dt="2023-11-07T14:07:13.369" v="56" actId="20577"/>
          <ac:graphicFrameMkLst>
            <pc:docMk/>
            <pc:sldMk cId="1749100472" sldId="1139"/>
            <ac:graphicFrameMk id="6" creationId="{45C57EF8-DEE1-4199-B7D5-0BB577918E78}"/>
          </ac:graphicFrameMkLst>
        </pc:graphicFrameChg>
      </pc:sldChg>
      <pc:sldChg chg="addSp delSp modSp mod">
        <pc:chgData name="Cyprien DE CHAMBURE" userId="954ca6a6-7c37-422b-ae6a-3f5a5fea4ba3" providerId="ADAL" clId="{0FE39BE6-7419-4CDA-9D38-81AD3DE155D7}" dt="2023-11-07T14:05:53.287" v="51" actId="20577"/>
        <pc:sldMkLst>
          <pc:docMk/>
          <pc:sldMk cId="2071987270" sldId="1299"/>
        </pc:sldMkLst>
        <pc:spChg chg="mod">
          <ac:chgData name="Cyprien DE CHAMBURE" userId="954ca6a6-7c37-422b-ae6a-3f5a5fea4ba3" providerId="ADAL" clId="{0FE39BE6-7419-4CDA-9D38-81AD3DE155D7}" dt="2023-11-07T14:05:53.287" v="51" actId="20577"/>
          <ac:spMkLst>
            <pc:docMk/>
            <pc:sldMk cId="2071987270" sldId="1299"/>
            <ac:spMk id="18" creationId="{313E059A-8078-4892-AE1D-D7D592F864D7}"/>
          </ac:spMkLst>
        </pc:spChg>
        <pc:picChg chg="del">
          <ac:chgData name="Cyprien DE CHAMBURE" userId="954ca6a6-7c37-422b-ae6a-3f5a5fea4ba3" providerId="ADAL" clId="{0FE39BE6-7419-4CDA-9D38-81AD3DE155D7}" dt="2023-11-07T14:04:01.160" v="8" actId="478"/>
          <ac:picMkLst>
            <pc:docMk/>
            <pc:sldMk cId="2071987270" sldId="1299"/>
            <ac:picMk id="6" creationId="{00000000-0000-0000-0000-000000000000}"/>
          </ac:picMkLst>
        </pc:picChg>
        <pc:picChg chg="add del">
          <ac:chgData name="Cyprien DE CHAMBURE" userId="954ca6a6-7c37-422b-ae6a-3f5a5fea4ba3" providerId="ADAL" clId="{0FE39BE6-7419-4CDA-9D38-81AD3DE155D7}" dt="2023-11-07T14:03:28.992" v="1" actId="478"/>
          <ac:picMkLst>
            <pc:docMk/>
            <pc:sldMk cId="2071987270" sldId="1299"/>
            <ac:picMk id="9" creationId="{00000000-0000-0000-0000-000000000000}"/>
          </ac:picMkLst>
        </pc:picChg>
        <pc:picChg chg="del">
          <ac:chgData name="Cyprien DE CHAMBURE" userId="954ca6a6-7c37-422b-ae6a-3f5a5fea4ba3" providerId="ADAL" clId="{0FE39BE6-7419-4CDA-9D38-81AD3DE155D7}" dt="2023-11-07T14:03:30.457" v="2" actId="478"/>
          <ac:picMkLst>
            <pc:docMk/>
            <pc:sldMk cId="2071987270" sldId="1299"/>
            <ac:picMk id="17" creationId="{CA37E8EA-ACA2-4B6E-A0ED-45826EC76D71}"/>
          </ac:picMkLst>
        </pc:picChg>
        <pc:picChg chg="add mod">
          <ac:chgData name="Cyprien DE CHAMBURE" userId="954ca6a6-7c37-422b-ae6a-3f5a5fea4ba3" providerId="ADAL" clId="{0FE39BE6-7419-4CDA-9D38-81AD3DE155D7}" dt="2023-11-07T14:03:41.507" v="7" actId="1076"/>
          <ac:picMkLst>
            <pc:docMk/>
            <pc:sldMk cId="2071987270" sldId="1299"/>
            <ac:picMk id="1026" creationId="{544E7758-C7BB-9FCF-E7C3-0BE494A190D1}"/>
          </ac:picMkLst>
        </pc:picChg>
        <pc:picChg chg="add mod">
          <ac:chgData name="Cyprien DE CHAMBURE" userId="954ca6a6-7c37-422b-ae6a-3f5a5fea4ba3" providerId="ADAL" clId="{0FE39BE6-7419-4CDA-9D38-81AD3DE155D7}" dt="2023-11-07T14:04:16.871" v="17" actId="1076"/>
          <ac:picMkLst>
            <pc:docMk/>
            <pc:sldMk cId="2071987270" sldId="1299"/>
            <ac:picMk id="1028" creationId="{FA373036-A759-13E1-E86A-13C7641D8D1E}"/>
          </ac:picMkLst>
        </pc:picChg>
      </pc:sldChg>
      <pc:sldChg chg="modSp mod">
        <pc:chgData name="Cyprien DE CHAMBURE" userId="954ca6a6-7c37-422b-ae6a-3f5a5fea4ba3" providerId="ADAL" clId="{0FE39BE6-7419-4CDA-9D38-81AD3DE155D7}" dt="2023-11-07T16:48:03.890" v="3381" actId="20577"/>
        <pc:sldMkLst>
          <pc:docMk/>
          <pc:sldMk cId="3010365769" sldId="1305"/>
        </pc:sldMkLst>
        <pc:spChg chg="mod">
          <ac:chgData name="Cyprien DE CHAMBURE" userId="954ca6a6-7c37-422b-ae6a-3f5a5fea4ba3" providerId="ADAL" clId="{0FE39BE6-7419-4CDA-9D38-81AD3DE155D7}" dt="2023-11-07T16:46:36.028" v="3151" actId="20577"/>
          <ac:spMkLst>
            <pc:docMk/>
            <pc:sldMk cId="3010365769" sldId="1305"/>
            <ac:spMk id="2" creationId="{00000000-0000-0000-0000-000000000000}"/>
          </ac:spMkLst>
        </pc:spChg>
        <pc:spChg chg="mod">
          <ac:chgData name="Cyprien DE CHAMBURE" userId="954ca6a6-7c37-422b-ae6a-3f5a5fea4ba3" providerId="ADAL" clId="{0FE39BE6-7419-4CDA-9D38-81AD3DE155D7}" dt="2023-11-07T16:48:03.890" v="3381" actId="20577"/>
          <ac:spMkLst>
            <pc:docMk/>
            <pc:sldMk cId="3010365769" sldId="1305"/>
            <ac:spMk id="11" creationId="{607506DA-C6B0-4E6F-8422-49A21BF37662}"/>
          </ac:spMkLst>
        </pc:spChg>
      </pc:sldChg>
      <pc:sldChg chg="addSp delSp modSp mod">
        <pc:chgData name="Cyprien DE CHAMBURE" userId="954ca6a6-7c37-422b-ae6a-3f5a5fea4ba3" providerId="ADAL" clId="{0FE39BE6-7419-4CDA-9D38-81AD3DE155D7}" dt="2023-11-07T17:08:50.777" v="3469" actId="20577"/>
        <pc:sldMkLst>
          <pc:docMk/>
          <pc:sldMk cId="1254886162" sldId="1306"/>
        </pc:sldMkLst>
        <pc:spChg chg="del">
          <ac:chgData name="Cyprien DE CHAMBURE" userId="954ca6a6-7c37-422b-ae6a-3f5a5fea4ba3" providerId="ADAL" clId="{0FE39BE6-7419-4CDA-9D38-81AD3DE155D7}" dt="2023-11-07T17:07:51.990" v="3407" actId="478"/>
          <ac:spMkLst>
            <pc:docMk/>
            <pc:sldMk cId="1254886162" sldId="1306"/>
            <ac:spMk id="3" creationId="{114248C0-A654-4649-A477-CD9DB7A82AEC}"/>
          </ac:spMkLst>
        </pc:spChg>
        <pc:spChg chg="del">
          <ac:chgData name="Cyprien DE CHAMBURE" userId="954ca6a6-7c37-422b-ae6a-3f5a5fea4ba3" providerId="ADAL" clId="{0FE39BE6-7419-4CDA-9D38-81AD3DE155D7}" dt="2023-11-07T17:07:51.990" v="3407" actId="478"/>
          <ac:spMkLst>
            <pc:docMk/>
            <pc:sldMk cId="1254886162" sldId="1306"/>
            <ac:spMk id="6" creationId="{F3095FFD-E1A4-4348-89BA-2E28A8DF9954}"/>
          </ac:spMkLst>
        </pc:spChg>
        <pc:spChg chg="add del mod">
          <ac:chgData name="Cyprien DE CHAMBURE" userId="954ca6a6-7c37-422b-ae6a-3f5a5fea4ba3" providerId="ADAL" clId="{0FE39BE6-7419-4CDA-9D38-81AD3DE155D7}" dt="2023-11-07T17:08:08.274" v="3411" actId="478"/>
          <ac:spMkLst>
            <pc:docMk/>
            <pc:sldMk cId="1254886162" sldId="1306"/>
            <ac:spMk id="8" creationId="{078774C1-8581-2349-0181-1BF3972D0091}"/>
          </ac:spMkLst>
        </pc:spChg>
        <pc:spChg chg="add mod">
          <ac:chgData name="Cyprien DE CHAMBURE" userId="954ca6a6-7c37-422b-ae6a-3f5a5fea4ba3" providerId="ADAL" clId="{0FE39BE6-7419-4CDA-9D38-81AD3DE155D7}" dt="2023-11-07T17:08:19.713" v="3413" actId="1076"/>
          <ac:spMkLst>
            <pc:docMk/>
            <pc:sldMk cId="1254886162" sldId="1306"/>
            <ac:spMk id="9" creationId="{AB52AB09-86B7-AB2D-4F4C-C6CD59652C23}"/>
          </ac:spMkLst>
        </pc:spChg>
        <pc:spChg chg="add mod">
          <ac:chgData name="Cyprien DE CHAMBURE" userId="954ca6a6-7c37-422b-ae6a-3f5a5fea4ba3" providerId="ADAL" clId="{0FE39BE6-7419-4CDA-9D38-81AD3DE155D7}" dt="2023-11-07T17:08:19.713" v="3413" actId="1076"/>
          <ac:spMkLst>
            <pc:docMk/>
            <pc:sldMk cId="1254886162" sldId="1306"/>
            <ac:spMk id="10" creationId="{52A08842-621E-9F07-6C43-7DA440448EC9}"/>
          </ac:spMkLst>
        </pc:spChg>
        <pc:spChg chg="add mod">
          <ac:chgData name="Cyprien DE CHAMBURE" userId="954ca6a6-7c37-422b-ae6a-3f5a5fea4ba3" providerId="ADAL" clId="{0FE39BE6-7419-4CDA-9D38-81AD3DE155D7}" dt="2023-11-07T17:08:19.713" v="3413" actId="1076"/>
          <ac:spMkLst>
            <pc:docMk/>
            <pc:sldMk cId="1254886162" sldId="1306"/>
            <ac:spMk id="11" creationId="{B10A9924-3F34-D1D8-2145-29AE01E1B4DF}"/>
          </ac:spMkLst>
        </pc:spChg>
        <pc:spChg chg="add mod">
          <ac:chgData name="Cyprien DE CHAMBURE" userId="954ca6a6-7c37-422b-ae6a-3f5a5fea4ba3" providerId="ADAL" clId="{0FE39BE6-7419-4CDA-9D38-81AD3DE155D7}" dt="2023-11-07T17:08:19.713" v="3413" actId="1076"/>
          <ac:spMkLst>
            <pc:docMk/>
            <pc:sldMk cId="1254886162" sldId="1306"/>
            <ac:spMk id="12" creationId="{7C16DABD-BCBD-B74C-699D-DA4465AD04A0}"/>
          </ac:spMkLst>
        </pc:spChg>
        <pc:spChg chg="del">
          <ac:chgData name="Cyprien DE CHAMBURE" userId="954ca6a6-7c37-422b-ae6a-3f5a5fea4ba3" providerId="ADAL" clId="{0FE39BE6-7419-4CDA-9D38-81AD3DE155D7}" dt="2023-11-07T17:07:57.970" v="3408" actId="478"/>
          <ac:spMkLst>
            <pc:docMk/>
            <pc:sldMk cId="1254886162" sldId="1306"/>
            <ac:spMk id="13" creationId="{75176F5A-4482-41F1-81BF-010A30F9936F}"/>
          </ac:spMkLst>
        </pc:spChg>
        <pc:spChg chg="mod">
          <ac:chgData name="Cyprien DE CHAMBURE" userId="954ca6a6-7c37-422b-ae6a-3f5a5fea4ba3" providerId="ADAL" clId="{0FE39BE6-7419-4CDA-9D38-81AD3DE155D7}" dt="2023-11-07T17:08:19.713" v="3413" actId="1076"/>
          <ac:spMkLst>
            <pc:docMk/>
            <pc:sldMk cId="1254886162" sldId="1306"/>
            <ac:spMk id="16" creationId="{F419B37D-4C48-D6DB-F7C3-94E65088A533}"/>
          </ac:spMkLst>
        </pc:spChg>
        <pc:spChg chg="mod">
          <ac:chgData name="Cyprien DE CHAMBURE" userId="954ca6a6-7c37-422b-ae6a-3f5a5fea4ba3" providerId="ADAL" clId="{0FE39BE6-7419-4CDA-9D38-81AD3DE155D7}" dt="2023-11-07T17:08:19.713" v="3413" actId="1076"/>
          <ac:spMkLst>
            <pc:docMk/>
            <pc:sldMk cId="1254886162" sldId="1306"/>
            <ac:spMk id="27" creationId="{B0A4F9D9-148F-3B5E-EDCB-296053BB6FC9}"/>
          </ac:spMkLst>
        </pc:spChg>
        <pc:spChg chg="mod">
          <ac:chgData name="Cyprien DE CHAMBURE" userId="954ca6a6-7c37-422b-ae6a-3f5a5fea4ba3" providerId="ADAL" clId="{0FE39BE6-7419-4CDA-9D38-81AD3DE155D7}" dt="2023-11-07T17:08:19.713" v="3413" actId="1076"/>
          <ac:spMkLst>
            <pc:docMk/>
            <pc:sldMk cId="1254886162" sldId="1306"/>
            <ac:spMk id="28" creationId="{41EDD696-74EA-7540-2DFB-96AC235AE451}"/>
          </ac:spMkLst>
        </pc:spChg>
        <pc:spChg chg="mod">
          <ac:chgData name="Cyprien DE CHAMBURE" userId="954ca6a6-7c37-422b-ae6a-3f5a5fea4ba3" providerId="ADAL" clId="{0FE39BE6-7419-4CDA-9D38-81AD3DE155D7}" dt="2023-11-07T17:08:19.713" v="3413" actId="1076"/>
          <ac:spMkLst>
            <pc:docMk/>
            <pc:sldMk cId="1254886162" sldId="1306"/>
            <ac:spMk id="29" creationId="{EFDEAF66-A2E8-56B5-567B-EC6EBEF67ACD}"/>
          </ac:spMkLst>
        </pc:spChg>
        <pc:spChg chg="mod">
          <ac:chgData name="Cyprien DE CHAMBURE" userId="954ca6a6-7c37-422b-ae6a-3f5a5fea4ba3" providerId="ADAL" clId="{0FE39BE6-7419-4CDA-9D38-81AD3DE155D7}" dt="2023-11-07T17:08:19.713" v="3413" actId="1076"/>
          <ac:spMkLst>
            <pc:docMk/>
            <pc:sldMk cId="1254886162" sldId="1306"/>
            <ac:spMk id="30" creationId="{6577131B-A8D4-B4AD-E4A0-54DC12CF7303}"/>
          </ac:spMkLst>
        </pc:spChg>
        <pc:spChg chg="add mod">
          <ac:chgData name="Cyprien DE CHAMBURE" userId="954ca6a6-7c37-422b-ae6a-3f5a5fea4ba3" providerId="ADAL" clId="{0FE39BE6-7419-4CDA-9D38-81AD3DE155D7}" dt="2023-11-07T17:08:19.713" v="3413" actId="1076"/>
          <ac:spMkLst>
            <pc:docMk/>
            <pc:sldMk cId="1254886162" sldId="1306"/>
            <ac:spMk id="31" creationId="{51061D87-D753-6E5B-9F79-001DD713D3CD}"/>
          </ac:spMkLst>
        </pc:spChg>
        <pc:spChg chg="add mod">
          <ac:chgData name="Cyprien DE CHAMBURE" userId="954ca6a6-7c37-422b-ae6a-3f5a5fea4ba3" providerId="ADAL" clId="{0FE39BE6-7419-4CDA-9D38-81AD3DE155D7}" dt="2023-11-07T17:08:19.713" v="3413" actId="1076"/>
          <ac:spMkLst>
            <pc:docMk/>
            <pc:sldMk cId="1254886162" sldId="1306"/>
            <ac:spMk id="32" creationId="{DF2F5815-916D-D855-0CA5-549680B6BB92}"/>
          </ac:spMkLst>
        </pc:spChg>
        <pc:spChg chg="add mod">
          <ac:chgData name="Cyprien DE CHAMBURE" userId="954ca6a6-7c37-422b-ae6a-3f5a5fea4ba3" providerId="ADAL" clId="{0FE39BE6-7419-4CDA-9D38-81AD3DE155D7}" dt="2023-11-07T17:08:19.713" v="3413" actId="1076"/>
          <ac:spMkLst>
            <pc:docMk/>
            <pc:sldMk cId="1254886162" sldId="1306"/>
            <ac:spMk id="33" creationId="{D89EEF49-1626-F837-5B2C-3ACE6EED4433}"/>
          </ac:spMkLst>
        </pc:spChg>
        <pc:spChg chg="add mod">
          <ac:chgData name="Cyprien DE CHAMBURE" userId="954ca6a6-7c37-422b-ae6a-3f5a5fea4ba3" providerId="ADAL" clId="{0FE39BE6-7419-4CDA-9D38-81AD3DE155D7}" dt="2023-11-07T17:08:19.713" v="3413" actId="1076"/>
          <ac:spMkLst>
            <pc:docMk/>
            <pc:sldMk cId="1254886162" sldId="1306"/>
            <ac:spMk id="34" creationId="{0C0754FF-DD67-4631-664B-F1682F8F8916}"/>
          </ac:spMkLst>
        </pc:spChg>
        <pc:spChg chg="add mod">
          <ac:chgData name="Cyprien DE CHAMBURE" userId="954ca6a6-7c37-422b-ae6a-3f5a5fea4ba3" providerId="ADAL" clId="{0FE39BE6-7419-4CDA-9D38-81AD3DE155D7}" dt="2023-11-07T17:08:33.681" v="3419" actId="14100"/>
          <ac:spMkLst>
            <pc:docMk/>
            <pc:sldMk cId="1254886162" sldId="1306"/>
            <ac:spMk id="35" creationId="{DFD650F1-7ADE-8FC3-3F80-532939786C99}"/>
          </ac:spMkLst>
        </pc:spChg>
        <pc:spChg chg="add mod">
          <ac:chgData name="Cyprien DE CHAMBURE" userId="954ca6a6-7c37-422b-ae6a-3f5a5fea4ba3" providerId="ADAL" clId="{0FE39BE6-7419-4CDA-9D38-81AD3DE155D7}" dt="2023-11-07T17:08:19.713" v="3413" actId="1076"/>
          <ac:spMkLst>
            <pc:docMk/>
            <pc:sldMk cId="1254886162" sldId="1306"/>
            <ac:spMk id="36" creationId="{83751D9A-44E8-D1B1-15B7-A9E314F0A5A9}"/>
          </ac:spMkLst>
        </pc:spChg>
        <pc:spChg chg="add mod">
          <ac:chgData name="Cyprien DE CHAMBURE" userId="954ca6a6-7c37-422b-ae6a-3f5a5fea4ba3" providerId="ADAL" clId="{0FE39BE6-7419-4CDA-9D38-81AD3DE155D7}" dt="2023-11-07T17:08:19.713" v="3413" actId="1076"/>
          <ac:spMkLst>
            <pc:docMk/>
            <pc:sldMk cId="1254886162" sldId="1306"/>
            <ac:spMk id="37" creationId="{85F7DA4C-761C-CCDD-8174-246A8511CA80}"/>
          </ac:spMkLst>
        </pc:spChg>
        <pc:spChg chg="add mod">
          <ac:chgData name="Cyprien DE CHAMBURE" userId="954ca6a6-7c37-422b-ae6a-3f5a5fea4ba3" providerId="ADAL" clId="{0FE39BE6-7419-4CDA-9D38-81AD3DE155D7}" dt="2023-11-07T17:08:19.713" v="3413" actId="1076"/>
          <ac:spMkLst>
            <pc:docMk/>
            <pc:sldMk cId="1254886162" sldId="1306"/>
            <ac:spMk id="38" creationId="{8F62E5AE-7B1B-7D6B-2282-5128230CEA9D}"/>
          </ac:spMkLst>
        </pc:spChg>
        <pc:spChg chg="add mod">
          <ac:chgData name="Cyprien DE CHAMBURE" userId="954ca6a6-7c37-422b-ae6a-3f5a5fea4ba3" providerId="ADAL" clId="{0FE39BE6-7419-4CDA-9D38-81AD3DE155D7}" dt="2023-11-07T17:08:19.713" v="3413" actId="1076"/>
          <ac:spMkLst>
            <pc:docMk/>
            <pc:sldMk cId="1254886162" sldId="1306"/>
            <ac:spMk id="44" creationId="{654036A4-7BF6-FAAF-6E9E-1CDD71EA23DA}"/>
          </ac:spMkLst>
        </pc:spChg>
        <pc:spChg chg="add mod">
          <ac:chgData name="Cyprien DE CHAMBURE" userId="954ca6a6-7c37-422b-ae6a-3f5a5fea4ba3" providerId="ADAL" clId="{0FE39BE6-7419-4CDA-9D38-81AD3DE155D7}" dt="2023-11-07T17:08:19.713" v="3413" actId="1076"/>
          <ac:spMkLst>
            <pc:docMk/>
            <pc:sldMk cId="1254886162" sldId="1306"/>
            <ac:spMk id="45" creationId="{9CCB2DA5-577F-C258-B297-D9C47EC90A43}"/>
          </ac:spMkLst>
        </pc:spChg>
        <pc:spChg chg="del">
          <ac:chgData name="Cyprien DE CHAMBURE" userId="954ca6a6-7c37-422b-ae6a-3f5a5fea4ba3" providerId="ADAL" clId="{0FE39BE6-7419-4CDA-9D38-81AD3DE155D7}" dt="2023-11-07T17:07:51.990" v="3407" actId="478"/>
          <ac:spMkLst>
            <pc:docMk/>
            <pc:sldMk cId="1254886162" sldId="1306"/>
            <ac:spMk id="48" creationId="{1FF4C788-B4C4-44A6-B699-C48E9558863E}"/>
          </ac:spMkLst>
        </pc:spChg>
        <pc:spChg chg="del">
          <ac:chgData name="Cyprien DE CHAMBURE" userId="954ca6a6-7c37-422b-ae6a-3f5a5fea4ba3" providerId="ADAL" clId="{0FE39BE6-7419-4CDA-9D38-81AD3DE155D7}" dt="2023-11-07T17:07:51.990" v="3407" actId="478"/>
          <ac:spMkLst>
            <pc:docMk/>
            <pc:sldMk cId="1254886162" sldId="1306"/>
            <ac:spMk id="49" creationId="{B8C27AA2-145A-4057-8A1C-D902C3C308AE}"/>
          </ac:spMkLst>
        </pc:spChg>
        <pc:spChg chg="del">
          <ac:chgData name="Cyprien DE CHAMBURE" userId="954ca6a6-7c37-422b-ae6a-3f5a5fea4ba3" providerId="ADAL" clId="{0FE39BE6-7419-4CDA-9D38-81AD3DE155D7}" dt="2023-11-07T17:07:51.990" v="3407" actId="478"/>
          <ac:spMkLst>
            <pc:docMk/>
            <pc:sldMk cId="1254886162" sldId="1306"/>
            <ac:spMk id="50" creationId="{4533583E-95A6-4592-9133-9ED8E2595595}"/>
          </ac:spMkLst>
        </pc:spChg>
        <pc:spChg chg="del">
          <ac:chgData name="Cyprien DE CHAMBURE" userId="954ca6a6-7c37-422b-ae6a-3f5a5fea4ba3" providerId="ADAL" clId="{0FE39BE6-7419-4CDA-9D38-81AD3DE155D7}" dt="2023-11-07T17:07:51.990" v="3407" actId="478"/>
          <ac:spMkLst>
            <pc:docMk/>
            <pc:sldMk cId="1254886162" sldId="1306"/>
            <ac:spMk id="51" creationId="{742B30E4-077C-4D10-AFAC-FC4794FCA0E3}"/>
          </ac:spMkLst>
        </pc:spChg>
        <pc:spChg chg="del">
          <ac:chgData name="Cyprien DE CHAMBURE" userId="954ca6a6-7c37-422b-ae6a-3f5a5fea4ba3" providerId="ADAL" clId="{0FE39BE6-7419-4CDA-9D38-81AD3DE155D7}" dt="2023-11-07T17:07:51.990" v="3407" actId="478"/>
          <ac:spMkLst>
            <pc:docMk/>
            <pc:sldMk cId="1254886162" sldId="1306"/>
            <ac:spMk id="52" creationId="{4A4373A7-1BCC-4BB6-AF19-9DA135EF7846}"/>
          </ac:spMkLst>
        </pc:spChg>
        <pc:spChg chg="del">
          <ac:chgData name="Cyprien DE CHAMBURE" userId="954ca6a6-7c37-422b-ae6a-3f5a5fea4ba3" providerId="ADAL" clId="{0FE39BE6-7419-4CDA-9D38-81AD3DE155D7}" dt="2023-11-07T17:07:51.990" v="3407" actId="478"/>
          <ac:spMkLst>
            <pc:docMk/>
            <pc:sldMk cId="1254886162" sldId="1306"/>
            <ac:spMk id="53" creationId="{08647739-C638-48E8-A304-259C3716FDE0}"/>
          </ac:spMkLst>
        </pc:spChg>
        <pc:spChg chg="del">
          <ac:chgData name="Cyprien DE CHAMBURE" userId="954ca6a6-7c37-422b-ae6a-3f5a5fea4ba3" providerId="ADAL" clId="{0FE39BE6-7419-4CDA-9D38-81AD3DE155D7}" dt="2023-11-07T17:07:51.990" v="3407" actId="478"/>
          <ac:spMkLst>
            <pc:docMk/>
            <pc:sldMk cId="1254886162" sldId="1306"/>
            <ac:spMk id="54" creationId="{85423570-AAFE-4FC0-91A3-E1FB1E01EB9B}"/>
          </ac:spMkLst>
        </pc:spChg>
        <pc:spChg chg="del">
          <ac:chgData name="Cyprien DE CHAMBURE" userId="954ca6a6-7c37-422b-ae6a-3f5a5fea4ba3" providerId="ADAL" clId="{0FE39BE6-7419-4CDA-9D38-81AD3DE155D7}" dt="2023-11-07T17:07:51.990" v="3407" actId="478"/>
          <ac:spMkLst>
            <pc:docMk/>
            <pc:sldMk cId="1254886162" sldId="1306"/>
            <ac:spMk id="55" creationId="{D15B010C-38A1-4A4A-95C6-A28F5323D68C}"/>
          </ac:spMkLst>
        </pc:spChg>
        <pc:spChg chg="del">
          <ac:chgData name="Cyprien DE CHAMBURE" userId="954ca6a6-7c37-422b-ae6a-3f5a5fea4ba3" providerId="ADAL" clId="{0FE39BE6-7419-4CDA-9D38-81AD3DE155D7}" dt="2023-11-07T17:07:51.990" v="3407" actId="478"/>
          <ac:spMkLst>
            <pc:docMk/>
            <pc:sldMk cId="1254886162" sldId="1306"/>
            <ac:spMk id="56" creationId="{2D4B7EC5-D8BC-4D2F-AB7D-543521494FB9}"/>
          </ac:spMkLst>
        </pc:spChg>
        <pc:spChg chg="del">
          <ac:chgData name="Cyprien DE CHAMBURE" userId="954ca6a6-7c37-422b-ae6a-3f5a5fea4ba3" providerId="ADAL" clId="{0FE39BE6-7419-4CDA-9D38-81AD3DE155D7}" dt="2023-11-07T17:07:51.990" v="3407" actId="478"/>
          <ac:spMkLst>
            <pc:docMk/>
            <pc:sldMk cId="1254886162" sldId="1306"/>
            <ac:spMk id="57" creationId="{BAF7DC77-EB6C-450A-BAB9-0304C3DDC669}"/>
          </ac:spMkLst>
        </pc:spChg>
        <pc:spChg chg="del">
          <ac:chgData name="Cyprien DE CHAMBURE" userId="954ca6a6-7c37-422b-ae6a-3f5a5fea4ba3" providerId="ADAL" clId="{0FE39BE6-7419-4CDA-9D38-81AD3DE155D7}" dt="2023-11-07T17:07:51.990" v="3407" actId="478"/>
          <ac:spMkLst>
            <pc:docMk/>
            <pc:sldMk cId="1254886162" sldId="1306"/>
            <ac:spMk id="58" creationId="{D4254517-130A-4CF6-A5CE-5B9C275FF530}"/>
          </ac:spMkLst>
        </pc:spChg>
        <pc:spChg chg="del">
          <ac:chgData name="Cyprien DE CHAMBURE" userId="954ca6a6-7c37-422b-ae6a-3f5a5fea4ba3" providerId="ADAL" clId="{0FE39BE6-7419-4CDA-9D38-81AD3DE155D7}" dt="2023-11-07T17:07:51.990" v="3407" actId="478"/>
          <ac:spMkLst>
            <pc:docMk/>
            <pc:sldMk cId="1254886162" sldId="1306"/>
            <ac:spMk id="59" creationId="{39CC1995-76A9-420B-B0C5-74E35ACEC83A}"/>
          </ac:spMkLst>
        </pc:spChg>
        <pc:spChg chg="del">
          <ac:chgData name="Cyprien DE CHAMBURE" userId="954ca6a6-7c37-422b-ae6a-3f5a5fea4ba3" providerId="ADAL" clId="{0FE39BE6-7419-4CDA-9D38-81AD3DE155D7}" dt="2023-11-07T17:07:51.990" v="3407" actId="478"/>
          <ac:spMkLst>
            <pc:docMk/>
            <pc:sldMk cId="1254886162" sldId="1306"/>
            <ac:spMk id="60" creationId="{662A3A0D-6BF5-453F-BFEE-A4219EC8FE5D}"/>
          </ac:spMkLst>
        </pc:spChg>
        <pc:spChg chg="del">
          <ac:chgData name="Cyprien DE CHAMBURE" userId="954ca6a6-7c37-422b-ae6a-3f5a5fea4ba3" providerId="ADAL" clId="{0FE39BE6-7419-4CDA-9D38-81AD3DE155D7}" dt="2023-11-07T17:07:51.990" v="3407" actId="478"/>
          <ac:spMkLst>
            <pc:docMk/>
            <pc:sldMk cId="1254886162" sldId="1306"/>
            <ac:spMk id="61" creationId="{DEC4E8B6-787A-4219-BF92-B144D730598D}"/>
          </ac:spMkLst>
        </pc:spChg>
        <pc:spChg chg="del">
          <ac:chgData name="Cyprien DE CHAMBURE" userId="954ca6a6-7c37-422b-ae6a-3f5a5fea4ba3" providerId="ADAL" clId="{0FE39BE6-7419-4CDA-9D38-81AD3DE155D7}" dt="2023-11-07T17:07:51.990" v="3407" actId="478"/>
          <ac:spMkLst>
            <pc:docMk/>
            <pc:sldMk cId="1254886162" sldId="1306"/>
            <ac:spMk id="62" creationId="{58FF19D7-DE5F-4BC8-BD66-468F96DF5D41}"/>
          </ac:spMkLst>
        </pc:spChg>
        <pc:spChg chg="del">
          <ac:chgData name="Cyprien DE CHAMBURE" userId="954ca6a6-7c37-422b-ae6a-3f5a5fea4ba3" providerId="ADAL" clId="{0FE39BE6-7419-4CDA-9D38-81AD3DE155D7}" dt="2023-11-07T17:07:51.990" v="3407" actId="478"/>
          <ac:spMkLst>
            <pc:docMk/>
            <pc:sldMk cId="1254886162" sldId="1306"/>
            <ac:spMk id="63" creationId="{A7FE0CA3-C0EA-4778-B669-00BAD445E8F2}"/>
          </ac:spMkLst>
        </pc:spChg>
        <pc:spChg chg="del">
          <ac:chgData name="Cyprien DE CHAMBURE" userId="954ca6a6-7c37-422b-ae6a-3f5a5fea4ba3" providerId="ADAL" clId="{0FE39BE6-7419-4CDA-9D38-81AD3DE155D7}" dt="2023-11-07T17:07:51.990" v="3407" actId="478"/>
          <ac:spMkLst>
            <pc:docMk/>
            <pc:sldMk cId="1254886162" sldId="1306"/>
            <ac:spMk id="64" creationId="{7E8046F3-56F3-4A85-A389-3842241AAD5F}"/>
          </ac:spMkLst>
        </pc:spChg>
        <pc:spChg chg="del">
          <ac:chgData name="Cyprien DE CHAMBURE" userId="954ca6a6-7c37-422b-ae6a-3f5a5fea4ba3" providerId="ADAL" clId="{0FE39BE6-7419-4CDA-9D38-81AD3DE155D7}" dt="2023-11-07T17:07:51.990" v="3407" actId="478"/>
          <ac:spMkLst>
            <pc:docMk/>
            <pc:sldMk cId="1254886162" sldId="1306"/>
            <ac:spMk id="65" creationId="{F7D7DF10-BD43-41F8-9698-022038C25507}"/>
          </ac:spMkLst>
        </pc:spChg>
        <pc:spChg chg="del">
          <ac:chgData name="Cyprien DE CHAMBURE" userId="954ca6a6-7c37-422b-ae6a-3f5a5fea4ba3" providerId="ADAL" clId="{0FE39BE6-7419-4CDA-9D38-81AD3DE155D7}" dt="2023-11-07T17:07:51.990" v="3407" actId="478"/>
          <ac:spMkLst>
            <pc:docMk/>
            <pc:sldMk cId="1254886162" sldId="1306"/>
            <ac:spMk id="66" creationId="{57A19546-33A1-4408-9EC5-A121C810DDA0}"/>
          </ac:spMkLst>
        </pc:spChg>
        <pc:spChg chg="del">
          <ac:chgData name="Cyprien DE CHAMBURE" userId="954ca6a6-7c37-422b-ae6a-3f5a5fea4ba3" providerId="ADAL" clId="{0FE39BE6-7419-4CDA-9D38-81AD3DE155D7}" dt="2023-11-07T17:07:51.990" v="3407" actId="478"/>
          <ac:spMkLst>
            <pc:docMk/>
            <pc:sldMk cId="1254886162" sldId="1306"/>
            <ac:spMk id="67" creationId="{D422AEBE-484A-44EC-A32A-CC53B33AF5A0}"/>
          </ac:spMkLst>
        </pc:spChg>
        <pc:spChg chg="del">
          <ac:chgData name="Cyprien DE CHAMBURE" userId="954ca6a6-7c37-422b-ae6a-3f5a5fea4ba3" providerId="ADAL" clId="{0FE39BE6-7419-4CDA-9D38-81AD3DE155D7}" dt="2023-11-07T17:07:51.990" v="3407" actId="478"/>
          <ac:spMkLst>
            <pc:docMk/>
            <pc:sldMk cId="1254886162" sldId="1306"/>
            <ac:spMk id="69" creationId="{B7DBF87A-222D-4415-AD63-30D190F5371A}"/>
          </ac:spMkLst>
        </pc:spChg>
        <pc:spChg chg="del">
          <ac:chgData name="Cyprien DE CHAMBURE" userId="954ca6a6-7c37-422b-ae6a-3f5a5fea4ba3" providerId="ADAL" clId="{0FE39BE6-7419-4CDA-9D38-81AD3DE155D7}" dt="2023-11-07T17:07:51.990" v="3407" actId="478"/>
          <ac:spMkLst>
            <pc:docMk/>
            <pc:sldMk cId="1254886162" sldId="1306"/>
            <ac:spMk id="70" creationId="{A5BCBDBD-E8D9-41F3-A502-ABD03BBC35E7}"/>
          </ac:spMkLst>
        </pc:spChg>
        <pc:spChg chg="del">
          <ac:chgData name="Cyprien DE CHAMBURE" userId="954ca6a6-7c37-422b-ae6a-3f5a5fea4ba3" providerId="ADAL" clId="{0FE39BE6-7419-4CDA-9D38-81AD3DE155D7}" dt="2023-11-07T17:07:51.990" v="3407" actId="478"/>
          <ac:spMkLst>
            <pc:docMk/>
            <pc:sldMk cId="1254886162" sldId="1306"/>
            <ac:spMk id="72" creationId="{4EA8FD8E-E8F0-4E01-9CD1-3D31BD71E1CF}"/>
          </ac:spMkLst>
        </pc:spChg>
        <pc:spChg chg="del">
          <ac:chgData name="Cyprien DE CHAMBURE" userId="954ca6a6-7c37-422b-ae6a-3f5a5fea4ba3" providerId="ADAL" clId="{0FE39BE6-7419-4CDA-9D38-81AD3DE155D7}" dt="2023-11-07T17:07:51.990" v="3407" actId="478"/>
          <ac:spMkLst>
            <pc:docMk/>
            <pc:sldMk cId="1254886162" sldId="1306"/>
            <ac:spMk id="73" creationId="{6E2D11C3-DA0E-4A67-9356-C50879FA3BD2}"/>
          </ac:spMkLst>
        </pc:spChg>
        <pc:spChg chg="del">
          <ac:chgData name="Cyprien DE CHAMBURE" userId="954ca6a6-7c37-422b-ae6a-3f5a5fea4ba3" providerId="ADAL" clId="{0FE39BE6-7419-4CDA-9D38-81AD3DE155D7}" dt="2023-11-07T17:07:51.990" v="3407" actId="478"/>
          <ac:spMkLst>
            <pc:docMk/>
            <pc:sldMk cId="1254886162" sldId="1306"/>
            <ac:spMk id="74" creationId="{1E1FD75A-D242-4F35-A955-DB2F09D46193}"/>
          </ac:spMkLst>
        </pc:spChg>
        <pc:spChg chg="del">
          <ac:chgData name="Cyprien DE CHAMBURE" userId="954ca6a6-7c37-422b-ae6a-3f5a5fea4ba3" providerId="ADAL" clId="{0FE39BE6-7419-4CDA-9D38-81AD3DE155D7}" dt="2023-11-07T17:07:51.990" v="3407" actId="478"/>
          <ac:spMkLst>
            <pc:docMk/>
            <pc:sldMk cId="1254886162" sldId="1306"/>
            <ac:spMk id="75" creationId="{4D62D2F0-2761-4212-B5F8-460098D3F742}"/>
          </ac:spMkLst>
        </pc:spChg>
        <pc:spChg chg="del">
          <ac:chgData name="Cyprien DE CHAMBURE" userId="954ca6a6-7c37-422b-ae6a-3f5a5fea4ba3" providerId="ADAL" clId="{0FE39BE6-7419-4CDA-9D38-81AD3DE155D7}" dt="2023-11-07T17:07:51.990" v="3407" actId="478"/>
          <ac:spMkLst>
            <pc:docMk/>
            <pc:sldMk cId="1254886162" sldId="1306"/>
            <ac:spMk id="76" creationId="{2B4D79F5-85E5-4945-A62F-88E096686E6C}"/>
          </ac:spMkLst>
        </pc:spChg>
        <pc:spChg chg="del">
          <ac:chgData name="Cyprien DE CHAMBURE" userId="954ca6a6-7c37-422b-ae6a-3f5a5fea4ba3" providerId="ADAL" clId="{0FE39BE6-7419-4CDA-9D38-81AD3DE155D7}" dt="2023-11-07T17:07:51.990" v="3407" actId="478"/>
          <ac:spMkLst>
            <pc:docMk/>
            <pc:sldMk cId="1254886162" sldId="1306"/>
            <ac:spMk id="77" creationId="{9FAA777D-26E1-4C00-BADD-2D19F6284B1A}"/>
          </ac:spMkLst>
        </pc:spChg>
        <pc:spChg chg="del">
          <ac:chgData name="Cyprien DE CHAMBURE" userId="954ca6a6-7c37-422b-ae6a-3f5a5fea4ba3" providerId="ADAL" clId="{0FE39BE6-7419-4CDA-9D38-81AD3DE155D7}" dt="2023-11-07T17:07:51.990" v="3407" actId="478"/>
          <ac:spMkLst>
            <pc:docMk/>
            <pc:sldMk cId="1254886162" sldId="1306"/>
            <ac:spMk id="78" creationId="{794CE257-4905-4E85-9CD7-790321D8C5B7}"/>
          </ac:spMkLst>
        </pc:spChg>
        <pc:spChg chg="del">
          <ac:chgData name="Cyprien DE CHAMBURE" userId="954ca6a6-7c37-422b-ae6a-3f5a5fea4ba3" providerId="ADAL" clId="{0FE39BE6-7419-4CDA-9D38-81AD3DE155D7}" dt="2023-11-07T17:07:51.990" v="3407" actId="478"/>
          <ac:spMkLst>
            <pc:docMk/>
            <pc:sldMk cId="1254886162" sldId="1306"/>
            <ac:spMk id="79" creationId="{4876F1E2-8926-4773-ADB8-659454183E59}"/>
          </ac:spMkLst>
        </pc:spChg>
        <pc:spChg chg="del">
          <ac:chgData name="Cyprien DE CHAMBURE" userId="954ca6a6-7c37-422b-ae6a-3f5a5fea4ba3" providerId="ADAL" clId="{0FE39BE6-7419-4CDA-9D38-81AD3DE155D7}" dt="2023-11-07T17:07:51.990" v="3407" actId="478"/>
          <ac:spMkLst>
            <pc:docMk/>
            <pc:sldMk cId="1254886162" sldId="1306"/>
            <ac:spMk id="80" creationId="{3C5A3FAC-1ECC-4D27-9049-31456898B9AF}"/>
          </ac:spMkLst>
        </pc:spChg>
        <pc:spChg chg="del">
          <ac:chgData name="Cyprien DE CHAMBURE" userId="954ca6a6-7c37-422b-ae6a-3f5a5fea4ba3" providerId="ADAL" clId="{0FE39BE6-7419-4CDA-9D38-81AD3DE155D7}" dt="2023-11-07T17:07:51.990" v="3407" actId="478"/>
          <ac:spMkLst>
            <pc:docMk/>
            <pc:sldMk cId="1254886162" sldId="1306"/>
            <ac:spMk id="81" creationId="{5EB55D98-3FAB-4C9B-82FF-5C4757BF852E}"/>
          </ac:spMkLst>
        </pc:spChg>
        <pc:spChg chg="del">
          <ac:chgData name="Cyprien DE CHAMBURE" userId="954ca6a6-7c37-422b-ae6a-3f5a5fea4ba3" providerId="ADAL" clId="{0FE39BE6-7419-4CDA-9D38-81AD3DE155D7}" dt="2023-11-07T17:07:51.990" v="3407" actId="478"/>
          <ac:spMkLst>
            <pc:docMk/>
            <pc:sldMk cId="1254886162" sldId="1306"/>
            <ac:spMk id="82" creationId="{9CB83383-7BCD-4C8D-A3DC-0C0544D27D0E}"/>
          </ac:spMkLst>
        </pc:spChg>
        <pc:spChg chg="del">
          <ac:chgData name="Cyprien DE CHAMBURE" userId="954ca6a6-7c37-422b-ae6a-3f5a5fea4ba3" providerId="ADAL" clId="{0FE39BE6-7419-4CDA-9D38-81AD3DE155D7}" dt="2023-11-07T17:07:51.990" v="3407" actId="478"/>
          <ac:spMkLst>
            <pc:docMk/>
            <pc:sldMk cId="1254886162" sldId="1306"/>
            <ac:spMk id="83" creationId="{3599F932-AF33-4004-956D-A03C3C9B28E1}"/>
          </ac:spMkLst>
        </pc:spChg>
        <pc:spChg chg="del">
          <ac:chgData name="Cyprien DE CHAMBURE" userId="954ca6a6-7c37-422b-ae6a-3f5a5fea4ba3" providerId="ADAL" clId="{0FE39BE6-7419-4CDA-9D38-81AD3DE155D7}" dt="2023-11-07T17:07:51.990" v="3407" actId="478"/>
          <ac:spMkLst>
            <pc:docMk/>
            <pc:sldMk cId="1254886162" sldId="1306"/>
            <ac:spMk id="84" creationId="{EE7C8FDB-9B03-4C8D-B692-7DFFC38A47AE}"/>
          </ac:spMkLst>
        </pc:spChg>
        <pc:spChg chg="del">
          <ac:chgData name="Cyprien DE CHAMBURE" userId="954ca6a6-7c37-422b-ae6a-3f5a5fea4ba3" providerId="ADAL" clId="{0FE39BE6-7419-4CDA-9D38-81AD3DE155D7}" dt="2023-11-07T17:07:51.990" v="3407" actId="478"/>
          <ac:spMkLst>
            <pc:docMk/>
            <pc:sldMk cId="1254886162" sldId="1306"/>
            <ac:spMk id="85" creationId="{C7794AB1-7ACA-4596-8355-9545FC37A587}"/>
          </ac:spMkLst>
        </pc:spChg>
        <pc:spChg chg="del">
          <ac:chgData name="Cyprien DE CHAMBURE" userId="954ca6a6-7c37-422b-ae6a-3f5a5fea4ba3" providerId="ADAL" clId="{0FE39BE6-7419-4CDA-9D38-81AD3DE155D7}" dt="2023-11-07T17:07:51.990" v="3407" actId="478"/>
          <ac:spMkLst>
            <pc:docMk/>
            <pc:sldMk cId="1254886162" sldId="1306"/>
            <ac:spMk id="87" creationId="{BB25DB93-1DE3-447B-87E0-D6BA0CC8E5EB}"/>
          </ac:spMkLst>
        </pc:spChg>
        <pc:spChg chg="del">
          <ac:chgData name="Cyprien DE CHAMBURE" userId="954ca6a6-7c37-422b-ae6a-3f5a5fea4ba3" providerId="ADAL" clId="{0FE39BE6-7419-4CDA-9D38-81AD3DE155D7}" dt="2023-11-07T17:07:51.990" v="3407" actId="478"/>
          <ac:spMkLst>
            <pc:docMk/>
            <pc:sldMk cId="1254886162" sldId="1306"/>
            <ac:spMk id="88" creationId="{DED45261-72C8-4F07-89CC-D0BE2FB08F63}"/>
          </ac:spMkLst>
        </pc:spChg>
        <pc:spChg chg="del">
          <ac:chgData name="Cyprien DE CHAMBURE" userId="954ca6a6-7c37-422b-ae6a-3f5a5fea4ba3" providerId="ADAL" clId="{0FE39BE6-7419-4CDA-9D38-81AD3DE155D7}" dt="2023-11-07T17:07:51.990" v="3407" actId="478"/>
          <ac:spMkLst>
            <pc:docMk/>
            <pc:sldMk cId="1254886162" sldId="1306"/>
            <ac:spMk id="223" creationId="{9175F0BC-EDFD-4286-8FDC-A98AF527928A}"/>
          </ac:spMkLst>
        </pc:spChg>
        <pc:spChg chg="del">
          <ac:chgData name="Cyprien DE CHAMBURE" userId="954ca6a6-7c37-422b-ae6a-3f5a5fea4ba3" providerId="ADAL" clId="{0FE39BE6-7419-4CDA-9D38-81AD3DE155D7}" dt="2023-11-07T17:07:51.990" v="3407" actId="478"/>
          <ac:spMkLst>
            <pc:docMk/>
            <pc:sldMk cId="1254886162" sldId="1306"/>
            <ac:spMk id="225" creationId="{850CF4A7-B730-45C9-929E-F9D1847E21BC}"/>
          </ac:spMkLst>
        </pc:spChg>
        <pc:spChg chg="mod">
          <ac:chgData name="Cyprien DE CHAMBURE" userId="954ca6a6-7c37-422b-ae6a-3f5a5fea4ba3" providerId="ADAL" clId="{0FE39BE6-7419-4CDA-9D38-81AD3DE155D7}" dt="2023-11-07T17:08:50.777" v="3469" actId="20577"/>
          <ac:spMkLst>
            <pc:docMk/>
            <pc:sldMk cId="1254886162" sldId="1306"/>
            <ac:spMk id="316" creationId="{CD7A39F6-210C-4723-AA0E-52C099B5BBA3}"/>
          </ac:spMkLst>
        </pc:spChg>
        <pc:grpChg chg="add mod">
          <ac:chgData name="Cyprien DE CHAMBURE" userId="954ca6a6-7c37-422b-ae6a-3f5a5fea4ba3" providerId="ADAL" clId="{0FE39BE6-7419-4CDA-9D38-81AD3DE155D7}" dt="2023-11-07T17:08:19.713" v="3413" actId="1076"/>
          <ac:grpSpMkLst>
            <pc:docMk/>
            <pc:sldMk cId="1254886162" sldId="1306"/>
            <ac:grpSpMk id="14" creationId="{BCA3CF97-DB42-5860-0834-B4741F0EF1E6}"/>
          </ac:grpSpMkLst>
        </pc:grpChg>
        <pc:graphicFrameChg chg="del">
          <ac:chgData name="Cyprien DE CHAMBURE" userId="954ca6a6-7c37-422b-ae6a-3f5a5fea4ba3" providerId="ADAL" clId="{0FE39BE6-7419-4CDA-9D38-81AD3DE155D7}" dt="2023-11-07T17:07:51.990" v="3407" actId="478"/>
          <ac:graphicFrameMkLst>
            <pc:docMk/>
            <pc:sldMk cId="1254886162" sldId="1306"/>
            <ac:graphicFrameMk id="86" creationId="{8B11F052-4ABB-4973-9BB7-5E37EF069C58}"/>
          </ac:graphicFrameMkLst>
        </pc:graphicFrameChg>
        <pc:picChg chg="add mod">
          <ac:chgData name="Cyprien DE CHAMBURE" userId="954ca6a6-7c37-422b-ae6a-3f5a5fea4ba3" providerId="ADAL" clId="{0FE39BE6-7419-4CDA-9D38-81AD3DE155D7}" dt="2023-11-07T17:08:19.713" v="3413" actId="1076"/>
          <ac:picMkLst>
            <pc:docMk/>
            <pc:sldMk cId="1254886162" sldId="1306"/>
            <ac:picMk id="39" creationId="{D34BA6B7-799B-761F-20E6-AA3ED7AF203C}"/>
          </ac:picMkLst>
        </pc:picChg>
        <pc:picChg chg="add mod">
          <ac:chgData name="Cyprien DE CHAMBURE" userId="954ca6a6-7c37-422b-ae6a-3f5a5fea4ba3" providerId="ADAL" clId="{0FE39BE6-7419-4CDA-9D38-81AD3DE155D7}" dt="2023-11-07T17:08:19.713" v="3413" actId="1076"/>
          <ac:picMkLst>
            <pc:docMk/>
            <pc:sldMk cId="1254886162" sldId="1306"/>
            <ac:picMk id="40" creationId="{A4A2A168-2118-17C2-50F2-EA87D4D636AE}"/>
          </ac:picMkLst>
        </pc:picChg>
        <pc:picChg chg="add mod">
          <ac:chgData name="Cyprien DE CHAMBURE" userId="954ca6a6-7c37-422b-ae6a-3f5a5fea4ba3" providerId="ADAL" clId="{0FE39BE6-7419-4CDA-9D38-81AD3DE155D7}" dt="2023-11-07T17:08:19.713" v="3413" actId="1076"/>
          <ac:picMkLst>
            <pc:docMk/>
            <pc:sldMk cId="1254886162" sldId="1306"/>
            <ac:picMk id="41" creationId="{440E5E33-CE8D-FCD5-6C3B-5ED532DD709D}"/>
          </ac:picMkLst>
        </pc:picChg>
        <pc:picChg chg="add mod">
          <ac:chgData name="Cyprien DE CHAMBURE" userId="954ca6a6-7c37-422b-ae6a-3f5a5fea4ba3" providerId="ADAL" clId="{0FE39BE6-7419-4CDA-9D38-81AD3DE155D7}" dt="2023-11-07T17:08:19.713" v="3413" actId="1076"/>
          <ac:picMkLst>
            <pc:docMk/>
            <pc:sldMk cId="1254886162" sldId="1306"/>
            <ac:picMk id="42" creationId="{BA016D62-8F8C-A903-28C1-3FD42BF32419}"/>
          </ac:picMkLst>
        </pc:picChg>
        <pc:picChg chg="add mod">
          <ac:chgData name="Cyprien DE CHAMBURE" userId="954ca6a6-7c37-422b-ae6a-3f5a5fea4ba3" providerId="ADAL" clId="{0FE39BE6-7419-4CDA-9D38-81AD3DE155D7}" dt="2023-11-07T17:08:19.713" v="3413" actId="1076"/>
          <ac:picMkLst>
            <pc:docMk/>
            <pc:sldMk cId="1254886162" sldId="1306"/>
            <ac:picMk id="43" creationId="{C36F27F6-BF16-0227-0104-411892A5E733}"/>
          </ac:picMkLst>
        </pc:picChg>
        <pc:cxnChg chg="mod">
          <ac:chgData name="Cyprien DE CHAMBURE" userId="954ca6a6-7c37-422b-ae6a-3f5a5fea4ba3" providerId="ADAL" clId="{0FE39BE6-7419-4CDA-9D38-81AD3DE155D7}" dt="2023-11-07T17:08:19.713" v="3413" actId="1076"/>
          <ac:cxnSpMkLst>
            <pc:docMk/>
            <pc:sldMk cId="1254886162" sldId="1306"/>
            <ac:cxnSpMk id="15" creationId="{919C500C-2D20-56C5-E286-D352C3577FED}"/>
          </ac:cxnSpMkLst>
        </pc:cxnChg>
        <pc:cxnChg chg="mod">
          <ac:chgData name="Cyprien DE CHAMBURE" userId="954ca6a6-7c37-422b-ae6a-3f5a5fea4ba3" providerId="ADAL" clId="{0FE39BE6-7419-4CDA-9D38-81AD3DE155D7}" dt="2023-11-07T17:08:19.713" v="3413" actId="1076"/>
          <ac:cxnSpMkLst>
            <pc:docMk/>
            <pc:sldMk cId="1254886162" sldId="1306"/>
            <ac:cxnSpMk id="17" creationId="{6459ACA8-0A1F-C65D-743B-3D3D540CAFD2}"/>
          </ac:cxnSpMkLst>
        </pc:cxnChg>
        <pc:cxnChg chg="mod">
          <ac:chgData name="Cyprien DE CHAMBURE" userId="954ca6a6-7c37-422b-ae6a-3f5a5fea4ba3" providerId="ADAL" clId="{0FE39BE6-7419-4CDA-9D38-81AD3DE155D7}" dt="2023-11-07T17:08:19.713" v="3413" actId="1076"/>
          <ac:cxnSpMkLst>
            <pc:docMk/>
            <pc:sldMk cId="1254886162" sldId="1306"/>
            <ac:cxnSpMk id="18" creationId="{134262C2-17C8-FB1A-4821-5DCA5AF66DDD}"/>
          </ac:cxnSpMkLst>
        </pc:cxnChg>
        <pc:cxnChg chg="mod">
          <ac:chgData name="Cyprien DE CHAMBURE" userId="954ca6a6-7c37-422b-ae6a-3f5a5fea4ba3" providerId="ADAL" clId="{0FE39BE6-7419-4CDA-9D38-81AD3DE155D7}" dt="2023-11-07T17:08:19.713" v="3413" actId="1076"/>
          <ac:cxnSpMkLst>
            <pc:docMk/>
            <pc:sldMk cId="1254886162" sldId="1306"/>
            <ac:cxnSpMk id="19" creationId="{2D7C5701-D237-218A-A6EC-82FEB2CCC078}"/>
          </ac:cxnSpMkLst>
        </pc:cxnChg>
        <pc:cxnChg chg="mod">
          <ac:chgData name="Cyprien DE CHAMBURE" userId="954ca6a6-7c37-422b-ae6a-3f5a5fea4ba3" providerId="ADAL" clId="{0FE39BE6-7419-4CDA-9D38-81AD3DE155D7}" dt="2023-11-07T17:08:19.713" v="3413" actId="1076"/>
          <ac:cxnSpMkLst>
            <pc:docMk/>
            <pc:sldMk cId="1254886162" sldId="1306"/>
            <ac:cxnSpMk id="20" creationId="{992CA634-81B4-6D4D-DF20-F8A64B3BBE72}"/>
          </ac:cxnSpMkLst>
        </pc:cxnChg>
        <pc:cxnChg chg="mod">
          <ac:chgData name="Cyprien DE CHAMBURE" userId="954ca6a6-7c37-422b-ae6a-3f5a5fea4ba3" providerId="ADAL" clId="{0FE39BE6-7419-4CDA-9D38-81AD3DE155D7}" dt="2023-11-07T17:08:19.713" v="3413" actId="1076"/>
          <ac:cxnSpMkLst>
            <pc:docMk/>
            <pc:sldMk cId="1254886162" sldId="1306"/>
            <ac:cxnSpMk id="21" creationId="{8B0FED79-9714-7D89-72B6-BC3528DC0F38}"/>
          </ac:cxnSpMkLst>
        </pc:cxnChg>
        <pc:cxnChg chg="mod">
          <ac:chgData name="Cyprien DE CHAMBURE" userId="954ca6a6-7c37-422b-ae6a-3f5a5fea4ba3" providerId="ADAL" clId="{0FE39BE6-7419-4CDA-9D38-81AD3DE155D7}" dt="2023-11-07T17:08:19.713" v="3413" actId="1076"/>
          <ac:cxnSpMkLst>
            <pc:docMk/>
            <pc:sldMk cId="1254886162" sldId="1306"/>
            <ac:cxnSpMk id="22" creationId="{B17A98DB-267E-2188-3356-7F1DCA3FDC15}"/>
          </ac:cxnSpMkLst>
        </pc:cxnChg>
        <pc:cxnChg chg="mod">
          <ac:chgData name="Cyprien DE CHAMBURE" userId="954ca6a6-7c37-422b-ae6a-3f5a5fea4ba3" providerId="ADAL" clId="{0FE39BE6-7419-4CDA-9D38-81AD3DE155D7}" dt="2023-11-07T17:08:19.713" v="3413" actId="1076"/>
          <ac:cxnSpMkLst>
            <pc:docMk/>
            <pc:sldMk cId="1254886162" sldId="1306"/>
            <ac:cxnSpMk id="23" creationId="{17235FCA-2CC4-6313-83A5-82284A620F00}"/>
          </ac:cxnSpMkLst>
        </pc:cxnChg>
        <pc:cxnChg chg="mod">
          <ac:chgData name="Cyprien DE CHAMBURE" userId="954ca6a6-7c37-422b-ae6a-3f5a5fea4ba3" providerId="ADAL" clId="{0FE39BE6-7419-4CDA-9D38-81AD3DE155D7}" dt="2023-11-07T17:08:19.713" v="3413" actId="1076"/>
          <ac:cxnSpMkLst>
            <pc:docMk/>
            <pc:sldMk cId="1254886162" sldId="1306"/>
            <ac:cxnSpMk id="24" creationId="{11D0AAFB-A046-85BA-363C-C05BD6B5A187}"/>
          </ac:cxnSpMkLst>
        </pc:cxnChg>
        <pc:cxnChg chg="mod">
          <ac:chgData name="Cyprien DE CHAMBURE" userId="954ca6a6-7c37-422b-ae6a-3f5a5fea4ba3" providerId="ADAL" clId="{0FE39BE6-7419-4CDA-9D38-81AD3DE155D7}" dt="2023-11-07T17:08:19.713" v="3413" actId="1076"/>
          <ac:cxnSpMkLst>
            <pc:docMk/>
            <pc:sldMk cId="1254886162" sldId="1306"/>
            <ac:cxnSpMk id="25" creationId="{2169C0B1-A29E-07B4-C126-4C66A7466282}"/>
          </ac:cxnSpMkLst>
        </pc:cxnChg>
        <pc:cxnChg chg="mod">
          <ac:chgData name="Cyprien DE CHAMBURE" userId="954ca6a6-7c37-422b-ae6a-3f5a5fea4ba3" providerId="ADAL" clId="{0FE39BE6-7419-4CDA-9D38-81AD3DE155D7}" dt="2023-11-07T17:08:19.713" v="3413" actId="1076"/>
          <ac:cxnSpMkLst>
            <pc:docMk/>
            <pc:sldMk cId="1254886162" sldId="1306"/>
            <ac:cxnSpMk id="26" creationId="{C77EA4A2-9656-F2CA-EAEF-066D08B75476}"/>
          </ac:cxnSpMkLst>
        </pc:cxnChg>
      </pc:sldChg>
      <pc:sldChg chg="modSp mod">
        <pc:chgData name="Cyprien DE CHAMBURE" userId="954ca6a6-7c37-422b-ae6a-3f5a5fea4ba3" providerId="ADAL" clId="{0FE39BE6-7419-4CDA-9D38-81AD3DE155D7}" dt="2023-11-07T16:46:26.345" v="3127" actId="20577"/>
        <pc:sldMkLst>
          <pc:docMk/>
          <pc:sldMk cId="2797429085" sldId="1307"/>
        </pc:sldMkLst>
        <pc:spChg chg="mod">
          <ac:chgData name="Cyprien DE CHAMBURE" userId="954ca6a6-7c37-422b-ae6a-3f5a5fea4ba3" providerId="ADAL" clId="{0FE39BE6-7419-4CDA-9D38-81AD3DE155D7}" dt="2023-11-07T16:46:26.345" v="3127" actId="20577"/>
          <ac:spMkLst>
            <pc:docMk/>
            <pc:sldMk cId="2797429085" sldId="1307"/>
            <ac:spMk id="4" creationId="{00000000-0000-0000-0000-000000000000}"/>
          </ac:spMkLst>
        </pc:spChg>
      </pc:sldChg>
      <pc:sldChg chg="addSp delSp modSp mod">
        <pc:chgData name="Cyprien DE CHAMBURE" userId="954ca6a6-7c37-422b-ae6a-3f5a5fea4ba3" providerId="ADAL" clId="{0FE39BE6-7419-4CDA-9D38-81AD3DE155D7}" dt="2023-11-07T14:48:58.404" v="761" actId="14100"/>
        <pc:sldMkLst>
          <pc:docMk/>
          <pc:sldMk cId="1516553123" sldId="1596"/>
        </pc:sldMkLst>
        <pc:spChg chg="del">
          <ac:chgData name="Cyprien DE CHAMBURE" userId="954ca6a6-7c37-422b-ae6a-3f5a5fea4ba3" providerId="ADAL" clId="{0FE39BE6-7419-4CDA-9D38-81AD3DE155D7}" dt="2023-11-07T14:18:50.323" v="58" actId="478"/>
          <ac:spMkLst>
            <pc:docMk/>
            <pc:sldMk cId="1516553123" sldId="1596"/>
            <ac:spMk id="4" creationId="{32913542-7D63-3732-3654-43FABE2DADA9}"/>
          </ac:spMkLst>
        </pc:spChg>
        <pc:spChg chg="del">
          <ac:chgData name="Cyprien DE CHAMBURE" userId="954ca6a6-7c37-422b-ae6a-3f5a5fea4ba3" providerId="ADAL" clId="{0FE39BE6-7419-4CDA-9D38-81AD3DE155D7}" dt="2023-11-07T14:18:50.323" v="58" actId="478"/>
          <ac:spMkLst>
            <pc:docMk/>
            <pc:sldMk cId="1516553123" sldId="1596"/>
            <ac:spMk id="6" creationId="{97A369E5-2A60-9244-7994-ADE05C2A26D5}"/>
          </ac:spMkLst>
        </pc:spChg>
        <pc:spChg chg="del">
          <ac:chgData name="Cyprien DE CHAMBURE" userId="954ca6a6-7c37-422b-ae6a-3f5a5fea4ba3" providerId="ADAL" clId="{0FE39BE6-7419-4CDA-9D38-81AD3DE155D7}" dt="2023-11-07T14:18:50.323" v="58" actId="478"/>
          <ac:spMkLst>
            <pc:docMk/>
            <pc:sldMk cId="1516553123" sldId="1596"/>
            <ac:spMk id="7" creationId="{3DB66C1A-26FC-CD07-9362-538896FB5147}"/>
          </ac:spMkLst>
        </pc:spChg>
        <pc:spChg chg="del">
          <ac:chgData name="Cyprien DE CHAMBURE" userId="954ca6a6-7c37-422b-ae6a-3f5a5fea4ba3" providerId="ADAL" clId="{0FE39BE6-7419-4CDA-9D38-81AD3DE155D7}" dt="2023-11-07T14:18:50.323" v="58" actId="478"/>
          <ac:spMkLst>
            <pc:docMk/>
            <pc:sldMk cId="1516553123" sldId="1596"/>
            <ac:spMk id="8" creationId="{97ABAE16-12B0-1731-276A-B132C2EADA9B}"/>
          </ac:spMkLst>
        </pc:spChg>
        <pc:spChg chg="del">
          <ac:chgData name="Cyprien DE CHAMBURE" userId="954ca6a6-7c37-422b-ae6a-3f5a5fea4ba3" providerId="ADAL" clId="{0FE39BE6-7419-4CDA-9D38-81AD3DE155D7}" dt="2023-11-07T14:18:50.323" v="58" actId="478"/>
          <ac:spMkLst>
            <pc:docMk/>
            <pc:sldMk cId="1516553123" sldId="1596"/>
            <ac:spMk id="9" creationId="{B798E0EE-4FA5-83EB-90F0-C08266F6C6DF}"/>
          </ac:spMkLst>
        </pc:spChg>
        <pc:spChg chg="del">
          <ac:chgData name="Cyprien DE CHAMBURE" userId="954ca6a6-7c37-422b-ae6a-3f5a5fea4ba3" providerId="ADAL" clId="{0FE39BE6-7419-4CDA-9D38-81AD3DE155D7}" dt="2023-11-07T14:18:50.323" v="58" actId="478"/>
          <ac:spMkLst>
            <pc:docMk/>
            <pc:sldMk cId="1516553123" sldId="1596"/>
            <ac:spMk id="10" creationId="{B60DABAD-EEBF-1BC9-CB84-3144D4829978}"/>
          </ac:spMkLst>
        </pc:spChg>
        <pc:spChg chg="del">
          <ac:chgData name="Cyprien DE CHAMBURE" userId="954ca6a6-7c37-422b-ae6a-3f5a5fea4ba3" providerId="ADAL" clId="{0FE39BE6-7419-4CDA-9D38-81AD3DE155D7}" dt="2023-11-07T14:18:50.323" v="58" actId="478"/>
          <ac:spMkLst>
            <pc:docMk/>
            <pc:sldMk cId="1516553123" sldId="1596"/>
            <ac:spMk id="11" creationId="{A75CD0BF-D5AA-DF76-EC5A-1BA6F2DFA41B}"/>
          </ac:spMkLst>
        </pc:spChg>
        <pc:spChg chg="del">
          <ac:chgData name="Cyprien DE CHAMBURE" userId="954ca6a6-7c37-422b-ae6a-3f5a5fea4ba3" providerId="ADAL" clId="{0FE39BE6-7419-4CDA-9D38-81AD3DE155D7}" dt="2023-11-07T14:18:50.323" v="58" actId="478"/>
          <ac:spMkLst>
            <pc:docMk/>
            <pc:sldMk cId="1516553123" sldId="1596"/>
            <ac:spMk id="12" creationId="{BDC6FB2F-9844-B040-E834-C637A5604640}"/>
          </ac:spMkLst>
        </pc:spChg>
        <pc:spChg chg="del">
          <ac:chgData name="Cyprien DE CHAMBURE" userId="954ca6a6-7c37-422b-ae6a-3f5a5fea4ba3" providerId="ADAL" clId="{0FE39BE6-7419-4CDA-9D38-81AD3DE155D7}" dt="2023-11-07T14:18:50.323" v="58" actId="478"/>
          <ac:spMkLst>
            <pc:docMk/>
            <pc:sldMk cId="1516553123" sldId="1596"/>
            <ac:spMk id="13" creationId="{A159C26D-5D82-F5A2-1BFB-4C62BD3B5ABE}"/>
          </ac:spMkLst>
        </pc:spChg>
        <pc:spChg chg="del">
          <ac:chgData name="Cyprien DE CHAMBURE" userId="954ca6a6-7c37-422b-ae6a-3f5a5fea4ba3" providerId="ADAL" clId="{0FE39BE6-7419-4CDA-9D38-81AD3DE155D7}" dt="2023-11-07T14:18:50.323" v="58" actId="478"/>
          <ac:spMkLst>
            <pc:docMk/>
            <pc:sldMk cId="1516553123" sldId="1596"/>
            <ac:spMk id="16" creationId="{FA224CC8-D4F9-3498-4FD1-34DDC0557457}"/>
          </ac:spMkLst>
        </pc:spChg>
        <pc:spChg chg="del">
          <ac:chgData name="Cyprien DE CHAMBURE" userId="954ca6a6-7c37-422b-ae6a-3f5a5fea4ba3" providerId="ADAL" clId="{0FE39BE6-7419-4CDA-9D38-81AD3DE155D7}" dt="2023-11-07T14:18:50.323" v="58" actId="478"/>
          <ac:spMkLst>
            <pc:docMk/>
            <pc:sldMk cId="1516553123" sldId="1596"/>
            <ac:spMk id="17" creationId="{803B7660-F721-8A36-72BC-5D4ACD490008}"/>
          </ac:spMkLst>
        </pc:spChg>
        <pc:spChg chg="del">
          <ac:chgData name="Cyprien DE CHAMBURE" userId="954ca6a6-7c37-422b-ae6a-3f5a5fea4ba3" providerId="ADAL" clId="{0FE39BE6-7419-4CDA-9D38-81AD3DE155D7}" dt="2023-11-07T14:18:50.323" v="58" actId="478"/>
          <ac:spMkLst>
            <pc:docMk/>
            <pc:sldMk cId="1516553123" sldId="1596"/>
            <ac:spMk id="18" creationId="{119C044C-B650-5BF2-EFB7-21BF7244C22A}"/>
          </ac:spMkLst>
        </pc:spChg>
        <pc:spChg chg="del">
          <ac:chgData name="Cyprien DE CHAMBURE" userId="954ca6a6-7c37-422b-ae6a-3f5a5fea4ba3" providerId="ADAL" clId="{0FE39BE6-7419-4CDA-9D38-81AD3DE155D7}" dt="2023-11-07T14:18:50.323" v="58" actId="478"/>
          <ac:spMkLst>
            <pc:docMk/>
            <pc:sldMk cId="1516553123" sldId="1596"/>
            <ac:spMk id="19" creationId="{F804F9CC-B652-B728-5E0B-DA225B6BA272}"/>
          </ac:spMkLst>
        </pc:spChg>
        <pc:spChg chg="del">
          <ac:chgData name="Cyprien DE CHAMBURE" userId="954ca6a6-7c37-422b-ae6a-3f5a5fea4ba3" providerId="ADAL" clId="{0FE39BE6-7419-4CDA-9D38-81AD3DE155D7}" dt="2023-11-07T14:18:50.323" v="58" actId="478"/>
          <ac:spMkLst>
            <pc:docMk/>
            <pc:sldMk cId="1516553123" sldId="1596"/>
            <ac:spMk id="20" creationId="{8D23C8A7-C13E-EAC9-8E6C-F531C7B292E3}"/>
          </ac:spMkLst>
        </pc:spChg>
        <pc:spChg chg="del">
          <ac:chgData name="Cyprien DE CHAMBURE" userId="954ca6a6-7c37-422b-ae6a-3f5a5fea4ba3" providerId="ADAL" clId="{0FE39BE6-7419-4CDA-9D38-81AD3DE155D7}" dt="2023-11-07T14:18:50.323" v="58" actId="478"/>
          <ac:spMkLst>
            <pc:docMk/>
            <pc:sldMk cId="1516553123" sldId="1596"/>
            <ac:spMk id="21" creationId="{456252C6-BCF2-2BF6-30C5-A69C77EDA4EA}"/>
          </ac:spMkLst>
        </pc:spChg>
        <pc:spChg chg="del">
          <ac:chgData name="Cyprien DE CHAMBURE" userId="954ca6a6-7c37-422b-ae6a-3f5a5fea4ba3" providerId="ADAL" clId="{0FE39BE6-7419-4CDA-9D38-81AD3DE155D7}" dt="2023-11-07T14:18:50.323" v="58" actId="478"/>
          <ac:spMkLst>
            <pc:docMk/>
            <pc:sldMk cId="1516553123" sldId="1596"/>
            <ac:spMk id="22" creationId="{C8C8B83A-EA98-A37D-B54D-671C82D23C5A}"/>
          </ac:spMkLst>
        </pc:spChg>
        <pc:spChg chg="del">
          <ac:chgData name="Cyprien DE CHAMBURE" userId="954ca6a6-7c37-422b-ae6a-3f5a5fea4ba3" providerId="ADAL" clId="{0FE39BE6-7419-4CDA-9D38-81AD3DE155D7}" dt="2023-11-07T14:18:50.323" v="58" actId="478"/>
          <ac:spMkLst>
            <pc:docMk/>
            <pc:sldMk cId="1516553123" sldId="1596"/>
            <ac:spMk id="23" creationId="{2E737B57-DBFF-538E-3641-196932BC4492}"/>
          </ac:spMkLst>
        </pc:spChg>
        <pc:spChg chg="del">
          <ac:chgData name="Cyprien DE CHAMBURE" userId="954ca6a6-7c37-422b-ae6a-3f5a5fea4ba3" providerId="ADAL" clId="{0FE39BE6-7419-4CDA-9D38-81AD3DE155D7}" dt="2023-11-07T14:18:50.323" v="58" actId="478"/>
          <ac:spMkLst>
            <pc:docMk/>
            <pc:sldMk cId="1516553123" sldId="1596"/>
            <ac:spMk id="24" creationId="{DF144303-C8E5-C858-E387-659BE884C3C5}"/>
          </ac:spMkLst>
        </pc:spChg>
        <pc:spChg chg="del">
          <ac:chgData name="Cyprien DE CHAMBURE" userId="954ca6a6-7c37-422b-ae6a-3f5a5fea4ba3" providerId="ADAL" clId="{0FE39BE6-7419-4CDA-9D38-81AD3DE155D7}" dt="2023-11-07T14:18:50.323" v="58" actId="478"/>
          <ac:spMkLst>
            <pc:docMk/>
            <pc:sldMk cId="1516553123" sldId="1596"/>
            <ac:spMk id="25" creationId="{C653C72B-1C42-2A6B-491D-7AB15A60E4B5}"/>
          </ac:spMkLst>
        </pc:spChg>
        <pc:spChg chg="del">
          <ac:chgData name="Cyprien DE CHAMBURE" userId="954ca6a6-7c37-422b-ae6a-3f5a5fea4ba3" providerId="ADAL" clId="{0FE39BE6-7419-4CDA-9D38-81AD3DE155D7}" dt="2023-11-07T14:18:50.323" v="58" actId="478"/>
          <ac:spMkLst>
            <pc:docMk/>
            <pc:sldMk cId="1516553123" sldId="1596"/>
            <ac:spMk id="27" creationId="{BD4B29C8-F3EF-25A3-665A-C020FA5F04E9}"/>
          </ac:spMkLst>
        </pc:spChg>
        <pc:spChg chg="del">
          <ac:chgData name="Cyprien DE CHAMBURE" userId="954ca6a6-7c37-422b-ae6a-3f5a5fea4ba3" providerId="ADAL" clId="{0FE39BE6-7419-4CDA-9D38-81AD3DE155D7}" dt="2023-11-07T14:18:50.323" v="58" actId="478"/>
          <ac:spMkLst>
            <pc:docMk/>
            <pc:sldMk cId="1516553123" sldId="1596"/>
            <ac:spMk id="29" creationId="{8D7806F5-BAF4-3C5D-66CD-CEA5ED87B46C}"/>
          </ac:spMkLst>
        </pc:spChg>
        <pc:spChg chg="del">
          <ac:chgData name="Cyprien DE CHAMBURE" userId="954ca6a6-7c37-422b-ae6a-3f5a5fea4ba3" providerId="ADAL" clId="{0FE39BE6-7419-4CDA-9D38-81AD3DE155D7}" dt="2023-11-07T14:18:50.323" v="58" actId="478"/>
          <ac:spMkLst>
            <pc:docMk/>
            <pc:sldMk cId="1516553123" sldId="1596"/>
            <ac:spMk id="30" creationId="{0C3E235A-EB0B-B2D2-1C43-FD6D96B18ABA}"/>
          </ac:spMkLst>
        </pc:spChg>
        <pc:spChg chg="del">
          <ac:chgData name="Cyprien DE CHAMBURE" userId="954ca6a6-7c37-422b-ae6a-3f5a5fea4ba3" providerId="ADAL" clId="{0FE39BE6-7419-4CDA-9D38-81AD3DE155D7}" dt="2023-11-07T14:18:50.323" v="58" actId="478"/>
          <ac:spMkLst>
            <pc:docMk/>
            <pc:sldMk cId="1516553123" sldId="1596"/>
            <ac:spMk id="31" creationId="{CD73FC2B-1AB3-CB6F-F590-29A5B590755F}"/>
          </ac:spMkLst>
        </pc:spChg>
        <pc:spChg chg="del">
          <ac:chgData name="Cyprien DE CHAMBURE" userId="954ca6a6-7c37-422b-ae6a-3f5a5fea4ba3" providerId="ADAL" clId="{0FE39BE6-7419-4CDA-9D38-81AD3DE155D7}" dt="2023-11-07T14:18:50.323" v="58" actId="478"/>
          <ac:spMkLst>
            <pc:docMk/>
            <pc:sldMk cId="1516553123" sldId="1596"/>
            <ac:spMk id="32" creationId="{97F87547-E493-17B1-9127-94B4075F4317}"/>
          </ac:spMkLst>
        </pc:spChg>
        <pc:spChg chg="del">
          <ac:chgData name="Cyprien DE CHAMBURE" userId="954ca6a6-7c37-422b-ae6a-3f5a5fea4ba3" providerId="ADAL" clId="{0FE39BE6-7419-4CDA-9D38-81AD3DE155D7}" dt="2023-11-07T14:18:50.323" v="58" actId="478"/>
          <ac:spMkLst>
            <pc:docMk/>
            <pc:sldMk cId="1516553123" sldId="1596"/>
            <ac:spMk id="33" creationId="{263B9AC5-6381-C6E3-1B17-931AF9FF6350}"/>
          </ac:spMkLst>
        </pc:spChg>
        <pc:spChg chg="del">
          <ac:chgData name="Cyprien DE CHAMBURE" userId="954ca6a6-7c37-422b-ae6a-3f5a5fea4ba3" providerId="ADAL" clId="{0FE39BE6-7419-4CDA-9D38-81AD3DE155D7}" dt="2023-11-07T14:18:50.323" v="58" actId="478"/>
          <ac:spMkLst>
            <pc:docMk/>
            <pc:sldMk cId="1516553123" sldId="1596"/>
            <ac:spMk id="34" creationId="{46266637-AC33-7737-8E86-E1A55702DAD1}"/>
          </ac:spMkLst>
        </pc:spChg>
        <pc:spChg chg="del">
          <ac:chgData name="Cyprien DE CHAMBURE" userId="954ca6a6-7c37-422b-ae6a-3f5a5fea4ba3" providerId="ADAL" clId="{0FE39BE6-7419-4CDA-9D38-81AD3DE155D7}" dt="2023-11-07T14:18:50.323" v="58" actId="478"/>
          <ac:spMkLst>
            <pc:docMk/>
            <pc:sldMk cId="1516553123" sldId="1596"/>
            <ac:spMk id="35" creationId="{079F1708-F341-B557-5A96-815C3C2CA20B}"/>
          </ac:spMkLst>
        </pc:spChg>
        <pc:spChg chg="del">
          <ac:chgData name="Cyprien DE CHAMBURE" userId="954ca6a6-7c37-422b-ae6a-3f5a5fea4ba3" providerId="ADAL" clId="{0FE39BE6-7419-4CDA-9D38-81AD3DE155D7}" dt="2023-11-07T14:18:50.323" v="58" actId="478"/>
          <ac:spMkLst>
            <pc:docMk/>
            <pc:sldMk cId="1516553123" sldId="1596"/>
            <ac:spMk id="36" creationId="{EA37C673-521A-6A24-6C84-82C38E0280E7}"/>
          </ac:spMkLst>
        </pc:spChg>
        <pc:spChg chg="add mod">
          <ac:chgData name="Cyprien DE CHAMBURE" userId="954ca6a6-7c37-422b-ae6a-3f5a5fea4ba3" providerId="ADAL" clId="{0FE39BE6-7419-4CDA-9D38-81AD3DE155D7}" dt="2023-11-07T14:18:55.762" v="61" actId="1076"/>
          <ac:spMkLst>
            <pc:docMk/>
            <pc:sldMk cId="1516553123" sldId="1596"/>
            <ac:spMk id="37" creationId="{ED68346A-6911-FA8E-E906-578267DF3373}"/>
          </ac:spMkLst>
        </pc:spChg>
        <pc:spChg chg="del">
          <ac:chgData name="Cyprien DE CHAMBURE" userId="954ca6a6-7c37-422b-ae6a-3f5a5fea4ba3" providerId="ADAL" clId="{0FE39BE6-7419-4CDA-9D38-81AD3DE155D7}" dt="2023-11-07T14:18:50.323" v="58" actId="478"/>
          <ac:spMkLst>
            <pc:docMk/>
            <pc:sldMk cId="1516553123" sldId="1596"/>
            <ac:spMk id="38" creationId="{B0D1CF0F-3A43-E8AA-834D-907D85B7E0BB}"/>
          </ac:spMkLst>
        </pc:spChg>
        <pc:spChg chg="add mod">
          <ac:chgData name="Cyprien DE CHAMBURE" userId="954ca6a6-7c37-422b-ae6a-3f5a5fea4ba3" providerId="ADAL" clId="{0FE39BE6-7419-4CDA-9D38-81AD3DE155D7}" dt="2023-11-07T14:29:47.591" v="364" actId="14100"/>
          <ac:spMkLst>
            <pc:docMk/>
            <pc:sldMk cId="1516553123" sldId="1596"/>
            <ac:spMk id="40" creationId="{B667648E-14E6-E129-570D-92B26D63A4C2}"/>
          </ac:spMkLst>
        </pc:spChg>
        <pc:spChg chg="add mod">
          <ac:chgData name="Cyprien DE CHAMBURE" userId="954ca6a6-7c37-422b-ae6a-3f5a5fea4ba3" providerId="ADAL" clId="{0FE39BE6-7419-4CDA-9D38-81AD3DE155D7}" dt="2023-11-07T14:30:37.467" v="370" actId="552"/>
          <ac:spMkLst>
            <pc:docMk/>
            <pc:sldMk cId="1516553123" sldId="1596"/>
            <ac:spMk id="41" creationId="{6D490D32-FC43-AE11-02F9-E351B00AA43C}"/>
          </ac:spMkLst>
        </pc:spChg>
        <pc:spChg chg="add mod">
          <ac:chgData name="Cyprien DE CHAMBURE" userId="954ca6a6-7c37-422b-ae6a-3f5a5fea4ba3" providerId="ADAL" clId="{0FE39BE6-7419-4CDA-9D38-81AD3DE155D7}" dt="2023-11-07T14:30:37.467" v="370" actId="552"/>
          <ac:spMkLst>
            <pc:docMk/>
            <pc:sldMk cId="1516553123" sldId="1596"/>
            <ac:spMk id="42" creationId="{21A107C5-9B5F-5831-2E6F-633297BA63FC}"/>
          </ac:spMkLst>
        </pc:spChg>
        <pc:spChg chg="add mod">
          <ac:chgData name="Cyprien DE CHAMBURE" userId="954ca6a6-7c37-422b-ae6a-3f5a5fea4ba3" providerId="ADAL" clId="{0FE39BE6-7419-4CDA-9D38-81AD3DE155D7}" dt="2023-11-07T14:30:37.467" v="370" actId="552"/>
          <ac:spMkLst>
            <pc:docMk/>
            <pc:sldMk cId="1516553123" sldId="1596"/>
            <ac:spMk id="43" creationId="{BCE64604-EB60-7288-5623-44ED601E0640}"/>
          </ac:spMkLst>
        </pc:spChg>
        <pc:spChg chg="add mod">
          <ac:chgData name="Cyprien DE CHAMBURE" userId="954ca6a6-7c37-422b-ae6a-3f5a5fea4ba3" providerId="ADAL" clId="{0FE39BE6-7419-4CDA-9D38-81AD3DE155D7}" dt="2023-11-07T14:30:37.467" v="370" actId="552"/>
          <ac:spMkLst>
            <pc:docMk/>
            <pc:sldMk cId="1516553123" sldId="1596"/>
            <ac:spMk id="44" creationId="{D0E9D88C-D0DB-64C9-3CBD-92FF8682C473}"/>
          </ac:spMkLst>
        </pc:spChg>
        <pc:spChg chg="add mod">
          <ac:chgData name="Cyprien DE CHAMBURE" userId="954ca6a6-7c37-422b-ae6a-3f5a5fea4ba3" providerId="ADAL" clId="{0FE39BE6-7419-4CDA-9D38-81AD3DE155D7}" dt="2023-11-07T14:18:55.762" v="61" actId="1076"/>
          <ac:spMkLst>
            <pc:docMk/>
            <pc:sldMk cId="1516553123" sldId="1596"/>
            <ac:spMk id="45" creationId="{ACB91940-00C4-4742-3B9C-090ED5882E9A}"/>
          </ac:spMkLst>
        </pc:spChg>
        <pc:spChg chg="add mod">
          <ac:chgData name="Cyprien DE CHAMBURE" userId="954ca6a6-7c37-422b-ae6a-3f5a5fea4ba3" providerId="ADAL" clId="{0FE39BE6-7419-4CDA-9D38-81AD3DE155D7}" dt="2023-11-07T14:48:58.404" v="761" actId="14100"/>
          <ac:spMkLst>
            <pc:docMk/>
            <pc:sldMk cId="1516553123" sldId="1596"/>
            <ac:spMk id="46" creationId="{6331ACFC-B03D-26A1-F750-CBAFBFD85FF6}"/>
          </ac:spMkLst>
        </pc:spChg>
        <pc:spChg chg="add mod">
          <ac:chgData name="Cyprien DE CHAMBURE" userId="954ca6a6-7c37-422b-ae6a-3f5a5fea4ba3" providerId="ADAL" clId="{0FE39BE6-7419-4CDA-9D38-81AD3DE155D7}" dt="2023-11-07T14:18:55.762" v="61" actId="1076"/>
          <ac:spMkLst>
            <pc:docMk/>
            <pc:sldMk cId="1516553123" sldId="1596"/>
            <ac:spMk id="47" creationId="{7A003131-F2F1-44A5-1DBE-09C1E5B0F283}"/>
          </ac:spMkLst>
        </pc:spChg>
        <pc:spChg chg="add mod">
          <ac:chgData name="Cyprien DE CHAMBURE" userId="954ca6a6-7c37-422b-ae6a-3f5a5fea4ba3" providerId="ADAL" clId="{0FE39BE6-7419-4CDA-9D38-81AD3DE155D7}" dt="2023-11-07T14:34:17.577" v="394" actId="1076"/>
          <ac:spMkLst>
            <pc:docMk/>
            <pc:sldMk cId="1516553123" sldId="1596"/>
            <ac:spMk id="48" creationId="{44C72E94-D0F1-2441-2B5E-F61E17700D57}"/>
          </ac:spMkLst>
        </pc:spChg>
        <pc:spChg chg="add mod">
          <ac:chgData name="Cyprien DE CHAMBURE" userId="954ca6a6-7c37-422b-ae6a-3f5a5fea4ba3" providerId="ADAL" clId="{0FE39BE6-7419-4CDA-9D38-81AD3DE155D7}" dt="2023-11-07T14:33:55.305" v="391" actId="1035"/>
          <ac:spMkLst>
            <pc:docMk/>
            <pc:sldMk cId="1516553123" sldId="1596"/>
            <ac:spMk id="49" creationId="{E2F02783-47D3-EC79-4CD1-C6A29F403A1F}"/>
          </ac:spMkLst>
        </pc:spChg>
        <pc:spChg chg="add mod">
          <ac:chgData name="Cyprien DE CHAMBURE" userId="954ca6a6-7c37-422b-ae6a-3f5a5fea4ba3" providerId="ADAL" clId="{0FE39BE6-7419-4CDA-9D38-81AD3DE155D7}" dt="2023-11-07T14:28:10.950" v="339" actId="1036"/>
          <ac:spMkLst>
            <pc:docMk/>
            <pc:sldMk cId="1516553123" sldId="1596"/>
            <ac:spMk id="50" creationId="{DB45E271-C462-E6FD-1EDB-CBD2308327B1}"/>
          </ac:spMkLst>
        </pc:spChg>
        <pc:spChg chg="add mod">
          <ac:chgData name="Cyprien DE CHAMBURE" userId="954ca6a6-7c37-422b-ae6a-3f5a5fea4ba3" providerId="ADAL" clId="{0FE39BE6-7419-4CDA-9D38-81AD3DE155D7}" dt="2023-11-07T14:34:12.129" v="393" actId="1076"/>
          <ac:spMkLst>
            <pc:docMk/>
            <pc:sldMk cId="1516553123" sldId="1596"/>
            <ac:spMk id="51" creationId="{99F46DAB-931F-CCB5-E186-F279D37D8DA3}"/>
          </ac:spMkLst>
        </pc:spChg>
        <pc:spChg chg="add mod">
          <ac:chgData name="Cyprien DE CHAMBURE" userId="954ca6a6-7c37-422b-ae6a-3f5a5fea4ba3" providerId="ADAL" clId="{0FE39BE6-7419-4CDA-9D38-81AD3DE155D7}" dt="2023-11-07T14:34:26.620" v="398" actId="14100"/>
          <ac:spMkLst>
            <pc:docMk/>
            <pc:sldMk cId="1516553123" sldId="1596"/>
            <ac:spMk id="52" creationId="{6CE880C2-6A2A-9D1F-D333-0454BA8FDCC1}"/>
          </ac:spMkLst>
        </pc:spChg>
        <pc:spChg chg="add del mod">
          <ac:chgData name="Cyprien DE CHAMBURE" userId="954ca6a6-7c37-422b-ae6a-3f5a5fea4ba3" providerId="ADAL" clId="{0FE39BE6-7419-4CDA-9D38-81AD3DE155D7}" dt="2023-11-07T14:27:10.013" v="311" actId="478"/>
          <ac:spMkLst>
            <pc:docMk/>
            <pc:sldMk cId="1516553123" sldId="1596"/>
            <ac:spMk id="53" creationId="{1D4DBF3D-688A-71BB-DBC5-A1DA8D44665D}"/>
          </ac:spMkLst>
        </pc:spChg>
        <pc:spChg chg="add mod">
          <ac:chgData name="Cyprien DE CHAMBURE" userId="954ca6a6-7c37-422b-ae6a-3f5a5fea4ba3" providerId="ADAL" clId="{0FE39BE6-7419-4CDA-9D38-81AD3DE155D7}" dt="2023-11-07T14:32:50.007" v="379" actId="1035"/>
          <ac:spMkLst>
            <pc:docMk/>
            <pc:sldMk cId="1516553123" sldId="1596"/>
            <ac:spMk id="54" creationId="{900E3778-5478-B32C-62AB-BF19FBBCAEDF}"/>
          </ac:spMkLst>
        </pc:spChg>
        <pc:spChg chg="add mod">
          <ac:chgData name="Cyprien DE CHAMBURE" userId="954ca6a6-7c37-422b-ae6a-3f5a5fea4ba3" providerId="ADAL" clId="{0FE39BE6-7419-4CDA-9D38-81AD3DE155D7}" dt="2023-11-07T14:22:22.117" v="295" actId="20577"/>
          <ac:spMkLst>
            <pc:docMk/>
            <pc:sldMk cId="1516553123" sldId="1596"/>
            <ac:spMk id="55" creationId="{6AB4DC50-64D0-5989-074D-CEA0E84C9EE0}"/>
          </ac:spMkLst>
        </pc:spChg>
        <pc:spChg chg="add mod">
          <ac:chgData name="Cyprien DE CHAMBURE" userId="954ca6a6-7c37-422b-ae6a-3f5a5fea4ba3" providerId="ADAL" clId="{0FE39BE6-7419-4CDA-9D38-81AD3DE155D7}" dt="2023-11-07T14:28:10.950" v="339" actId="1036"/>
          <ac:spMkLst>
            <pc:docMk/>
            <pc:sldMk cId="1516553123" sldId="1596"/>
            <ac:spMk id="56" creationId="{8AB1E004-5FDE-5EC3-B56C-77897011B99D}"/>
          </ac:spMkLst>
        </pc:spChg>
        <pc:spChg chg="add del mod">
          <ac:chgData name="Cyprien DE CHAMBURE" userId="954ca6a6-7c37-422b-ae6a-3f5a5fea4ba3" providerId="ADAL" clId="{0FE39BE6-7419-4CDA-9D38-81AD3DE155D7}" dt="2023-11-07T14:22:37.224" v="297" actId="478"/>
          <ac:spMkLst>
            <pc:docMk/>
            <pc:sldMk cId="1516553123" sldId="1596"/>
            <ac:spMk id="57" creationId="{A7B82D2C-A2FD-5FB9-67B7-F5A9B6C2A101}"/>
          </ac:spMkLst>
        </pc:spChg>
        <pc:spChg chg="add mod">
          <ac:chgData name="Cyprien DE CHAMBURE" userId="954ca6a6-7c37-422b-ae6a-3f5a5fea4ba3" providerId="ADAL" clId="{0FE39BE6-7419-4CDA-9D38-81AD3DE155D7}" dt="2023-11-07T14:28:10.950" v="339" actId="1036"/>
          <ac:spMkLst>
            <pc:docMk/>
            <pc:sldMk cId="1516553123" sldId="1596"/>
            <ac:spMk id="58" creationId="{A26F717E-F1B5-3A1A-8C79-E5F3C1A61576}"/>
          </ac:spMkLst>
        </pc:spChg>
        <pc:spChg chg="add mod">
          <ac:chgData name="Cyprien DE CHAMBURE" userId="954ca6a6-7c37-422b-ae6a-3f5a5fea4ba3" providerId="ADAL" clId="{0FE39BE6-7419-4CDA-9D38-81AD3DE155D7}" dt="2023-11-07T14:34:22.116" v="397" actId="1035"/>
          <ac:spMkLst>
            <pc:docMk/>
            <pc:sldMk cId="1516553123" sldId="1596"/>
            <ac:spMk id="59" creationId="{73726DFD-8CA9-9945-3A36-5DA0E8D576A9}"/>
          </ac:spMkLst>
        </pc:spChg>
        <pc:spChg chg="add mod">
          <ac:chgData name="Cyprien DE CHAMBURE" userId="954ca6a6-7c37-422b-ae6a-3f5a5fea4ba3" providerId="ADAL" clId="{0FE39BE6-7419-4CDA-9D38-81AD3DE155D7}" dt="2023-11-07T14:22:02.291" v="260" actId="108"/>
          <ac:spMkLst>
            <pc:docMk/>
            <pc:sldMk cId="1516553123" sldId="1596"/>
            <ac:spMk id="60" creationId="{281CEB2A-F0A6-F39D-70DE-5367ABA18023}"/>
          </ac:spMkLst>
        </pc:spChg>
        <pc:spChg chg="add mod">
          <ac:chgData name="Cyprien DE CHAMBURE" userId="954ca6a6-7c37-422b-ae6a-3f5a5fea4ba3" providerId="ADAL" clId="{0FE39BE6-7419-4CDA-9D38-81AD3DE155D7}" dt="2023-11-07T14:33:55.305" v="391" actId="1035"/>
          <ac:spMkLst>
            <pc:docMk/>
            <pc:sldMk cId="1516553123" sldId="1596"/>
            <ac:spMk id="61" creationId="{84EA4BAA-5AF0-F68A-F246-D80716AD1980}"/>
          </ac:spMkLst>
        </pc:spChg>
        <pc:graphicFrameChg chg="del">
          <ac:chgData name="Cyprien DE CHAMBURE" userId="954ca6a6-7c37-422b-ae6a-3f5a5fea4ba3" providerId="ADAL" clId="{0FE39BE6-7419-4CDA-9D38-81AD3DE155D7}" dt="2023-11-07T14:18:50.323" v="58" actId="478"/>
          <ac:graphicFrameMkLst>
            <pc:docMk/>
            <pc:sldMk cId="1516553123" sldId="1596"/>
            <ac:graphicFrameMk id="3" creationId="{6DEEAA9F-3C68-6538-F0C4-F9A959F2959F}"/>
          </ac:graphicFrameMkLst>
        </pc:graphicFrameChg>
        <pc:graphicFrameChg chg="add mod modGraphic">
          <ac:chgData name="Cyprien DE CHAMBURE" userId="954ca6a6-7c37-422b-ae6a-3f5a5fea4ba3" providerId="ADAL" clId="{0FE39BE6-7419-4CDA-9D38-81AD3DE155D7}" dt="2023-11-07T14:28:22.839" v="342" actId="14100"/>
          <ac:graphicFrameMkLst>
            <pc:docMk/>
            <pc:sldMk cId="1516553123" sldId="1596"/>
            <ac:graphicFrameMk id="39" creationId="{A88E4F6C-F2EA-88A0-C2C6-967399865113}"/>
          </ac:graphicFrameMkLst>
        </pc:graphicFrameChg>
        <pc:picChg chg="del">
          <ac:chgData name="Cyprien DE CHAMBURE" userId="954ca6a6-7c37-422b-ae6a-3f5a5fea4ba3" providerId="ADAL" clId="{0FE39BE6-7419-4CDA-9D38-81AD3DE155D7}" dt="2023-11-07T14:18:50.323" v="58" actId="478"/>
          <ac:picMkLst>
            <pc:docMk/>
            <pc:sldMk cId="1516553123" sldId="1596"/>
            <ac:picMk id="26" creationId="{2F8A25D6-1238-2511-135D-EB25BEB52F35}"/>
          </ac:picMkLst>
        </pc:picChg>
        <pc:picChg chg="del">
          <ac:chgData name="Cyprien DE CHAMBURE" userId="954ca6a6-7c37-422b-ae6a-3f5a5fea4ba3" providerId="ADAL" clId="{0FE39BE6-7419-4CDA-9D38-81AD3DE155D7}" dt="2023-11-07T14:18:50.323" v="58" actId="478"/>
          <ac:picMkLst>
            <pc:docMk/>
            <pc:sldMk cId="1516553123" sldId="1596"/>
            <ac:picMk id="28" creationId="{C91C8F4B-0F46-A70A-CE11-02FDB47C310C}"/>
          </ac:picMkLst>
        </pc:picChg>
        <pc:cxnChg chg="del">
          <ac:chgData name="Cyprien DE CHAMBURE" userId="954ca6a6-7c37-422b-ae6a-3f5a5fea4ba3" providerId="ADAL" clId="{0FE39BE6-7419-4CDA-9D38-81AD3DE155D7}" dt="2023-11-07T14:18:50.323" v="58" actId="478"/>
          <ac:cxnSpMkLst>
            <pc:docMk/>
            <pc:sldMk cId="1516553123" sldId="1596"/>
            <ac:cxnSpMk id="14" creationId="{963302D7-227B-8298-6539-B5A0C9740D58}"/>
          </ac:cxnSpMkLst>
        </pc:cxnChg>
      </pc:sldChg>
      <pc:sldChg chg="addSp delSp modSp mod">
        <pc:chgData name="Cyprien DE CHAMBURE" userId="954ca6a6-7c37-422b-ae6a-3f5a5fea4ba3" providerId="ADAL" clId="{0FE39BE6-7419-4CDA-9D38-81AD3DE155D7}" dt="2023-11-20T13:23:50.897" v="3494" actId="20577"/>
        <pc:sldMkLst>
          <pc:docMk/>
          <pc:sldMk cId="3850143062" sldId="1600"/>
        </pc:sldMkLst>
        <pc:spChg chg="mod">
          <ac:chgData name="Cyprien DE CHAMBURE" userId="954ca6a6-7c37-422b-ae6a-3f5a5fea4ba3" providerId="ADAL" clId="{0FE39BE6-7419-4CDA-9D38-81AD3DE155D7}" dt="2023-11-20T13:23:50.897" v="3494" actId="20577"/>
          <ac:spMkLst>
            <pc:docMk/>
            <pc:sldMk cId="3850143062" sldId="1600"/>
            <ac:spMk id="3" creationId="{B9BB1FA4-1FEA-6587-C2ED-B8842BE46A30}"/>
          </ac:spMkLst>
        </pc:spChg>
        <pc:spChg chg="add del mod">
          <ac:chgData name="Cyprien DE CHAMBURE" userId="954ca6a6-7c37-422b-ae6a-3f5a5fea4ba3" providerId="ADAL" clId="{0FE39BE6-7419-4CDA-9D38-81AD3DE155D7}" dt="2023-11-20T13:23:37.230" v="3490" actId="478"/>
          <ac:spMkLst>
            <pc:docMk/>
            <pc:sldMk cId="3850143062" sldId="1600"/>
            <ac:spMk id="6" creationId="{79EA9555-AF88-303D-B7AB-2875674403D1}"/>
          </ac:spMkLst>
        </pc:spChg>
        <pc:spChg chg="mod">
          <ac:chgData name="Cyprien DE CHAMBURE" userId="954ca6a6-7c37-422b-ae6a-3f5a5fea4ba3" providerId="ADAL" clId="{0FE39BE6-7419-4CDA-9D38-81AD3DE155D7}" dt="2023-11-07T14:38:37.605" v="481" actId="20577"/>
          <ac:spMkLst>
            <pc:docMk/>
            <pc:sldMk cId="3850143062" sldId="1600"/>
            <ac:spMk id="15" creationId="{6ECE80BD-44BA-4FB4-B913-655627A2F712}"/>
          </ac:spMkLst>
        </pc:spChg>
        <pc:graphicFrameChg chg="add del mod">
          <ac:chgData name="Cyprien DE CHAMBURE" userId="954ca6a6-7c37-422b-ae6a-3f5a5fea4ba3" providerId="ADAL" clId="{0FE39BE6-7419-4CDA-9D38-81AD3DE155D7}" dt="2023-11-20T13:23:24.752" v="3484" actId="478"/>
          <ac:graphicFrameMkLst>
            <pc:docMk/>
            <pc:sldMk cId="3850143062" sldId="1600"/>
            <ac:graphicFrameMk id="4" creationId="{6E3C1A87-9B23-A4C8-0EF4-3D11BD257CEA}"/>
          </ac:graphicFrameMkLst>
        </pc:graphicFrameChg>
        <pc:graphicFrameChg chg="add mod">
          <ac:chgData name="Cyprien DE CHAMBURE" userId="954ca6a6-7c37-422b-ae6a-3f5a5fea4ba3" providerId="ADAL" clId="{0FE39BE6-7419-4CDA-9D38-81AD3DE155D7}" dt="2023-11-20T13:23:42.275" v="3492" actId="14100"/>
          <ac:graphicFrameMkLst>
            <pc:docMk/>
            <pc:sldMk cId="3850143062" sldId="1600"/>
            <ac:graphicFrameMk id="7" creationId="{6E3C1A87-9B23-A4C8-0EF4-3D11BD257CEA}"/>
          </ac:graphicFrameMkLst>
        </pc:graphicFrameChg>
        <pc:graphicFrameChg chg="del">
          <ac:chgData name="Cyprien DE CHAMBURE" userId="954ca6a6-7c37-422b-ae6a-3f5a5fea4ba3" providerId="ADAL" clId="{0FE39BE6-7419-4CDA-9D38-81AD3DE155D7}" dt="2023-11-07T14:38:42.789" v="482" actId="478"/>
          <ac:graphicFrameMkLst>
            <pc:docMk/>
            <pc:sldMk cId="3850143062" sldId="1600"/>
            <ac:graphicFrameMk id="9" creationId="{2B0E0158-1CE2-8C5D-BEC2-F8192C420D71}"/>
          </ac:graphicFrameMkLst>
        </pc:graphicFrameChg>
      </pc:sldChg>
      <pc:sldChg chg="modSp mod">
        <pc:chgData name="Cyprien DE CHAMBURE" userId="954ca6a6-7c37-422b-ae6a-3f5a5fea4ba3" providerId="ADAL" clId="{0FE39BE6-7419-4CDA-9D38-81AD3DE155D7}" dt="2023-11-07T16:48:10.159" v="3387" actId="20577"/>
        <pc:sldMkLst>
          <pc:docMk/>
          <pc:sldMk cId="3014444494" sldId="2147375635"/>
        </pc:sldMkLst>
        <pc:spChg chg="mod">
          <ac:chgData name="Cyprien DE CHAMBURE" userId="954ca6a6-7c37-422b-ae6a-3f5a5fea4ba3" providerId="ADAL" clId="{0FE39BE6-7419-4CDA-9D38-81AD3DE155D7}" dt="2023-11-07T16:37:14.273" v="2449" actId="403"/>
          <ac:spMkLst>
            <pc:docMk/>
            <pc:sldMk cId="3014444494" sldId="2147375635"/>
            <ac:spMk id="9" creationId="{72A220E7-074D-4BCA-A351-1D73F66E9BB4}"/>
          </ac:spMkLst>
        </pc:spChg>
        <pc:spChg chg="mod">
          <ac:chgData name="Cyprien DE CHAMBURE" userId="954ca6a6-7c37-422b-ae6a-3f5a5fea4ba3" providerId="ADAL" clId="{0FE39BE6-7419-4CDA-9D38-81AD3DE155D7}" dt="2023-11-07T16:47:39.926" v="3359"/>
          <ac:spMkLst>
            <pc:docMk/>
            <pc:sldMk cId="3014444494" sldId="2147375635"/>
            <ac:spMk id="10" creationId="{87E382DE-0E17-811C-F6B4-1A28D93259B4}"/>
          </ac:spMkLst>
        </pc:spChg>
        <pc:spChg chg="mod">
          <ac:chgData name="Cyprien DE CHAMBURE" userId="954ca6a6-7c37-422b-ae6a-3f5a5fea4ba3" providerId="ADAL" clId="{0FE39BE6-7419-4CDA-9D38-81AD3DE155D7}" dt="2023-11-07T16:48:10.159" v="3387" actId="20577"/>
          <ac:spMkLst>
            <pc:docMk/>
            <pc:sldMk cId="3014444494" sldId="2147375635"/>
            <ac:spMk id="11" creationId="{76B51E15-ADC6-3225-118E-49AB0A788F2D}"/>
          </ac:spMkLst>
        </pc:spChg>
      </pc:sldChg>
      <pc:sldChg chg="modSp mod delCm">
        <pc:chgData name="Cyprien DE CHAMBURE" userId="954ca6a6-7c37-422b-ae6a-3f5a5fea4ba3" providerId="ADAL" clId="{0FE39BE6-7419-4CDA-9D38-81AD3DE155D7}" dt="2023-11-07T16:47:57.394" v="3375" actId="20577"/>
        <pc:sldMkLst>
          <pc:docMk/>
          <pc:sldMk cId="1573039187" sldId="2147375641"/>
        </pc:sldMkLst>
        <pc:spChg chg="mod">
          <ac:chgData name="Cyprien DE CHAMBURE" userId="954ca6a6-7c37-422b-ae6a-3f5a5fea4ba3" providerId="ADAL" clId="{0FE39BE6-7419-4CDA-9D38-81AD3DE155D7}" dt="2023-11-07T16:44:53.518" v="3026" actId="20577"/>
          <ac:spMkLst>
            <pc:docMk/>
            <pc:sldMk cId="1573039187" sldId="2147375641"/>
            <ac:spMk id="3" creationId="{4834A104-0A42-4917-9BA4-7DC52DFE68F3}"/>
          </ac:spMkLst>
        </pc:spChg>
        <pc:spChg chg="mod">
          <ac:chgData name="Cyprien DE CHAMBURE" userId="954ca6a6-7c37-422b-ae6a-3f5a5fea4ba3" providerId="ADAL" clId="{0FE39BE6-7419-4CDA-9D38-81AD3DE155D7}" dt="2023-11-07T16:47:46.262" v="3361"/>
          <ac:spMkLst>
            <pc:docMk/>
            <pc:sldMk cId="1573039187" sldId="2147375641"/>
            <ac:spMk id="16" creationId="{6E431E24-797A-C29D-43D3-B4C7EAFD2A5C}"/>
          </ac:spMkLst>
        </pc:spChg>
        <pc:spChg chg="mod">
          <ac:chgData name="Cyprien DE CHAMBURE" userId="954ca6a6-7c37-422b-ae6a-3f5a5fea4ba3" providerId="ADAL" clId="{0FE39BE6-7419-4CDA-9D38-81AD3DE155D7}" dt="2023-11-07T16:47:57.394" v="3375" actId="20577"/>
          <ac:spMkLst>
            <pc:docMk/>
            <pc:sldMk cId="1573039187" sldId="2147375641"/>
            <ac:spMk id="17" creationId="{C1E22BAC-A342-EED5-3CFE-49AD29D900F9}"/>
          </ac:spMkLst>
        </pc:spChg>
        <pc:extLst>
          <p:ext xmlns:p="http://schemas.openxmlformats.org/presentationml/2006/main" uri="{D6D511B9-2390-475A-947B-AFAB55BFBCF1}">
            <pc226:cmChg xmlns:pc226="http://schemas.microsoft.com/office/powerpoint/2022/06/main/command" chg="del">
              <pc226:chgData name="Cyprien DE CHAMBURE" userId="954ca6a6-7c37-422b-ae6a-3f5a5fea4ba3" providerId="ADAL" clId="{0FE39BE6-7419-4CDA-9D38-81AD3DE155D7}" dt="2023-11-07T14:57:04.304" v="762"/>
              <pc2:cmMkLst xmlns:pc2="http://schemas.microsoft.com/office/powerpoint/2019/9/main/command">
                <pc:docMk/>
                <pc:sldMk cId="1573039187" sldId="2147375641"/>
                <pc2:cmMk id="{0923F0FF-A176-8447-5F99-D1A1E0A2AD79}"/>
              </pc2:cmMkLst>
            </pc226:cmChg>
          </p:ext>
        </pc:extLst>
      </pc:sldChg>
      <pc:sldChg chg="addSp delSp modSp mod delCm">
        <pc:chgData name="Cyprien DE CHAMBURE" userId="954ca6a6-7c37-422b-ae6a-3f5a5fea4ba3" providerId="ADAL" clId="{0FE39BE6-7419-4CDA-9D38-81AD3DE155D7}" dt="2023-11-20T13:27:21.054" v="3504" actId="478"/>
        <pc:sldMkLst>
          <pc:docMk/>
          <pc:sldMk cId="2478414682" sldId="2147375650"/>
        </pc:sldMkLst>
        <pc:spChg chg="add del mod">
          <ac:chgData name="Cyprien DE CHAMBURE" userId="954ca6a6-7c37-422b-ae6a-3f5a5fea4ba3" providerId="ADAL" clId="{0FE39BE6-7419-4CDA-9D38-81AD3DE155D7}" dt="2023-11-20T13:27:21.054" v="3504" actId="478"/>
          <ac:spMkLst>
            <pc:docMk/>
            <pc:sldMk cId="2478414682" sldId="2147375650"/>
            <ac:spMk id="3" creationId="{511CC405-3F18-C806-82C2-044F91E5A4BE}"/>
          </ac:spMkLst>
        </pc:spChg>
        <pc:picChg chg="del">
          <ac:chgData name="Cyprien DE CHAMBURE" userId="954ca6a6-7c37-422b-ae6a-3f5a5fea4ba3" providerId="ADAL" clId="{0FE39BE6-7419-4CDA-9D38-81AD3DE155D7}" dt="2023-11-20T13:27:03.080" v="3495" actId="478"/>
          <ac:picMkLst>
            <pc:docMk/>
            <pc:sldMk cId="2478414682" sldId="2147375650"/>
            <ac:picMk id="4" creationId="{2187F0A6-C264-4435-A0E8-E5329295BAE5}"/>
          </ac:picMkLst>
        </pc:picChg>
        <pc:picChg chg="add mod">
          <ac:chgData name="Cyprien DE CHAMBURE" userId="954ca6a6-7c37-422b-ae6a-3f5a5fea4ba3" providerId="ADAL" clId="{0FE39BE6-7419-4CDA-9D38-81AD3DE155D7}" dt="2023-11-20T13:27:19.454" v="3503" actId="1076"/>
          <ac:picMkLst>
            <pc:docMk/>
            <pc:sldMk cId="2478414682" sldId="2147375650"/>
            <ac:picMk id="7" creationId="{93AC5458-6C2C-3175-13CA-BA3EC8454901}"/>
          </ac:picMkLst>
        </pc:picChg>
        <pc:picChg chg="del">
          <ac:chgData name="Cyprien DE CHAMBURE" userId="954ca6a6-7c37-422b-ae6a-3f5a5fea4ba3" providerId="ADAL" clId="{0FE39BE6-7419-4CDA-9D38-81AD3DE155D7}" dt="2023-11-20T13:27:13.957" v="3500" actId="478"/>
          <ac:picMkLst>
            <pc:docMk/>
            <pc:sldMk cId="2478414682" sldId="2147375650"/>
            <ac:picMk id="8" creationId="{689AE352-7E6F-41D8-86EF-04FDB689CBFB}"/>
          </ac:picMkLst>
        </pc:picChg>
        <pc:extLst>
          <p:ext xmlns:p="http://schemas.openxmlformats.org/presentationml/2006/main" uri="{D6D511B9-2390-475A-947B-AFAB55BFBCF1}">
            <pc226:cmChg xmlns:pc226="http://schemas.microsoft.com/office/powerpoint/2022/06/main/command" chg="del">
              <pc226:chgData name="Cyprien DE CHAMBURE" userId="954ca6a6-7c37-422b-ae6a-3f5a5fea4ba3" providerId="ADAL" clId="{0FE39BE6-7419-4CDA-9D38-81AD3DE155D7}" dt="2023-11-07T14:39:08.188" v="483"/>
              <pc2:cmMkLst xmlns:pc2="http://schemas.microsoft.com/office/powerpoint/2019/9/main/command">
                <pc:docMk/>
                <pc:sldMk cId="2478414682" sldId="2147375650"/>
                <pc2:cmMk id="{E3ACCC07-565D-4532-ABCB-9EA8CE1617AA}"/>
              </pc2:cmMkLst>
            </pc226:cmChg>
          </p:ext>
        </pc:extLst>
      </pc:sldChg>
      <pc:sldChg chg="addSp delSp modSp mod delCm">
        <pc:chgData name="Cyprien DE CHAMBURE" userId="954ca6a6-7c37-422b-ae6a-3f5a5fea4ba3" providerId="ADAL" clId="{0FE39BE6-7419-4CDA-9D38-81AD3DE155D7}" dt="2023-11-20T13:30:27.504" v="3585" actId="1076"/>
        <pc:sldMkLst>
          <pc:docMk/>
          <pc:sldMk cId="1185557327" sldId="2147375651"/>
        </pc:sldMkLst>
        <pc:spChg chg="add del mod">
          <ac:chgData name="Cyprien DE CHAMBURE" userId="954ca6a6-7c37-422b-ae6a-3f5a5fea4ba3" providerId="ADAL" clId="{0FE39BE6-7419-4CDA-9D38-81AD3DE155D7}" dt="2023-11-20T13:29:38.759" v="3528" actId="478"/>
          <ac:spMkLst>
            <pc:docMk/>
            <pc:sldMk cId="1185557327" sldId="2147375651"/>
            <ac:spMk id="3" creationId="{386A96AA-7D82-F664-0143-CADAA8B74F42}"/>
          </ac:spMkLst>
        </pc:spChg>
        <pc:spChg chg="add mod">
          <ac:chgData name="Cyprien DE CHAMBURE" userId="954ca6a6-7c37-422b-ae6a-3f5a5fea4ba3" providerId="ADAL" clId="{0FE39BE6-7419-4CDA-9D38-81AD3DE155D7}" dt="2023-11-20T13:30:27.504" v="3585" actId="1076"/>
          <ac:spMkLst>
            <pc:docMk/>
            <pc:sldMk cId="1185557327" sldId="2147375651"/>
            <ac:spMk id="8" creationId="{FD17DB1F-B29F-E2BD-97FD-B97E68B61541}"/>
          </ac:spMkLst>
        </pc:spChg>
        <pc:picChg chg="add del">
          <ac:chgData name="Cyprien DE CHAMBURE" userId="954ca6a6-7c37-422b-ae6a-3f5a5fea4ba3" providerId="ADAL" clId="{0FE39BE6-7419-4CDA-9D38-81AD3DE155D7}" dt="2023-11-20T13:29:33.222" v="3522" actId="478"/>
          <ac:picMkLst>
            <pc:docMk/>
            <pc:sldMk cId="1185557327" sldId="2147375651"/>
            <ac:picMk id="6" creationId="{1A7FFBBE-EB5F-4419-B99F-12F9EC33157E}"/>
          </ac:picMkLst>
        </pc:picChg>
        <pc:picChg chg="add del mod modCrop">
          <ac:chgData name="Cyprien DE CHAMBURE" userId="954ca6a6-7c37-422b-ae6a-3f5a5fea4ba3" providerId="ADAL" clId="{0FE39BE6-7419-4CDA-9D38-81AD3DE155D7}" dt="2023-11-20T13:30:17.930" v="3584" actId="1076"/>
          <ac:picMkLst>
            <pc:docMk/>
            <pc:sldMk cId="1185557327" sldId="2147375651"/>
            <ac:picMk id="7" creationId="{377C5661-ABDC-ECA0-1DD2-A4C867658C2B}"/>
          </ac:picMkLst>
        </pc:picChg>
        <pc:extLst>
          <p:ext xmlns:p="http://schemas.openxmlformats.org/presentationml/2006/main" uri="{D6D511B9-2390-475A-947B-AFAB55BFBCF1}">
            <pc226:cmChg xmlns:pc226="http://schemas.microsoft.com/office/powerpoint/2022/06/main/command" chg="del">
              <pc226:chgData name="Cyprien DE CHAMBURE" userId="954ca6a6-7c37-422b-ae6a-3f5a5fea4ba3" providerId="ADAL" clId="{0FE39BE6-7419-4CDA-9D38-81AD3DE155D7}" dt="2023-11-07T14:39:23.639" v="484"/>
              <pc2:cmMkLst xmlns:pc2="http://schemas.microsoft.com/office/powerpoint/2019/9/main/command">
                <pc:docMk/>
                <pc:sldMk cId="1185557327" sldId="2147375651"/>
                <pc2:cmMk id="{454CC644-2CCD-4981-A0E9-E2FA74902BF8}"/>
              </pc2:cmMkLst>
            </pc226:cmChg>
          </p:ext>
        </pc:extLst>
      </pc:sldChg>
      <pc:sldChg chg="del">
        <pc:chgData name="Cyprien DE CHAMBURE" userId="954ca6a6-7c37-422b-ae6a-3f5a5fea4ba3" providerId="ADAL" clId="{0FE39BE6-7419-4CDA-9D38-81AD3DE155D7}" dt="2023-11-07T14:40:13.403" v="485" actId="47"/>
        <pc:sldMkLst>
          <pc:docMk/>
          <pc:sldMk cId="56885983" sldId="2147375652"/>
        </pc:sldMkLst>
      </pc:sldChg>
      <pc:sldChg chg="modSp add mod">
        <pc:chgData name="Cyprien DE CHAMBURE" userId="954ca6a6-7c37-422b-ae6a-3f5a5fea4ba3" providerId="ADAL" clId="{0FE39BE6-7419-4CDA-9D38-81AD3DE155D7}" dt="2023-11-07T16:48:16.952" v="3391" actId="20577"/>
        <pc:sldMkLst>
          <pc:docMk/>
          <pc:sldMk cId="616915527" sldId="2147375652"/>
        </pc:sldMkLst>
        <pc:spChg chg="mod">
          <ac:chgData name="Cyprien DE CHAMBURE" userId="954ca6a6-7c37-422b-ae6a-3f5a5fea4ba3" providerId="ADAL" clId="{0FE39BE6-7419-4CDA-9D38-81AD3DE155D7}" dt="2023-11-07T16:36:55.187" v="2446" actId="403"/>
          <ac:spMkLst>
            <pc:docMk/>
            <pc:sldMk cId="616915527" sldId="2147375652"/>
            <ac:spMk id="9" creationId="{72A220E7-074D-4BCA-A351-1D73F66E9BB4}"/>
          </ac:spMkLst>
        </pc:spChg>
        <pc:spChg chg="mod">
          <ac:chgData name="Cyprien DE CHAMBURE" userId="954ca6a6-7c37-422b-ae6a-3f5a5fea4ba3" providerId="ADAL" clId="{0FE39BE6-7419-4CDA-9D38-81AD3DE155D7}" dt="2023-11-07T16:47:42.485" v="3360"/>
          <ac:spMkLst>
            <pc:docMk/>
            <pc:sldMk cId="616915527" sldId="2147375652"/>
            <ac:spMk id="10" creationId="{87E382DE-0E17-811C-F6B4-1A28D93259B4}"/>
          </ac:spMkLst>
        </pc:spChg>
        <pc:spChg chg="mod">
          <ac:chgData name="Cyprien DE CHAMBURE" userId="954ca6a6-7c37-422b-ae6a-3f5a5fea4ba3" providerId="ADAL" clId="{0FE39BE6-7419-4CDA-9D38-81AD3DE155D7}" dt="2023-11-07T16:48:16.952" v="3391" actId="20577"/>
          <ac:spMkLst>
            <pc:docMk/>
            <pc:sldMk cId="616915527" sldId="2147375652"/>
            <ac:spMk id="11" creationId="{76B51E15-ADC6-3225-118E-49AB0A788F2D}"/>
          </ac:spMkLst>
        </pc:spChg>
      </pc:sldChg>
      <pc:sldChg chg="add">
        <pc:chgData name="Cyprien DE CHAMBURE" userId="954ca6a6-7c37-422b-ae6a-3f5a5fea4ba3" providerId="ADAL" clId="{0FE39BE6-7419-4CDA-9D38-81AD3DE155D7}" dt="2023-11-07T17:07:42.040" v="3406"/>
        <pc:sldMkLst>
          <pc:docMk/>
          <pc:sldMk cId="4220991389" sldId="2147375653"/>
        </pc:sldMkLst>
      </pc:sldChg>
      <pc:sldChg chg="delSp modSp add del mod">
        <pc:chgData name="Cyprien DE CHAMBURE" userId="954ca6a6-7c37-422b-ae6a-3f5a5fea4ba3" providerId="ADAL" clId="{0FE39BE6-7419-4CDA-9D38-81AD3DE155D7}" dt="2023-11-20T13:28:17.040" v="3509" actId="47"/>
        <pc:sldMkLst>
          <pc:docMk/>
          <pc:sldMk cId="3509266040" sldId="2147375654"/>
        </pc:sldMkLst>
        <pc:spChg chg="del">
          <ac:chgData name="Cyprien DE CHAMBURE" userId="954ca6a6-7c37-422b-ae6a-3f5a5fea4ba3" providerId="ADAL" clId="{0FE39BE6-7419-4CDA-9D38-81AD3DE155D7}" dt="2023-11-20T13:28:15.020" v="3508" actId="478"/>
          <ac:spMkLst>
            <pc:docMk/>
            <pc:sldMk cId="3509266040" sldId="2147375654"/>
            <ac:spMk id="3" creationId="{511CC405-3F18-C806-82C2-044F91E5A4BE}"/>
          </ac:spMkLst>
        </pc:spChg>
        <pc:picChg chg="del">
          <ac:chgData name="Cyprien DE CHAMBURE" userId="954ca6a6-7c37-422b-ae6a-3f5a5fea4ba3" providerId="ADAL" clId="{0FE39BE6-7419-4CDA-9D38-81AD3DE155D7}" dt="2023-11-20T13:27:42.596" v="3505" actId="478"/>
          <ac:picMkLst>
            <pc:docMk/>
            <pc:sldMk cId="3509266040" sldId="2147375654"/>
            <ac:picMk id="7" creationId="{93AC5458-6C2C-3175-13CA-BA3EC8454901}"/>
          </ac:picMkLst>
        </pc:picChg>
        <pc:picChg chg="del mod">
          <ac:chgData name="Cyprien DE CHAMBURE" userId="954ca6a6-7c37-422b-ae6a-3f5a5fea4ba3" providerId="ADAL" clId="{0FE39BE6-7419-4CDA-9D38-81AD3DE155D7}" dt="2023-11-20T13:28:13.168" v="3507" actId="478"/>
          <ac:picMkLst>
            <pc:docMk/>
            <pc:sldMk cId="3509266040" sldId="2147375654"/>
            <ac:picMk id="8" creationId="{689AE352-7E6F-41D8-86EF-04FDB689CBFB}"/>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5E5C887A-9579-428A-97CC-1B89700D2CBA}"/>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GB"/>
          </a:p>
        </p:txBody>
      </p:sp>
      <p:sp>
        <p:nvSpPr>
          <p:cNvPr id="3" name="Espace réservé de la date 2">
            <a:extLst>
              <a:ext uri="{FF2B5EF4-FFF2-40B4-BE49-F238E27FC236}">
                <a16:creationId xmlns:a16="http://schemas.microsoft.com/office/drawing/2014/main" id="{9FF6835E-7208-4A4F-B055-60ED986B79C2}"/>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76060024-F653-4C80-97A8-192D29827395}" type="datetimeFigureOut">
              <a:rPr lang="en-GB" smtClean="0"/>
              <a:t>23/04/2024</a:t>
            </a:fld>
            <a:endParaRPr lang="en-GB"/>
          </a:p>
        </p:txBody>
      </p:sp>
      <p:sp>
        <p:nvSpPr>
          <p:cNvPr id="4" name="Espace réservé du pied de page 3">
            <a:extLst>
              <a:ext uri="{FF2B5EF4-FFF2-40B4-BE49-F238E27FC236}">
                <a16:creationId xmlns:a16="http://schemas.microsoft.com/office/drawing/2014/main" id="{FD0A527A-5A1B-4A73-B3E4-B8DB8B9FD17E}"/>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GB"/>
          </a:p>
        </p:txBody>
      </p:sp>
      <p:sp>
        <p:nvSpPr>
          <p:cNvPr id="5" name="Espace réservé du numéro de diapositive 4">
            <a:extLst>
              <a:ext uri="{FF2B5EF4-FFF2-40B4-BE49-F238E27FC236}">
                <a16:creationId xmlns:a16="http://schemas.microsoft.com/office/drawing/2014/main" id="{6FE825AD-2778-4650-9246-1EE659636807}"/>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0D753E49-4A7C-41C7-98AF-CF2971B94495}" type="slidenum">
              <a:rPr lang="en-GB" smtClean="0"/>
              <a:t>‹#›</a:t>
            </a:fld>
            <a:endParaRPr lang="en-GB"/>
          </a:p>
        </p:txBody>
      </p:sp>
    </p:spTree>
    <p:extLst>
      <p:ext uri="{BB962C8B-B14F-4D97-AF65-F5344CB8AC3E}">
        <p14:creationId xmlns:p14="http://schemas.microsoft.com/office/powerpoint/2010/main" val="19148150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2945659" cy="496332"/>
          </a:xfrm>
          <a:prstGeom prst="rect">
            <a:avLst/>
          </a:prstGeom>
        </p:spPr>
        <p:txBody>
          <a:bodyPr vert="horz" lIns="91413" tIns="45706" rIns="91413" bIns="45706" rtlCol="0"/>
          <a:lstStyle>
            <a:lvl1pPr algn="l">
              <a:defRPr sz="1200"/>
            </a:lvl1pPr>
          </a:lstStyle>
          <a:p>
            <a:endParaRPr lang="fr-FR"/>
          </a:p>
        </p:txBody>
      </p:sp>
      <p:sp>
        <p:nvSpPr>
          <p:cNvPr id="3" name="Espace réservé de la date 2"/>
          <p:cNvSpPr>
            <a:spLocks noGrp="1"/>
          </p:cNvSpPr>
          <p:nvPr>
            <p:ph type="dt" idx="1"/>
          </p:nvPr>
        </p:nvSpPr>
        <p:spPr>
          <a:xfrm>
            <a:off x="3850443" y="1"/>
            <a:ext cx="2945659" cy="496332"/>
          </a:xfrm>
          <a:prstGeom prst="rect">
            <a:avLst/>
          </a:prstGeom>
        </p:spPr>
        <p:txBody>
          <a:bodyPr vert="horz" lIns="91413" tIns="45706" rIns="91413" bIns="45706" rtlCol="0"/>
          <a:lstStyle>
            <a:lvl1pPr algn="r">
              <a:defRPr sz="1200"/>
            </a:lvl1pPr>
          </a:lstStyle>
          <a:p>
            <a:fld id="{594F8A28-930A-4DAB-B848-AF8ADEC772C0}" type="datetimeFigureOut">
              <a:rPr lang="fr-FR" smtClean="0"/>
              <a:pPr/>
              <a:t>23/04/2024</a:t>
            </a:fld>
            <a:endParaRPr lang="fr-FR"/>
          </a:p>
        </p:txBody>
      </p:sp>
      <p:sp>
        <p:nvSpPr>
          <p:cNvPr id="4" name="Espace réservé de l'image des diapositives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13" tIns="45706" rIns="91413" bIns="45706" rtlCol="0" anchor="ctr"/>
          <a:lstStyle/>
          <a:p>
            <a:endParaRPr lang="fr-FR"/>
          </a:p>
        </p:txBody>
      </p:sp>
      <p:sp>
        <p:nvSpPr>
          <p:cNvPr id="5" name="Espace réservé des commentaires 4"/>
          <p:cNvSpPr>
            <a:spLocks noGrp="1"/>
          </p:cNvSpPr>
          <p:nvPr>
            <p:ph type="body" sz="quarter" idx="3"/>
          </p:nvPr>
        </p:nvSpPr>
        <p:spPr>
          <a:xfrm>
            <a:off x="679768" y="4715153"/>
            <a:ext cx="5438140" cy="4466987"/>
          </a:xfrm>
          <a:prstGeom prst="rect">
            <a:avLst/>
          </a:prstGeom>
        </p:spPr>
        <p:txBody>
          <a:bodyPr vert="horz" lIns="91413" tIns="45706" rIns="91413" bIns="45706"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8584"/>
            <a:ext cx="2945659" cy="496332"/>
          </a:xfrm>
          <a:prstGeom prst="rect">
            <a:avLst/>
          </a:prstGeom>
        </p:spPr>
        <p:txBody>
          <a:bodyPr vert="horz" lIns="91413" tIns="45706" rIns="91413" bIns="45706"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28584"/>
            <a:ext cx="2945659" cy="496332"/>
          </a:xfrm>
          <a:prstGeom prst="rect">
            <a:avLst/>
          </a:prstGeom>
        </p:spPr>
        <p:txBody>
          <a:bodyPr vert="horz" lIns="91413" tIns="45706" rIns="91413" bIns="45706" rtlCol="0" anchor="b"/>
          <a:lstStyle>
            <a:lvl1pPr algn="r">
              <a:defRPr sz="1200"/>
            </a:lvl1pPr>
          </a:lstStyle>
          <a:p>
            <a:fld id="{561334EA-784F-4FAA-A6AE-D362D0EA046E}" type="slidenum">
              <a:rPr lang="fr-FR" smtClean="0"/>
              <a:pPr/>
              <a:t>‹#›</a:t>
            </a:fld>
            <a:endParaRPr lang="fr-FR"/>
          </a:p>
        </p:txBody>
      </p:sp>
    </p:spTree>
    <p:extLst>
      <p:ext uri="{BB962C8B-B14F-4D97-AF65-F5344CB8AC3E}">
        <p14:creationId xmlns:p14="http://schemas.microsoft.com/office/powerpoint/2010/main" val="3756373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561334EA-784F-4FAA-A6AE-D362D0EA046E}" type="slidenum">
              <a:rPr lang="fr-FR" smtClean="0"/>
              <a:pPr/>
              <a:t>1</a:t>
            </a:fld>
            <a:endParaRPr lang="fr-FR"/>
          </a:p>
        </p:txBody>
      </p:sp>
    </p:spTree>
    <p:extLst>
      <p:ext uri="{BB962C8B-B14F-4D97-AF65-F5344CB8AC3E}">
        <p14:creationId xmlns:p14="http://schemas.microsoft.com/office/powerpoint/2010/main" val="14687881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98ADB4-33F3-42B3-E502-15E7A41FAA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542DF4-3DB7-062A-7E27-54D5AB5C34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727BA1-BC9E-268C-DD1A-53D6A9E6D6D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EBA2D25-06DE-C95C-6163-D119F5B9C17E}"/>
              </a:ext>
            </a:extLst>
          </p:cNvPr>
          <p:cNvSpPr>
            <a:spLocks noGrp="1"/>
          </p:cNvSpPr>
          <p:nvPr>
            <p:ph type="sldNum" sz="quarter" idx="5"/>
          </p:nvPr>
        </p:nvSpPr>
        <p:spPr/>
        <p:txBody>
          <a:bodyPr/>
          <a:lstStyle/>
          <a:p>
            <a:fld id="{561334EA-784F-4FAA-A6AE-D362D0EA046E}" type="slidenum">
              <a:rPr lang="fr-FR" smtClean="0"/>
              <a:pPr/>
              <a:t>14</a:t>
            </a:fld>
            <a:endParaRPr lang="fr-FR"/>
          </a:p>
        </p:txBody>
      </p:sp>
    </p:spTree>
    <p:extLst>
      <p:ext uri="{BB962C8B-B14F-4D97-AF65-F5344CB8AC3E}">
        <p14:creationId xmlns:p14="http://schemas.microsoft.com/office/powerpoint/2010/main" val="22478627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371C47-CED1-1C29-4220-D7BF1B363B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10C2C3-D15B-0407-6C92-20FF5F44B4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55BDB3-F0F8-C312-08C4-34847E375227}"/>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9C716F6B-12D9-D8B9-1466-F2BD2A7DA1DD}"/>
              </a:ext>
            </a:extLst>
          </p:cNvPr>
          <p:cNvSpPr>
            <a:spLocks noGrp="1"/>
          </p:cNvSpPr>
          <p:nvPr>
            <p:ph type="sldNum" sz="quarter" idx="5"/>
          </p:nvPr>
        </p:nvSpPr>
        <p:spPr/>
        <p:txBody>
          <a:bodyPr/>
          <a:lstStyle/>
          <a:p>
            <a:fld id="{561334EA-784F-4FAA-A6AE-D362D0EA046E}" type="slidenum">
              <a:rPr lang="fr-FR" smtClean="0"/>
              <a:pPr/>
              <a:t>15</a:t>
            </a:fld>
            <a:endParaRPr lang="fr-FR"/>
          </a:p>
        </p:txBody>
      </p:sp>
    </p:spTree>
    <p:extLst>
      <p:ext uri="{BB962C8B-B14F-4D97-AF65-F5344CB8AC3E}">
        <p14:creationId xmlns:p14="http://schemas.microsoft.com/office/powerpoint/2010/main" val="23336026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61334EA-784F-4FAA-A6AE-D362D0EA046E}" type="slidenum">
              <a:rPr lang="fr-FR" smtClean="0"/>
              <a:pPr/>
              <a:t>4</a:t>
            </a:fld>
            <a:endParaRPr lang="fr-FR"/>
          </a:p>
        </p:txBody>
      </p:sp>
    </p:spTree>
    <p:extLst>
      <p:ext uri="{BB962C8B-B14F-4D97-AF65-F5344CB8AC3E}">
        <p14:creationId xmlns:p14="http://schemas.microsoft.com/office/powerpoint/2010/main" val="11896233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561334EA-784F-4FAA-A6AE-D362D0EA046E}" type="slidenum">
              <a:rPr lang="fr-FR" smtClean="0"/>
              <a:pPr/>
              <a:t>5</a:t>
            </a:fld>
            <a:endParaRPr lang="fr-FR"/>
          </a:p>
        </p:txBody>
      </p:sp>
    </p:spTree>
    <p:extLst>
      <p:ext uri="{BB962C8B-B14F-4D97-AF65-F5344CB8AC3E}">
        <p14:creationId xmlns:p14="http://schemas.microsoft.com/office/powerpoint/2010/main" val="19253781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61334EA-784F-4FAA-A6AE-D362D0EA046E}" type="slidenum">
              <a:rPr lang="fr-FR" smtClean="0"/>
              <a:pPr/>
              <a:t>8</a:t>
            </a:fld>
            <a:endParaRPr lang="fr-FR"/>
          </a:p>
        </p:txBody>
      </p:sp>
    </p:spTree>
    <p:extLst>
      <p:ext uri="{BB962C8B-B14F-4D97-AF65-F5344CB8AC3E}">
        <p14:creationId xmlns:p14="http://schemas.microsoft.com/office/powerpoint/2010/main" val="15615644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61334EA-784F-4FAA-A6AE-D362D0EA046E}" type="slidenum">
              <a:rPr lang="fr-FR" smtClean="0"/>
              <a:pPr/>
              <a:t>9</a:t>
            </a:fld>
            <a:endParaRPr lang="fr-FR"/>
          </a:p>
        </p:txBody>
      </p:sp>
    </p:spTree>
    <p:extLst>
      <p:ext uri="{BB962C8B-B14F-4D97-AF65-F5344CB8AC3E}">
        <p14:creationId xmlns:p14="http://schemas.microsoft.com/office/powerpoint/2010/main" val="39901941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61334EA-784F-4FAA-A6AE-D362D0EA046E}" type="slidenum">
              <a:rPr lang="fr-FR" smtClean="0"/>
              <a:pPr/>
              <a:t>10</a:t>
            </a:fld>
            <a:endParaRPr lang="fr-FR"/>
          </a:p>
        </p:txBody>
      </p:sp>
    </p:spTree>
    <p:extLst>
      <p:ext uri="{BB962C8B-B14F-4D97-AF65-F5344CB8AC3E}">
        <p14:creationId xmlns:p14="http://schemas.microsoft.com/office/powerpoint/2010/main" val="22062203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83FB40-7F8C-01F4-2208-F10A34225C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37F63D-F7B6-FA31-F4E0-3D8FEA2488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B4B94F-F6C4-21E3-93BE-83C8FD0457E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359F47A1-95C2-2BE0-F531-0B23F1591A25}"/>
              </a:ext>
            </a:extLst>
          </p:cNvPr>
          <p:cNvSpPr>
            <a:spLocks noGrp="1"/>
          </p:cNvSpPr>
          <p:nvPr>
            <p:ph type="sldNum" sz="quarter" idx="5"/>
          </p:nvPr>
        </p:nvSpPr>
        <p:spPr/>
        <p:txBody>
          <a:bodyPr/>
          <a:lstStyle/>
          <a:p>
            <a:fld id="{561334EA-784F-4FAA-A6AE-D362D0EA046E}" type="slidenum">
              <a:rPr lang="fr-FR" smtClean="0"/>
              <a:pPr/>
              <a:t>11</a:t>
            </a:fld>
            <a:endParaRPr lang="fr-FR"/>
          </a:p>
        </p:txBody>
      </p:sp>
    </p:spTree>
    <p:extLst>
      <p:ext uri="{BB962C8B-B14F-4D97-AF65-F5344CB8AC3E}">
        <p14:creationId xmlns:p14="http://schemas.microsoft.com/office/powerpoint/2010/main" val="12645092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0849F5-D76E-2D71-FA12-42C973F7C8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91E57D-E34A-109F-812E-E9446EF822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2A3040-1974-3E84-ABD5-5EBD07C0A1BD}"/>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58154157-5B4D-5F4B-0A9D-8766766C21E8}"/>
              </a:ext>
            </a:extLst>
          </p:cNvPr>
          <p:cNvSpPr>
            <a:spLocks noGrp="1"/>
          </p:cNvSpPr>
          <p:nvPr>
            <p:ph type="sldNum" sz="quarter" idx="5"/>
          </p:nvPr>
        </p:nvSpPr>
        <p:spPr/>
        <p:txBody>
          <a:bodyPr/>
          <a:lstStyle/>
          <a:p>
            <a:fld id="{561334EA-784F-4FAA-A6AE-D362D0EA046E}" type="slidenum">
              <a:rPr lang="fr-FR" smtClean="0"/>
              <a:pPr/>
              <a:t>12</a:t>
            </a:fld>
            <a:endParaRPr lang="fr-FR"/>
          </a:p>
        </p:txBody>
      </p:sp>
    </p:spTree>
    <p:extLst>
      <p:ext uri="{BB962C8B-B14F-4D97-AF65-F5344CB8AC3E}">
        <p14:creationId xmlns:p14="http://schemas.microsoft.com/office/powerpoint/2010/main" val="25898521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61334EA-784F-4FAA-A6AE-D362D0EA046E}" type="slidenum">
              <a:rPr lang="fr-FR" smtClean="0"/>
              <a:pPr/>
              <a:t>13</a:t>
            </a:fld>
            <a:endParaRPr lang="fr-FR"/>
          </a:p>
        </p:txBody>
      </p:sp>
    </p:spTree>
    <p:extLst>
      <p:ext uri="{BB962C8B-B14F-4D97-AF65-F5344CB8AC3E}">
        <p14:creationId xmlns:p14="http://schemas.microsoft.com/office/powerpoint/2010/main" val="30183531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251520" y="1526927"/>
            <a:ext cx="3312368" cy="1470025"/>
          </a:xfrm>
        </p:spPr>
        <p:txBody>
          <a:bodyPr>
            <a:noAutofit/>
          </a:bodyPr>
          <a:lstStyle>
            <a:lvl1pPr>
              <a:defRPr sz="3200"/>
            </a:lvl1pPr>
          </a:lstStyle>
          <a:p>
            <a:r>
              <a:rPr lang="fr-FR" dirty="0"/>
              <a:t>Cliquez pour modifier le style du titre</a:t>
            </a:r>
          </a:p>
        </p:txBody>
      </p:sp>
      <p:sp>
        <p:nvSpPr>
          <p:cNvPr id="3" name="Sous-titre 2"/>
          <p:cNvSpPr>
            <a:spLocks noGrp="1"/>
          </p:cNvSpPr>
          <p:nvPr>
            <p:ph type="subTitle" idx="1"/>
          </p:nvPr>
        </p:nvSpPr>
        <p:spPr>
          <a:xfrm>
            <a:off x="251520" y="3284984"/>
            <a:ext cx="2736304" cy="1752600"/>
          </a:xfrm>
        </p:spPr>
        <p:txBody>
          <a:bodyPr>
            <a:normAutofit/>
          </a:bodyPr>
          <a:lstStyle>
            <a:lvl1pPr marL="0" indent="0" algn="ctr">
              <a:buNone/>
              <a:defRPr sz="2000" b="1">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modifier le style des sous-titres du masque</a:t>
            </a:r>
          </a:p>
        </p:txBody>
      </p:sp>
      <p:sp>
        <p:nvSpPr>
          <p:cNvPr id="7" name="Rectangle 6"/>
          <p:cNvSpPr/>
          <p:nvPr userDrawn="1"/>
        </p:nvSpPr>
        <p:spPr>
          <a:xfrm>
            <a:off x="0" y="0"/>
            <a:ext cx="9144000" cy="5486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p:cNvSpPr/>
          <p:nvPr userDrawn="1"/>
        </p:nvSpPr>
        <p:spPr>
          <a:xfrm>
            <a:off x="251520" y="836712"/>
            <a:ext cx="864096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6" name="Groupe 5"/>
          <p:cNvGrpSpPr/>
          <p:nvPr userDrawn="1"/>
        </p:nvGrpSpPr>
        <p:grpSpPr>
          <a:xfrm>
            <a:off x="3048000" y="990600"/>
            <a:ext cx="4976813" cy="5240426"/>
            <a:chOff x="3048000" y="990600"/>
            <a:chExt cx="4976813" cy="5240426"/>
          </a:xfrm>
        </p:grpSpPr>
        <p:sp>
          <p:nvSpPr>
            <p:cNvPr id="9" name="RS" descr="80%"/>
            <p:cNvSpPr>
              <a:spLocks noChangeAspect="1"/>
            </p:cNvSpPr>
            <p:nvPr/>
          </p:nvSpPr>
          <p:spPr bwMode="auto">
            <a:xfrm>
              <a:off x="6699250" y="4576763"/>
              <a:ext cx="520700" cy="654050"/>
            </a:xfrm>
            <a:custGeom>
              <a:avLst/>
              <a:gdLst>
                <a:gd name="T0" fmla="*/ 152 w 414"/>
                <a:gd name="T1" fmla="*/ 4 h 550"/>
                <a:gd name="T2" fmla="*/ 213 w 414"/>
                <a:gd name="T3" fmla="*/ 1 h 550"/>
                <a:gd name="T4" fmla="*/ 228 w 414"/>
                <a:gd name="T5" fmla="*/ 17 h 550"/>
                <a:gd name="T6" fmla="*/ 237 w 414"/>
                <a:gd name="T7" fmla="*/ 30 h 550"/>
                <a:gd name="T8" fmla="*/ 248 w 414"/>
                <a:gd name="T9" fmla="*/ 82 h 550"/>
                <a:gd name="T10" fmla="*/ 282 w 414"/>
                <a:gd name="T11" fmla="*/ 94 h 550"/>
                <a:gd name="T12" fmla="*/ 297 w 414"/>
                <a:gd name="T13" fmla="*/ 168 h 550"/>
                <a:gd name="T14" fmla="*/ 319 w 414"/>
                <a:gd name="T15" fmla="*/ 188 h 550"/>
                <a:gd name="T16" fmla="*/ 357 w 414"/>
                <a:gd name="T17" fmla="*/ 181 h 550"/>
                <a:gd name="T18" fmla="*/ 384 w 414"/>
                <a:gd name="T19" fmla="*/ 222 h 550"/>
                <a:gd name="T20" fmla="*/ 381 w 414"/>
                <a:gd name="T21" fmla="*/ 256 h 550"/>
                <a:gd name="T22" fmla="*/ 376 w 414"/>
                <a:gd name="T23" fmla="*/ 274 h 550"/>
                <a:gd name="T24" fmla="*/ 387 w 414"/>
                <a:gd name="T25" fmla="*/ 326 h 550"/>
                <a:gd name="T26" fmla="*/ 414 w 414"/>
                <a:gd name="T27" fmla="*/ 347 h 550"/>
                <a:gd name="T28" fmla="*/ 377 w 414"/>
                <a:gd name="T29" fmla="*/ 411 h 550"/>
                <a:gd name="T30" fmla="*/ 373 w 414"/>
                <a:gd name="T31" fmla="*/ 488 h 550"/>
                <a:gd name="T32" fmla="*/ 343 w 414"/>
                <a:gd name="T33" fmla="*/ 505 h 550"/>
                <a:gd name="T34" fmla="*/ 305 w 414"/>
                <a:gd name="T35" fmla="*/ 513 h 550"/>
                <a:gd name="T36" fmla="*/ 259 w 414"/>
                <a:gd name="T37" fmla="*/ 525 h 550"/>
                <a:gd name="T38" fmla="*/ 225 w 414"/>
                <a:gd name="T39" fmla="*/ 501 h 550"/>
                <a:gd name="T40" fmla="*/ 194 w 414"/>
                <a:gd name="T41" fmla="*/ 483 h 550"/>
                <a:gd name="T42" fmla="*/ 171 w 414"/>
                <a:gd name="T43" fmla="*/ 461 h 550"/>
                <a:gd name="T44" fmla="*/ 133 w 414"/>
                <a:gd name="T45" fmla="*/ 461 h 550"/>
                <a:gd name="T46" fmla="*/ 115 w 414"/>
                <a:gd name="T47" fmla="*/ 509 h 550"/>
                <a:gd name="T48" fmla="*/ 16 w 414"/>
                <a:gd name="T49" fmla="*/ 454 h 550"/>
                <a:gd name="T50" fmla="*/ 23 w 414"/>
                <a:gd name="T51" fmla="*/ 402 h 550"/>
                <a:gd name="T52" fmla="*/ 42 w 414"/>
                <a:gd name="T53" fmla="*/ 360 h 550"/>
                <a:gd name="T54" fmla="*/ 69 w 414"/>
                <a:gd name="T55" fmla="*/ 324 h 550"/>
                <a:gd name="T56" fmla="*/ 95 w 414"/>
                <a:gd name="T57" fmla="*/ 287 h 550"/>
                <a:gd name="T58" fmla="*/ 106 w 414"/>
                <a:gd name="T59" fmla="*/ 252 h 550"/>
                <a:gd name="T60" fmla="*/ 107 w 414"/>
                <a:gd name="T61" fmla="*/ 175 h 550"/>
                <a:gd name="T62" fmla="*/ 91 w 414"/>
                <a:gd name="T63" fmla="*/ 112 h 550"/>
                <a:gd name="T64" fmla="*/ 69 w 414"/>
                <a:gd name="T65" fmla="*/ 38 h 550"/>
                <a:gd name="connsiteX0" fmla="*/ 1667 w 10000"/>
                <a:gd name="connsiteY0" fmla="*/ 691 h 10000"/>
                <a:gd name="connsiteX1" fmla="*/ 3671 w 10000"/>
                <a:gd name="connsiteY1" fmla="*/ 73 h 10000"/>
                <a:gd name="connsiteX2" fmla="*/ 4589 w 10000"/>
                <a:gd name="connsiteY2" fmla="*/ 0 h 10000"/>
                <a:gd name="connsiteX3" fmla="*/ 5145 w 10000"/>
                <a:gd name="connsiteY3" fmla="*/ 18 h 10000"/>
                <a:gd name="connsiteX4" fmla="*/ 5338 w 10000"/>
                <a:gd name="connsiteY4" fmla="*/ 145 h 10000"/>
                <a:gd name="connsiteX5" fmla="*/ 5507 w 10000"/>
                <a:gd name="connsiteY5" fmla="*/ 309 h 10000"/>
                <a:gd name="connsiteX6" fmla="*/ 5531 w 10000"/>
                <a:gd name="connsiteY6" fmla="*/ 491 h 10000"/>
                <a:gd name="connsiteX7" fmla="*/ 5725 w 10000"/>
                <a:gd name="connsiteY7" fmla="*/ 545 h 10000"/>
                <a:gd name="connsiteX8" fmla="*/ 5966 w 10000"/>
                <a:gd name="connsiteY8" fmla="*/ 927 h 10000"/>
                <a:gd name="connsiteX9" fmla="*/ 5990 w 10000"/>
                <a:gd name="connsiteY9" fmla="*/ 1491 h 10000"/>
                <a:gd name="connsiteX10" fmla="*/ 6232 w 10000"/>
                <a:gd name="connsiteY10" fmla="*/ 1709 h 10000"/>
                <a:gd name="connsiteX11" fmla="*/ 6812 w 10000"/>
                <a:gd name="connsiteY11" fmla="*/ 1709 h 10000"/>
                <a:gd name="connsiteX12" fmla="*/ 7174 w 10000"/>
                <a:gd name="connsiteY12" fmla="*/ 2509 h 10000"/>
                <a:gd name="connsiteX13" fmla="*/ 7174 w 10000"/>
                <a:gd name="connsiteY13" fmla="*/ 3055 h 10000"/>
                <a:gd name="connsiteX14" fmla="*/ 7440 w 10000"/>
                <a:gd name="connsiteY14" fmla="*/ 3418 h 10000"/>
                <a:gd name="connsiteX15" fmla="*/ 7705 w 10000"/>
                <a:gd name="connsiteY15" fmla="*/ 3418 h 10000"/>
                <a:gd name="connsiteX16" fmla="*/ 8285 w 10000"/>
                <a:gd name="connsiteY16" fmla="*/ 3055 h 10000"/>
                <a:gd name="connsiteX17" fmla="*/ 8623 w 10000"/>
                <a:gd name="connsiteY17" fmla="*/ 3291 h 10000"/>
                <a:gd name="connsiteX18" fmla="*/ 8647 w 10000"/>
                <a:gd name="connsiteY18" fmla="*/ 3745 h 10000"/>
                <a:gd name="connsiteX19" fmla="*/ 9275 w 10000"/>
                <a:gd name="connsiteY19" fmla="*/ 4036 h 10000"/>
                <a:gd name="connsiteX20" fmla="*/ 9179 w 10000"/>
                <a:gd name="connsiteY20" fmla="*/ 4527 h 10000"/>
                <a:gd name="connsiteX21" fmla="*/ 9203 w 10000"/>
                <a:gd name="connsiteY21" fmla="*/ 4655 h 10000"/>
                <a:gd name="connsiteX22" fmla="*/ 9300 w 10000"/>
                <a:gd name="connsiteY22" fmla="*/ 4727 h 10000"/>
                <a:gd name="connsiteX23" fmla="*/ 9082 w 10000"/>
                <a:gd name="connsiteY23" fmla="*/ 4982 h 10000"/>
                <a:gd name="connsiteX24" fmla="*/ 9010 w 10000"/>
                <a:gd name="connsiteY24" fmla="*/ 5291 h 10000"/>
                <a:gd name="connsiteX25" fmla="*/ 9348 w 10000"/>
                <a:gd name="connsiteY25" fmla="*/ 5927 h 10000"/>
                <a:gd name="connsiteX26" fmla="*/ 9855 w 10000"/>
                <a:gd name="connsiteY26" fmla="*/ 6000 h 10000"/>
                <a:gd name="connsiteX27" fmla="*/ 10000 w 10000"/>
                <a:gd name="connsiteY27" fmla="*/ 6309 h 10000"/>
                <a:gd name="connsiteX28" fmla="*/ 9855 w 10000"/>
                <a:gd name="connsiteY28" fmla="*/ 6927 h 10000"/>
                <a:gd name="connsiteX29" fmla="*/ 9106 w 10000"/>
                <a:gd name="connsiteY29" fmla="*/ 7473 h 10000"/>
                <a:gd name="connsiteX30" fmla="*/ 9300 w 10000"/>
                <a:gd name="connsiteY30" fmla="*/ 8455 h 10000"/>
                <a:gd name="connsiteX31" fmla="*/ 9010 w 10000"/>
                <a:gd name="connsiteY31" fmla="*/ 8873 h 10000"/>
                <a:gd name="connsiteX32" fmla="*/ 9203 w 10000"/>
                <a:gd name="connsiteY32" fmla="*/ 9327 h 10000"/>
                <a:gd name="connsiteX33" fmla="*/ 8285 w 10000"/>
                <a:gd name="connsiteY33" fmla="*/ 9182 h 10000"/>
                <a:gd name="connsiteX34" fmla="*/ 7826 w 10000"/>
                <a:gd name="connsiteY34" fmla="*/ 9327 h 10000"/>
                <a:gd name="connsiteX35" fmla="*/ 7367 w 10000"/>
                <a:gd name="connsiteY35" fmla="*/ 9327 h 10000"/>
                <a:gd name="connsiteX36" fmla="*/ 6812 w 10000"/>
                <a:gd name="connsiteY36" fmla="*/ 9455 h 10000"/>
                <a:gd name="connsiteX37" fmla="*/ 6256 w 10000"/>
                <a:gd name="connsiteY37" fmla="*/ 9545 h 10000"/>
                <a:gd name="connsiteX38" fmla="*/ 5411 w 10000"/>
                <a:gd name="connsiteY38" fmla="*/ 10000 h 10000"/>
                <a:gd name="connsiteX39" fmla="*/ 5435 w 10000"/>
                <a:gd name="connsiteY39" fmla="*/ 9109 h 10000"/>
                <a:gd name="connsiteX40" fmla="*/ 5266 w 10000"/>
                <a:gd name="connsiteY40" fmla="*/ 8873 h 10000"/>
                <a:gd name="connsiteX41" fmla="*/ 4686 w 10000"/>
                <a:gd name="connsiteY41" fmla="*/ 8782 h 10000"/>
                <a:gd name="connsiteX42" fmla="*/ 4493 w 10000"/>
                <a:gd name="connsiteY42" fmla="*/ 8400 h 10000"/>
                <a:gd name="connsiteX43" fmla="*/ 4130 w 10000"/>
                <a:gd name="connsiteY43" fmla="*/ 8382 h 10000"/>
                <a:gd name="connsiteX44" fmla="*/ 3961 w 10000"/>
                <a:gd name="connsiteY44" fmla="*/ 8473 h 10000"/>
                <a:gd name="connsiteX45" fmla="*/ 3213 w 10000"/>
                <a:gd name="connsiteY45" fmla="*/ 8382 h 10000"/>
                <a:gd name="connsiteX46" fmla="*/ 2923 w 10000"/>
                <a:gd name="connsiteY46" fmla="*/ 8564 h 10000"/>
                <a:gd name="connsiteX47" fmla="*/ 2778 w 10000"/>
                <a:gd name="connsiteY47" fmla="*/ 9255 h 10000"/>
                <a:gd name="connsiteX48" fmla="*/ 2464 w 10000"/>
                <a:gd name="connsiteY48" fmla="*/ 9800 h 10000"/>
                <a:gd name="connsiteX49" fmla="*/ 2000 w 10000"/>
                <a:gd name="connsiteY49" fmla="*/ 7090 h 10000"/>
                <a:gd name="connsiteX50" fmla="*/ 0 w 10000"/>
                <a:gd name="connsiteY50" fmla="*/ 7527 h 10000"/>
                <a:gd name="connsiteX51" fmla="*/ 556 w 10000"/>
                <a:gd name="connsiteY51" fmla="*/ 7309 h 10000"/>
                <a:gd name="connsiteX52" fmla="*/ 1014 w 10000"/>
                <a:gd name="connsiteY52" fmla="*/ 7127 h 10000"/>
                <a:gd name="connsiteX53" fmla="*/ 1014 w 10000"/>
                <a:gd name="connsiteY53" fmla="*/ 6545 h 10000"/>
                <a:gd name="connsiteX54" fmla="*/ 1473 w 10000"/>
                <a:gd name="connsiteY54" fmla="*/ 6309 h 10000"/>
                <a:gd name="connsiteX55" fmla="*/ 1667 w 10000"/>
                <a:gd name="connsiteY55" fmla="*/ 5891 h 10000"/>
                <a:gd name="connsiteX56" fmla="*/ 2198 w 10000"/>
                <a:gd name="connsiteY56" fmla="*/ 5618 h 10000"/>
                <a:gd name="connsiteX57" fmla="*/ 2295 w 10000"/>
                <a:gd name="connsiteY57" fmla="*/ 5218 h 10000"/>
                <a:gd name="connsiteX58" fmla="*/ 2222 w 10000"/>
                <a:gd name="connsiteY58" fmla="*/ 4800 h 10000"/>
                <a:gd name="connsiteX59" fmla="*/ 2560 w 10000"/>
                <a:gd name="connsiteY59" fmla="*/ 4582 h 10000"/>
                <a:gd name="connsiteX60" fmla="*/ 2101 w 10000"/>
                <a:gd name="connsiteY60" fmla="*/ 3982 h 10000"/>
                <a:gd name="connsiteX61" fmla="*/ 2585 w 10000"/>
                <a:gd name="connsiteY61" fmla="*/ 3182 h 10000"/>
                <a:gd name="connsiteX62" fmla="*/ 2053 w 10000"/>
                <a:gd name="connsiteY62" fmla="*/ 2636 h 10000"/>
                <a:gd name="connsiteX63" fmla="*/ 2198 w 10000"/>
                <a:gd name="connsiteY63" fmla="*/ 2036 h 10000"/>
                <a:gd name="connsiteX64" fmla="*/ 1667 w 10000"/>
                <a:gd name="connsiteY64" fmla="*/ 1491 h 10000"/>
                <a:gd name="connsiteX65" fmla="*/ 1667 w 10000"/>
                <a:gd name="connsiteY65" fmla="*/ 691 h 10000"/>
                <a:gd name="connsiteX0" fmla="*/ 1667 w 10000"/>
                <a:gd name="connsiteY0" fmla="*/ 691 h 10000"/>
                <a:gd name="connsiteX1" fmla="*/ 3671 w 10000"/>
                <a:gd name="connsiteY1" fmla="*/ 73 h 10000"/>
                <a:gd name="connsiteX2" fmla="*/ 4589 w 10000"/>
                <a:gd name="connsiteY2" fmla="*/ 0 h 10000"/>
                <a:gd name="connsiteX3" fmla="*/ 5145 w 10000"/>
                <a:gd name="connsiteY3" fmla="*/ 18 h 10000"/>
                <a:gd name="connsiteX4" fmla="*/ 5338 w 10000"/>
                <a:gd name="connsiteY4" fmla="*/ 145 h 10000"/>
                <a:gd name="connsiteX5" fmla="*/ 5507 w 10000"/>
                <a:gd name="connsiteY5" fmla="*/ 309 h 10000"/>
                <a:gd name="connsiteX6" fmla="*/ 5531 w 10000"/>
                <a:gd name="connsiteY6" fmla="*/ 491 h 10000"/>
                <a:gd name="connsiteX7" fmla="*/ 5725 w 10000"/>
                <a:gd name="connsiteY7" fmla="*/ 545 h 10000"/>
                <a:gd name="connsiteX8" fmla="*/ 5966 w 10000"/>
                <a:gd name="connsiteY8" fmla="*/ 927 h 10000"/>
                <a:gd name="connsiteX9" fmla="*/ 5990 w 10000"/>
                <a:gd name="connsiteY9" fmla="*/ 1491 h 10000"/>
                <a:gd name="connsiteX10" fmla="*/ 6232 w 10000"/>
                <a:gd name="connsiteY10" fmla="*/ 1709 h 10000"/>
                <a:gd name="connsiteX11" fmla="*/ 6812 w 10000"/>
                <a:gd name="connsiteY11" fmla="*/ 1709 h 10000"/>
                <a:gd name="connsiteX12" fmla="*/ 7174 w 10000"/>
                <a:gd name="connsiteY12" fmla="*/ 2509 h 10000"/>
                <a:gd name="connsiteX13" fmla="*/ 7174 w 10000"/>
                <a:gd name="connsiteY13" fmla="*/ 3055 h 10000"/>
                <a:gd name="connsiteX14" fmla="*/ 7440 w 10000"/>
                <a:gd name="connsiteY14" fmla="*/ 3418 h 10000"/>
                <a:gd name="connsiteX15" fmla="*/ 7705 w 10000"/>
                <a:gd name="connsiteY15" fmla="*/ 3418 h 10000"/>
                <a:gd name="connsiteX16" fmla="*/ 8285 w 10000"/>
                <a:gd name="connsiteY16" fmla="*/ 3055 h 10000"/>
                <a:gd name="connsiteX17" fmla="*/ 8623 w 10000"/>
                <a:gd name="connsiteY17" fmla="*/ 3291 h 10000"/>
                <a:gd name="connsiteX18" fmla="*/ 8647 w 10000"/>
                <a:gd name="connsiteY18" fmla="*/ 3745 h 10000"/>
                <a:gd name="connsiteX19" fmla="*/ 9275 w 10000"/>
                <a:gd name="connsiteY19" fmla="*/ 4036 h 10000"/>
                <a:gd name="connsiteX20" fmla="*/ 9179 w 10000"/>
                <a:gd name="connsiteY20" fmla="*/ 4527 h 10000"/>
                <a:gd name="connsiteX21" fmla="*/ 9203 w 10000"/>
                <a:gd name="connsiteY21" fmla="*/ 4655 h 10000"/>
                <a:gd name="connsiteX22" fmla="*/ 9300 w 10000"/>
                <a:gd name="connsiteY22" fmla="*/ 4727 h 10000"/>
                <a:gd name="connsiteX23" fmla="*/ 9082 w 10000"/>
                <a:gd name="connsiteY23" fmla="*/ 4982 h 10000"/>
                <a:gd name="connsiteX24" fmla="*/ 9010 w 10000"/>
                <a:gd name="connsiteY24" fmla="*/ 5291 h 10000"/>
                <a:gd name="connsiteX25" fmla="*/ 9348 w 10000"/>
                <a:gd name="connsiteY25" fmla="*/ 5927 h 10000"/>
                <a:gd name="connsiteX26" fmla="*/ 9855 w 10000"/>
                <a:gd name="connsiteY26" fmla="*/ 6000 h 10000"/>
                <a:gd name="connsiteX27" fmla="*/ 10000 w 10000"/>
                <a:gd name="connsiteY27" fmla="*/ 6309 h 10000"/>
                <a:gd name="connsiteX28" fmla="*/ 9855 w 10000"/>
                <a:gd name="connsiteY28" fmla="*/ 6927 h 10000"/>
                <a:gd name="connsiteX29" fmla="*/ 9106 w 10000"/>
                <a:gd name="connsiteY29" fmla="*/ 7473 h 10000"/>
                <a:gd name="connsiteX30" fmla="*/ 9300 w 10000"/>
                <a:gd name="connsiteY30" fmla="*/ 8455 h 10000"/>
                <a:gd name="connsiteX31" fmla="*/ 9010 w 10000"/>
                <a:gd name="connsiteY31" fmla="*/ 8873 h 10000"/>
                <a:gd name="connsiteX32" fmla="*/ 9203 w 10000"/>
                <a:gd name="connsiteY32" fmla="*/ 9327 h 10000"/>
                <a:gd name="connsiteX33" fmla="*/ 8285 w 10000"/>
                <a:gd name="connsiteY33" fmla="*/ 9182 h 10000"/>
                <a:gd name="connsiteX34" fmla="*/ 7826 w 10000"/>
                <a:gd name="connsiteY34" fmla="*/ 9327 h 10000"/>
                <a:gd name="connsiteX35" fmla="*/ 7367 w 10000"/>
                <a:gd name="connsiteY35" fmla="*/ 9327 h 10000"/>
                <a:gd name="connsiteX36" fmla="*/ 6812 w 10000"/>
                <a:gd name="connsiteY36" fmla="*/ 9455 h 10000"/>
                <a:gd name="connsiteX37" fmla="*/ 6256 w 10000"/>
                <a:gd name="connsiteY37" fmla="*/ 9545 h 10000"/>
                <a:gd name="connsiteX38" fmla="*/ 5411 w 10000"/>
                <a:gd name="connsiteY38" fmla="*/ 10000 h 10000"/>
                <a:gd name="connsiteX39" fmla="*/ 5435 w 10000"/>
                <a:gd name="connsiteY39" fmla="*/ 9109 h 10000"/>
                <a:gd name="connsiteX40" fmla="*/ 5266 w 10000"/>
                <a:gd name="connsiteY40" fmla="*/ 8873 h 10000"/>
                <a:gd name="connsiteX41" fmla="*/ 4686 w 10000"/>
                <a:gd name="connsiteY41" fmla="*/ 8782 h 10000"/>
                <a:gd name="connsiteX42" fmla="*/ 4493 w 10000"/>
                <a:gd name="connsiteY42" fmla="*/ 8400 h 10000"/>
                <a:gd name="connsiteX43" fmla="*/ 4130 w 10000"/>
                <a:gd name="connsiteY43" fmla="*/ 8382 h 10000"/>
                <a:gd name="connsiteX44" fmla="*/ 3961 w 10000"/>
                <a:gd name="connsiteY44" fmla="*/ 8473 h 10000"/>
                <a:gd name="connsiteX45" fmla="*/ 3213 w 10000"/>
                <a:gd name="connsiteY45" fmla="*/ 8382 h 10000"/>
                <a:gd name="connsiteX46" fmla="*/ 2923 w 10000"/>
                <a:gd name="connsiteY46" fmla="*/ 8564 h 10000"/>
                <a:gd name="connsiteX47" fmla="*/ 3406 w 10000"/>
                <a:gd name="connsiteY47" fmla="*/ 8173 h 10000"/>
                <a:gd name="connsiteX48" fmla="*/ 2464 w 10000"/>
                <a:gd name="connsiteY48" fmla="*/ 9800 h 10000"/>
                <a:gd name="connsiteX49" fmla="*/ 2000 w 10000"/>
                <a:gd name="connsiteY49" fmla="*/ 7090 h 10000"/>
                <a:gd name="connsiteX50" fmla="*/ 0 w 10000"/>
                <a:gd name="connsiteY50" fmla="*/ 7527 h 10000"/>
                <a:gd name="connsiteX51" fmla="*/ 556 w 10000"/>
                <a:gd name="connsiteY51" fmla="*/ 7309 h 10000"/>
                <a:gd name="connsiteX52" fmla="*/ 1014 w 10000"/>
                <a:gd name="connsiteY52" fmla="*/ 7127 h 10000"/>
                <a:gd name="connsiteX53" fmla="*/ 1014 w 10000"/>
                <a:gd name="connsiteY53" fmla="*/ 6545 h 10000"/>
                <a:gd name="connsiteX54" fmla="*/ 1473 w 10000"/>
                <a:gd name="connsiteY54" fmla="*/ 6309 h 10000"/>
                <a:gd name="connsiteX55" fmla="*/ 1667 w 10000"/>
                <a:gd name="connsiteY55" fmla="*/ 5891 h 10000"/>
                <a:gd name="connsiteX56" fmla="*/ 2198 w 10000"/>
                <a:gd name="connsiteY56" fmla="*/ 5618 h 10000"/>
                <a:gd name="connsiteX57" fmla="*/ 2295 w 10000"/>
                <a:gd name="connsiteY57" fmla="*/ 5218 h 10000"/>
                <a:gd name="connsiteX58" fmla="*/ 2222 w 10000"/>
                <a:gd name="connsiteY58" fmla="*/ 4800 h 10000"/>
                <a:gd name="connsiteX59" fmla="*/ 2560 w 10000"/>
                <a:gd name="connsiteY59" fmla="*/ 4582 h 10000"/>
                <a:gd name="connsiteX60" fmla="*/ 2101 w 10000"/>
                <a:gd name="connsiteY60" fmla="*/ 3982 h 10000"/>
                <a:gd name="connsiteX61" fmla="*/ 2585 w 10000"/>
                <a:gd name="connsiteY61" fmla="*/ 3182 h 10000"/>
                <a:gd name="connsiteX62" fmla="*/ 2053 w 10000"/>
                <a:gd name="connsiteY62" fmla="*/ 2636 h 10000"/>
                <a:gd name="connsiteX63" fmla="*/ 2198 w 10000"/>
                <a:gd name="connsiteY63" fmla="*/ 2036 h 10000"/>
                <a:gd name="connsiteX64" fmla="*/ 1667 w 10000"/>
                <a:gd name="connsiteY64" fmla="*/ 1491 h 10000"/>
                <a:gd name="connsiteX65" fmla="*/ 1667 w 10000"/>
                <a:gd name="connsiteY65" fmla="*/ 691 h 10000"/>
                <a:gd name="connsiteX0" fmla="*/ 1667 w 10000"/>
                <a:gd name="connsiteY0" fmla="*/ 691 h 10000"/>
                <a:gd name="connsiteX1" fmla="*/ 3671 w 10000"/>
                <a:gd name="connsiteY1" fmla="*/ 73 h 10000"/>
                <a:gd name="connsiteX2" fmla="*/ 4589 w 10000"/>
                <a:gd name="connsiteY2" fmla="*/ 0 h 10000"/>
                <a:gd name="connsiteX3" fmla="*/ 5145 w 10000"/>
                <a:gd name="connsiteY3" fmla="*/ 18 h 10000"/>
                <a:gd name="connsiteX4" fmla="*/ 5338 w 10000"/>
                <a:gd name="connsiteY4" fmla="*/ 145 h 10000"/>
                <a:gd name="connsiteX5" fmla="*/ 5507 w 10000"/>
                <a:gd name="connsiteY5" fmla="*/ 309 h 10000"/>
                <a:gd name="connsiteX6" fmla="*/ 5531 w 10000"/>
                <a:gd name="connsiteY6" fmla="*/ 491 h 10000"/>
                <a:gd name="connsiteX7" fmla="*/ 5725 w 10000"/>
                <a:gd name="connsiteY7" fmla="*/ 545 h 10000"/>
                <a:gd name="connsiteX8" fmla="*/ 5966 w 10000"/>
                <a:gd name="connsiteY8" fmla="*/ 927 h 10000"/>
                <a:gd name="connsiteX9" fmla="*/ 5990 w 10000"/>
                <a:gd name="connsiteY9" fmla="*/ 1491 h 10000"/>
                <a:gd name="connsiteX10" fmla="*/ 6232 w 10000"/>
                <a:gd name="connsiteY10" fmla="*/ 1709 h 10000"/>
                <a:gd name="connsiteX11" fmla="*/ 6812 w 10000"/>
                <a:gd name="connsiteY11" fmla="*/ 1709 h 10000"/>
                <a:gd name="connsiteX12" fmla="*/ 7174 w 10000"/>
                <a:gd name="connsiteY12" fmla="*/ 2509 h 10000"/>
                <a:gd name="connsiteX13" fmla="*/ 7174 w 10000"/>
                <a:gd name="connsiteY13" fmla="*/ 3055 h 10000"/>
                <a:gd name="connsiteX14" fmla="*/ 7440 w 10000"/>
                <a:gd name="connsiteY14" fmla="*/ 3418 h 10000"/>
                <a:gd name="connsiteX15" fmla="*/ 7705 w 10000"/>
                <a:gd name="connsiteY15" fmla="*/ 3418 h 10000"/>
                <a:gd name="connsiteX16" fmla="*/ 8285 w 10000"/>
                <a:gd name="connsiteY16" fmla="*/ 3055 h 10000"/>
                <a:gd name="connsiteX17" fmla="*/ 8623 w 10000"/>
                <a:gd name="connsiteY17" fmla="*/ 3291 h 10000"/>
                <a:gd name="connsiteX18" fmla="*/ 8647 w 10000"/>
                <a:gd name="connsiteY18" fmla="*/ 3745 h 10000"/>
                <a:gd name="connsiteX19" fmla="*/ 9275 w 10000"/>
                <a:gd name="connsiteY19" fmla="*/ 4036 h 10000"/>
                <a:gd name="connsiteX20" fmla="*/ 9179 w 10000"/>
                <a:gd name="connsiteY20" fmla="*/ 4527 h 10000"/>
                <a:gd name="connsiteX21" fmla="*/ 9203 w 10000"/>
                <a:gd name="connsiteY21" fmla="*/ 4655 h 10000"/>
                <a:gd name="connsiteX22" fmla="*/ 9300 w 10000"/>
                <a:gd name="connsiteY22" fmla="*/ 4727 h 10000"/>
                <a:gd name="connsiteX23" fmla="*/ 9082 w 10000"/>
                <a:gd name="connsiteY23" fmla="*/ 4982 h 10000"/>
                <a:gd name="connsiteX24" fmla="*/ 9010 w 10000"/>
                <a:gd name="connsiteY24" fmla="*/ 5291 h 10000"/>
                <a:gd name="connsiteX25" fmla="*/ 9348 w 10000"/>
                <a:gd name="connsiteY25" fmla="*/ 5927 h 10000"/>
                <a:gd name="connsiteX26" fmla="*/ 9855 w 10000"/>
                <a:gd name="connsiteY26" fmla="*/ 6000 h 10000"/>
                <a:gd name="connsiteX27" fmla="*/ 10000 w 10000"/>
                <a:gd name="connsiteY27" fmla="*/ 6309 h 10000"/>
                <a:gd name="connsiteX28" fmla="*/ 9855 w 10000"/>
                <a:gd name="connsiteY28" fmla="*/ 6927 h 10000"/>
                <a:gd name="connsiteX29" fmla="*/ 9106 w 10000"/>
                <a:gd name="connsiteY29" fmla="*/ 7473 h 10000"/>
                <a:gd name="connsiteX30" fmla="*/ 9300 w 10000"/>
                <a:gd name="connsiteY30" fmla="*/ 8455 h 10000"/>
                <a:gd name="connsiteX31" fmla="*/ 9010 w 10000"/>
                <a:gd name="connsiteY31" fmla="*/ 8873 h 10000"/>
                <a:gd name="connsiteX32" fmla="*/ 9203 w 10000"/>
                <a:gd name="connsiteY32" fmla="*/ 9327 h 10000"/>
                <a:gd name="connsiteX33" fmla="*/ 8285 w 10000"/>
                <a:gd name="connsiteY33" fmla="*/ 9182 h 10000"/>
                <a:gd name="connsiteX34" fmla="*/ 7826 w 10000"/>
                <a:gd name="connsiteY34" fmla="*/ 9327 h 10000"/>
                <a:gd name="connsiteX35" fmla="*/ 7367 w 10000"/>
                <a:gd name="connsiteY35" fmla="*/ 9327 h 10000"/>
                <a:gd name="connsiteX36" fmla="*/ 6812 w 10000"/>
                <a:gd name="connsiteY36" fmla="*/ 9455 h 10000"/>
                <a:gd name="connsiteX37" fmla="*/ 6256 w 10000"/>
                <a:gd name="connsiteY37" fmla="*/ 9545 h 10000"/>
                <a:gd name="connsiteX38" fmla="*/ 5411 w 10000"/>
                <a:gd name="connsiteY38" fmla="*/ 10000 h 10000"/>
                <a:gd name="connsiteX39" fmla="*/ 5435 w 10000"/>
                <a:gd name="connsiteY39" fmla="*/ 9109 h 10000"/>
                <a:gd name="connsiteX40" fmla="*/ 5266 w 10000"/>
                <a:gd name="connsiteY40" fmla="*/ 8873 h 10000"/>
                <a:gd name="connsiteX41" fmla="*/ 4686 w 10000"/>
                <a:gd name="connsiteY41" fmla="*/ 8782 h 10000"/>
                <a:gd name="connsiteX42" fmla="*/ 4493 w 10000"/>
                <a:gd name="connsiteY42" fmla="*/ 8400 h 10000"/>
                <a:gd name="connsiteX43" fmla="*/ 4130 w 10000"/>
                <a:gd name="connsiteY43" fmla="*/ 8382 h 10000"/>
                <a:gd name="connsiteX44" fmla="*/ 3961 w 10000"/>
                <a:gd name="connsiteY44" fmla="*/ 8473 h 10000"/>
                <a:gd name="connsiteX45" fmla="*/ 3213 w 10000"/>
                <a:gd name="connsiteY45" fmla="*/ 8382 h 10000"/>
                <a:gd name="connsiteX46" fmla="*/ 2923 w 10000"/>
                <a:gd name="connsiteY46" fmla="*/ 8564 h 10000"/>
                <a:gd name="connsiteX47" fmla="*/ 3406 w 10000"/>
                <a:gd name="connsiteY47" fmla="*/ 8173 h 10000"/>
                <a:gd name="connsiteX48" fmla="*/ 3989 w 10000"/>
                <a:gd name="connsiteY48" fmla="*/ 7969 h 10000"/>
                <a:gd name="connsiteX49" fmla="*/ 2000 w 10000"/>
                <a:gd name="connsiteY49" fmla="*/ 7090 h 10000"/>
                <a:gd name="connsiteX50" fmla="*/ 0 w 10000"/>
                <a:gd name="connsiteY50" fmla="*/ 7527 h 10000"/>
                <a:gd name="connsiteX51" fmla="*/ 556 w 10000"/>
                <a:gd name="connsiteY51" fmla="*/ 7309 h 10000"/>
                <a:gd name="connsiteX52" fmla="*/ 1014 w 10000"/>
                <a:gd name="connsiteY52" fmla="*/ 7127 h 10000"/>
                <a:gd name="connsiteX53" fmla="*/ 1014 w 10000"/>
                <a:gd name="connsiteY53" fmla="*/ 6545 h 10000"/>
                <a:gd name="connsiteX54" fmla="*/ 1473 w 10000"/>
                <a:gd name="connsiteY54" fmla="*/ 6309 h 10000"/>
                <a:gd name="connsiteX55" fmla="*/ 1667 w 10000"/>
                <a:gd name="connsiteY55" fmla="*/ 5891 h 10000"/>
                <a:gd name="connsiteX56" fmla="*/ 2198 w 10000"/>
                <a:gd name="connsiteY56" fmla="*/ 5618 h 10000"/>
                <a:gd name="connsiteX57" fmla="*/ 2295 w 10000"/>
                <a:gd name="connsiteY57" fmla="*/ 5218 h 10000"/>
                <a:gd name="connsiteX58" fmla="*/ 2222 w 10000"/>
                <a:gd name="connsiteY58" fmla="*/ 4800 h 10000"/>
                <a:gd name="connsiteX59" fmla="*/ 2560 w 10000"/>
                <a:gd name="connsiteY59" fmla="*/ 4582 h 10000"/>
                <a:gd name="connsiteX60" fmla="*/ 2101 w 10000"/>
                <a:gd name="connsiteY60" fmla="*/ 3982 h 10000"/>
                <a:gd name="connsiteX61" fmla="*/ 2585 w 10000"/>
                <a:gd name="connsiteY61" fmla="*/ 3182 h 10000"/>
                <a:gd name="connsiteX62" fmla="*/ 2053 w 10000"/>
                <a:gd name="connsiteY62" fmla="*/ 2636 h 10000"/>
                <a:gd name="connsiteX63" fmla="*/ 2198 w 10000"/>
                <a:gd name="connsiteY63" fmla="*/ 2036 h 10000"/>
                <a:gd name="connsiteX64" fmla="*/ 1667 w 10000"/>
                <a:gd name="connsiteY64" fmla="*/ 1491 h 10000"/>
                <a:gd name="connsiteX65" fmla="*/ 1667 w 10000"/>
                <a:gd name="connsiteY65" fmla="*/ 691 h 10000"/>
                <a:gd name="connsiteX0" fmla="*/ 1111 w 9444"/>
                <a:gd name="connsiteY0" fmla="*/ 691 h 10000"/>
                <a:gd name="connsiteX1" fmla="*/ 3115 w 9444"/>
                <a:gd name="connsiteY1" fmla="*/ 73 h 10000"/>
                <a:gd name="connsiteX2" fmla="*/ 4033 w 9444"/>
                <a:gd name="connsiteY2" fmla="*/ 0 h 10000"/>
                <a:gd name="connsiteX3" fmla="*/ 4589 w 9444"/>
                <a:gd name="connsiteY3" fmla="*/ 18 h 10000"/>
                <a:gd name="connsiteX4" fmla="*/ 4782 w 9444"/>
                <a:gd name="connsiteY4" fmla="*/ 145 h 10000"/>
                <a:gd name="connsiteX5" fmla="*/ 4951 w 9444"/>
                <a:gd name="connsiteY5" fmla="*/ 309 h 10000"/>
                <a:gd name="connsiteX6" fmla="*/ 4975 w 9444"/>
                <a:gd name="connsiteY6" fmla="*/ 491 h 10000"/>
                <a:gd name="connsiteX7" fmla="*/ 5169 w 9444"/>
                <a:gd name="connsiteY7" fmla="*/ 545 h 10000"/>
                <a:gd name="connsiteX8" fmla="*/ 5410 w 9444"/>
                <a:gd name="connsiteY8" fmla="*/ 927 h 10000"/>
                <a:gd name="connsiteX9" fmla="*/ 5434 w 9444"/>
                <a:gd name="connsiteY9" fmla="*/ 1491 h 10000"/>
                <a:gd name="connsiteX10" fmla="*/ 5676 w 9444"/>
                <a:gd name="connsiteY10" fmla="*/ 1709 h 10000"/>
                <a:gd name="connsiteX11" fmla="*/ 6256 w 9444"/>
                <a:gd name="connsiteY11" fmla="*/ 1709 h 10000"/>
                <a:gd name="connsiteX12" fmla="*/ 6618 w 9444"/>
                <a:gd name="connsiteY12" fmla="*/ 2509 h 10000"/>
                <a:gd name="connsiteX13" fmla="*/ 6618 w 9444"/>
                <a:gd name="connsiteY13" fmla="*/ 3055 h 10000"/>
                <a:gd name="connsiteX14" fmla="*/ 6884 w 9444"/>
                <a:gd name="connsiteY14" fmla="*/ 3418 h 10000"/>
                <a:gd name="connsiteX15" fmla="*/ 7149 w 9444"/>
                <a:gd name="connsiteY15" fmla="*/ 3418 h 10000"/>
                <a:gd name="connsiteX16" fmla="*/ 7729 w 9444"/>
                <a:gd name="connsiteY16" fmla="*/ 3055 h 10000"/>
                <a:gd name="connsiteX17" fmla="*/ 8067 w 9444"/>
                <a:gd name="connsiteY17" fmla="*/ 3291 h 10000"/>
                <a:gd name="connsiteX18" fmla="*/ 8091 w 9444"/>
                <a:gd name="connsiteY18" fmla="*/ 3745 h 10000"/>
                <a:gd name="connsiteX19" fmla="*/ 8719 w 9444"/>
                <a:gd name="connsiteY19" fmla="*/ 4036 h 10000"/>
                <a:gd name="connsiteX20" fmla="*/ 8623 w 9444"/>
                <a:gd name="connsiteY20" fmla="*/ 4527 h 10000"/>
                <a:gd name="connsiteX21" fmla="*/ 8647 w 9444"/>
                <a:gd name="connsiteY21" fmla="*/ 4655 h 10000"/>
                <a:gd name="connsiteX22" fmla="*/ 8744 w 9444"/>
                <a:gd name="connsiteY22" fmla="*/ 4727 h 10000"/>
                <a:gd name="connsiteX23" fmla="*/ 8526 w 9444"/>
                <a:gd name="connsiteY23" fmla="*/ 4982 h 10000"/>
                <a:gd name="connsiteX24" fmla="*/ 8454 w 9444"/>
                <a:gd name="connsiteY24" fmla="*/ 5291 h 10000"/>
                <a:gd name="connsiteX25" fmla="*/ 8792 w 9444"/>
                <a:gd name="connsiteY25" fmla="*/ 5927 h 10000"/>
                <a:gd name="connsiteX26" fmla="*/ 9299 w 9444"/>
                <a:gd name="connsiteY26" fmla="*/ 6000 h 10000"/>
                <a:gd name="connsiteX27" fmla="*/ 9444 w 9444"/>
                <a:gd name="connsiteY27" fmla="*/ 6309 h 10000"/>
                <a:gd name="connsiteX28" fmla="*/ 9299 w 9444"/>
                <a:gd name="connsiteY28" fmla="*/ 6927 h 10000"/>
                <a:gd name="connsiteX29" fmla="*/ 8550 w 9444"/>
                <a:gd name="connsiteY29" fmla="*/ 7473 h 10000"/>
                <a:gd name="connsiteX30" fmla="*/ 8744 w 9444"/>
                <a:gd name="connsiteY30" fmla="*/ 8455 h 10000"/>
                <a:gd name="connsiteX31" fmla="*/ 8454 w 9444"/>
                <a:gd name="connsiteY31" fmla="*/ 8873 h 10000"/>
                <a:gd name="connsiteX32" fmla="*/ 8647 w 9444"/>
                <a:gd name="connsiteY32" fmla="*/ 9327 h 10000"/>
                <a:gd name="connsiteX33" fmla="*/ 7729 w 9444"/>
                <a:gd name="connsiteY33" fmla="*/ 9182 h 10000"/>
                <a:gd name="connsiteX34" fmla="*/ 7270 w 9444"/>
                <a:gd name="connsiteY34" fmla="*/ 9327 h 10000"/>
                <a:gd name="connsiteX35" fmla="*/ 6811 w 9444"/>
                <a:gd name="connsiteY35" fmla="*/ 9327 h 10000"/>
                <a:gd name="connsiteX36" fmla="*/ 6256 w 9444"/>
                <a:gd name="connsiteY36" fmla="*/ 9455 h 10000"/>
                <a:gd name="connsiteX37" fmla="*/ 5700 w 9444"/>
                <a:gd name="connsiteY37" fmla="*/ 9545 h 10000"/>
                <a:gd name="connsiteX38" fmla="*/ 4855 w 9444"/>
                <a:gd name="connsiteY38" fmla="*/ 10000 h 10000"/>
                <a:gd name="connsiteX39" fmla="*/ 4879 w 9444"/>
                <a:gd name="connsiteY39" fmla="*/ 9109 h 10000"/>
                <a:gd name="connsiteX40" fmla="*/ 4710 w 9444"/>
                <a:gd name="connsiteY40" fmla="*/ 8873 h 10000"/>
                <a:gd name="connsiteX41" fmla="*/ 4130 w 9444"/>
                <a:gd name="connsiteY41" fmla="*/ 8782 h 10000"/>
                <a:gd name="connsiteX42" fmla="*/ 3937 w 9444"/>
                <a:gd name="connsiteY42" fmla="*/ 8400 h 10000"/>
                <a:gd name="connsiteX43" fmla="*/ 3574 w 9444"/>
                <a:gd name="connsiteY43" fmla="*/ 8382 h 10000"/>
                <a:gd name="connsiteX44" fmla="*/ 3405 w 9444"/>
                <a:gd name="connsiteY44" fmla="*/ 8473 h 10000"/>
                <a:gd name="connsiteX45" fmla="*/ 2657 w 9444"/>
                <a:gd name="connsiteY45" fmla="*/ 8382 h 10000"/>
                <a:gd name="connsiteX46" fmla="*/ 2367 w 9444"/>
                <a:gd name="connsiteY46" fmla="*/ 8564 h 10000"/>
                <a:gd name="connsiteX47" fmla="*/ 2850 w 9444"/>
                <a:gd name="connsiteY47" fmla="*/ 8173 h 10000"/>
                <a:gd name="connsiteX48" fmla="*/ 3433 w 9444"/>
                <a:gd name="connsiteY48" fmla="*/ 7969 h 10000"/>
                <a:gd name="connsiteX49" fmla="*/ 1444 w 9444"/>
                <a:gd name="connsiteY49" fmla="*/ 7090 h 10000"/>
                <a:gd name="connsiteX50" fmla="*/ 1238 w 9444"/>
                <a:gd name="connsiteY50" fmla="*/ 6861 h 10000"/>
                <a:gd name="connsiteX51" fmla="*/ 0 w 9444"/>
                <a:gd name="connsiteY51" fmla="*/ 7309 h 10000"/>
                <a:gd name="connsiteX52" fmla="*/ 458 w 9444"/>
                <a:gd name="connsiteY52" fmla="*/ 7127 h 10000"/>
                <a:gd name="connsiteX53" fmla="*/ 458 w 9444"/>
                <a:gd name="connsiteY53" fmla="*/ 6545 h 10000"/>
                <a:gd name="connsiteX54" fmla="*/ 917 w 9444"/>
                <a:gd name="connsiteY54" fmla="*/ 6309 h 10000"/>
                <a:gd name="connsiteX55" fmla="*/ 1111 w 9444"/>
                <a:gd name="connsiteY55" fmla="*/ 5891 h 10000"/>
                <a:gd name="connsiteX56" fmla="*/ 1642 w 9444"/>
                <a:gd name="connsiteY56" fmla="*/ 5618 h 10000"/>
                <a:gd name="connsiteX57" fmla="*/ 1739 w 9444"/>
                <a:gd name="connsiteY57" fmla="*/ 5218 h 10000"/>
                <a:gd name="connsiteX58" fmla="*/ 1666 w 9444"/>
                <a:gd name="connsiteY58" fmla="*/ 4800 h 10000"/>
                <a:gd name="connsiteX59" fmla="*/ 2004 w 9444"/>
                <a:gd name="connsiteY59" fmla="*/ 4582 h 10000"/>
                <a:gd name="connsiteX60" fmla="*/ 1545 w 9444"/>
                <a:gd name="connsiteY60" fmla="*/ 3982 h 10000"/>
                <a:gd name="connsiteX61" fmla="*/ 2029 w 9444"/>
                <a:gd name="connsiteY61" fmla="*/ 3182 h 10000"/>
                <a:gd name="connsiteX62" fmla="*/ 1497 w 9444"/>
                <a:gd name="connsiteY62" fmla="*/ 2636 h 10000"/>
                <a:gd name="connsiteX63" fmla="*/ 1642 w 9444"/>
                <a:gd name="connsiteY63" fmla="*/ 2036 h 10000"/>
                <a:gd name="connsiteX64" fmla="*/ 1111 w 9444"/>
                <a:gd name="connsiteY64" fmla="*/ 1491 h 10000"/>
                <a:gd name="connsiteX65" fmla="*/ 1111 w 9444"/>
                <a:gd name="connsiteY65" fmla="*/ 691 h 10000"/>
                <a:gd name="connsiteX0" fmla="*/ 691 w 9515"/>
                <a:gd name="connsiteY0" fmla="*/ 691 h 10000"/>
                <a:gd name="connsiteX1" fmla="*/ 2813 w 9515"/>
                <a:gd name="connsiteY1" fmla="*/ 73 h 10000"/>
                <a:gd name="connsiteX2" fmla="*/ 3785 w 9515"/>
                <a:gd name="connsiteY2" fmla="*/ 0 h 10000"/>
                <a:gd name="connsiteX3" fmla="*/ 4374 w 9515"/>
                <a:gd name="connsiteY3" fmla="*/ 18 h 10000"/>
                <a:gd name="connsiteX4" fmla="*/ 4579 w 9515"/>
                <a:gd name="connsiteY4" fmla="*/ 145 h 10000"/>
                <a:gd name="connsiteX5" fmla="*/ 4757 w 9515"/>
                <a:gd name="connsiteY5" fmla="*/ 309 h 10000"/>
                <a:gd name="connsiteX6" fmla="*/ 4783 w 9515"/>
                <a:gd name="connsiteY6" fmla="*/ 491 h 10000"/>
                <a:gd name="connsiteX7" fmla="*/ 4988 w 9515"/>
                <a:gd name="connsiteY7" fmla="*/ 545 h 10000"/>
                <a:gd name="connsiteX8" fmla="*/ 5244 w 9515"/>
                <a:gd name="connsiteY8" fmla="*/ 927 h 10000"/>
                <a:gd name="connsiteX9" fmla="*/ 5269 w 9515"/>
                <a:gd name="connsiteY9" fmla="*/ 1491 h 10000"/>
                <a:gd name="connsiteX10" fmla="*/ 5525 w 9515"/>
                <a:gd name="connsiteY10" fmla="*/ 1709 h 10000"/>
                <a:gd name="connsiteX11" fmla="*/ 6139 w 9515"/>
                <a:gd name="connsiteY11" fmla="*/ 1709 h 10000"/>
                <a:gd name="connsiteX12" fmla="*/ 6523 w 9515"/>
                <a:gd name="connsiteY12" fmla="*/ 2509 h 10000"/>
                <a:gd name="connsiteX13" fmla="*/ 6523 w 9515"/>
                <a:gd name="connsiteY13" fmla="*/ 3055 h 10000"/>
                <a:gd name="connsiteX14" fmla="*/ 6804 w 9515"/>
                <a:gd name="connsiteY14" fmla="*/ 3418 h 10000"/>
                <a:gd name="connsiteX15" fmla="*/ 7085 w 9515"/>
                <a:gd name="connsiteY15" fmla="*/ 3418 h 10000"/>
                <a:gd name="connsiteX16" fmla="*/ 7699 w 9515"/>
                <a:gd name="connsiteY16" fmla="*/ 3055 h 10000"/>
                <a:gd name="connsiteX17" fmla="*/ 8057 w 9515"/>
                <a:gd name="connsiteY17" fmla="*/ 3291 h 10000"/>
                <a:gd name="connsiteX18" fmla="*/ 8082 w 9515"/>
                <a:gd name="connsiteY18" fmla="*/ 3745 h 10000"/>
                <a:gd name="connsiteX19" fmla="*/ 8747 w 9515"/>
                <a:gd name="connsiteY19" fmla="*/ 4036 h 10000"/>
                <a:gd name="connsiteX20" fmla="*/ 8646 w 9515"/>
                <a:gd name="connsiteY20" fmla="*/ 4527 h 10000"/>
                <a:gd name="connsiteX21" fmla="*/ 8671 w 9515"/>
                <a:gd name="connsiteY21" fmla="*/ 4655 h 10000"/>
                <a:gd name="connsiteX22" fmla="*/ 8774 w 9515"/>
                <a:gd name="connsiteY22" fmla="*/ 4727 h 10000"/>
                <a:gd name="connsiteX23" fmla="*/ 8543 w 9515"/>
                <a:gd name="connsiteY23" fmla="*/ 4982 h 10000"/>
                <a:gd name="connsiteX24" fmla="*/ 8467 w 9515"/>
                <a:gd name="connsiteY24" fmla="*/ 5291 h 10000"/>
                <a:gd name="connsiteX25" fmla="*/ 8825 w 9515"/>
                <a:gd name="connsiteY25" fmla="*/ 5927 h 10000"/>
                <a:gd name="connsiteX26" fmla="*/ 9361 w 9515"/>
                <a:gd name="connsiteY26" fmla="*/ 6000 h 10000"/>
                <a:gd name="connsiteX27" fmla="*/ 9515 w 9515"/>
                <a:gd name="connsiteY27" fmla="*/ 6309 h 10000"/>
                <a:gd name="connsiteX28" fmla="*/ 9361 w 9515"/>
                <a:gd name="connsiteY28" fmla="*/ 6927 h 10000"/>
                <a:gd name="connsiteX29" fmla="*/ 8568 w 9515"/>
                <a:gd name="connsiteY29" fmla="*/ 7473 h 10000"/>
                <a:gd name="connsiteX30" fmla="*/ 8774 w 9515"/>
                <a:gd name="connsiteY30" fmla="*/ 8455 h 10000"/>
                <a:gd name="connsiteX31" fmla="*/ 8467 w 9515"/>
                <a:gd name="connsiteY31" fmla="*/ 8873 h 10000"/>
                <a:gd name="connsiteX32" fmla="*/ 8671 w 9515"/>
                <a:gd name="connsiteY32" fmla="*/ 9327 h 10000"/>
                <a:gd name="connsiteX33" fmla="*/ 7699 w 9515"/>
                <a:gd name="connsiteY33" fmla="*/ 9182 h 10000"/>
                <a:gd name="connsiteX34" fmla="*/ 7213 w 9515"/>
                <a:gd name="connsiteY34" fmla="*/ 9327 h 10000"/>
                <a:gd name="connsiteX35" fmla="*/ 6727 w 9515"/>
                <a:gd name="connsiteY35" fmla="*/ 9327 h 10000"/>
                <a:gd name="connsiteX36" fmla="*/ 6139 w 9515"/>
                <a:gd name="connsiteY36" fmla="*/ 9455 h 10000"/>
                <a:gd name="connsiteX37" fmla="*/ 5551 w 9515"/>
                <a:gd name="connsiteY37" fmla="*/ 9545 h 10000"/>
                <a:gd name="connsiteX38" fmla="*/ 4656 w 9515"/>
                <a:gd name="connsiteY38" fmla="*/ 10000 h 10000"/>
                <a:gd name="connsiteX39" fmla="*/ 4681 w 9515"/>
                <a:gd name="connsiteY39" fmla="*/ 9109 h 10000"/>
                <a:gd name="connsiteX40" fmla="*/ 4502 w 9515"/>
                <a:gd name="connsiteY40" fmla="*/ 8873 h 10000"/>
                <a:gd name="connsiteX41" fmla="*/ 3888 w 9515"/>
                <a:gd name="connsiteY41" fmla="*/ 8782 h 10000"/>
                <a:gd name="connsiteX42" fmla="*/ 3684 w 9515"/>
                <a:gd name="connsiteY42" fmla="*/ 8400 h 10000"/>
                <a:gd name="connsiteX43" fmla="*/ 3299 w 9515"/>
                <a:gd name="connsiteY43" fmla="*/ 8382 h 10000"/>
                <a:gd name="connsiteX44" fmla="*/ 3120 w 9515"/>
                <a:gd name="connsiteY44" fmla="*/ 8473 h 10000"/>
                <a:gd name="connsiteX45" fmla="*/ 2328 w 9515"/>
                <a:gd name="connsiteY45" fmla="*/ 8382 h 10000"/>
                <a:gd name="connsiteX46" fmla="*/ 2021 w 9515"/>
                <a:gd name="connsiteY46" fmla="*/ 8564 h 10000"/>
                <a:gd name="connsiteX47" fmla="*/ 2533 w 9515"/>
                <a:gd name="connsiteY47" fmla="*/ 8173 h 10000"/>
                <a:gd name="connsiteX48" fmla="*/ 3150 w 9515"/>
                <a:gd name="connsiteY48" fmla="*/ 7969 h 10000"/>
                <a:gd name="connsiteX49" fmla="*/ 1044 w 9515"/>
                <a:gd name="connsiteY49" fmla="*/ 7090 h 10000"/>
                <a:gd name="connsiteX50" fmla="*/ 826 w 9515"/>
                <a:gd name="connsiteY50" fmla="*/ 6861 h 10000"/>
                <a:gd name="connsiteX51" fmla="*/ 1034 w 9515"/>
                <a:gd name="connsiteY51" fmla="*/ 6726 h 10000"/>
                <a:gd name="connsiteX52" fmla="*/ 0 w 9515"/>
                <a:gd name="connsiteY52" fmla="*/ 7127 h 10000"/>
                <a:gd name="connsiteX53" fmla="*/ 0 w 9515"/>
                <a:gd name="connsiteY53" fmla="*/ 6545 h 10000"/>
                <a:gd name="connsiteX54" fmla="*/ 486 w 9515"/>
                <a:gd name="connsiteY54" fmla="*/ 6309 h 10000"/>
                <a:gd name="connsiteX55" fmla="*/ 691 w 9515"/>
                <a:gd name="connsiteY55" fmla="*/ 5891 h 10000"/>
                <a:gd name="connsiteX56" fmla="*/ 1254 w 9515"/>
                <a:gd name="connsiteY56" fmla="*/ 5618 h 10000"/>
                <a:gd name="connsiteX57" fmla="*/ 1356 w 9515"/>
                <a:gd name="connsiteY57" fmla="*/ 5218 h 10000"/>
                <a:gd name="connsiteX58" fmla="*/ 1279 w 9515"/>
                <a:gd name="connsiteY58" fmla="*/ 4800 h 10000"/>
                <a:gd name="connsiteX59" fmla="*/ 1637 w 9515"/>
                <a:gd name="connsiteY59" fmla="*/ 4582 h 10000"/>
                <a:gd name="connsiteX60" fmla="*/ 1151 w 9515"/>
                <a:gd name="connsiteY60" fmla="*/ 3982 h 10000"/>
                <a:gd name="connsiteX61" fmla="*/ 1663 w 9515"/>
                <a:gd name="connsiteY61" fmla="*/ 3182 h 10000"/>
                <a:gd name="connsiteX62" fmla="*/ 1100 w 9515"/>
                <a:gd name="connsiteY62" fmla="*/ 2636 h 10000"/>
                <a:gd name="connsiteX63" fmla="*/ 1254 w 9515"/>
                <a:gd name="connsiteY63" fmla="*/ 2036 h 10000"/>
                <a:gd name="connsiteX64" fmla="*/ 691 w 9515"/>
                <a:gd name="connsiteY64" fmla="*/ 1491 h 10000"/>
                <a:gd name="connsiteX65" fmla="*/ 691 w 9515"/>
                <a:gd name="connsiteY65" fmla="*/ 691 h 10000"/>
                <a:gd name="connsiteX0" fmla="*/ 726 w 10000"/>
                <a:gd name="connsiteY0" fmla="*/ 691 h 10000"/>
                <a:gd name="connsiteX1" fmla="*/ 2956 w 10000"/>
                <a:gd name="connsiteY1" fmla="*/ 73 h 10000"/>
                <a:gd name="connsiteX2" fmla="*/ 3978 w 10000"/>
                <a:gd name="connsiteY2" fmla="*/ 0 h 10000"/>
                <a:gd name="connsiteX3" fmla="*/ 4597 w 10000"/>
                <a:gd name="connsiteY3" fmla="*/ 18 h 10000"/>
                <a:gd name="connsiteX4" fmla="*/ 4812 w 10000"/>
                <a:gd name="connsiteY4" fmla="*/ 145 h 10000"/>
                <a:gd name="connsiteX5" fmla="*/ 4999 w 10000"/>
                <a:gd name="connsiteY5" fmla="*/ 309 h 10000"/>
                <a:gd name="connsiteX6" fmla="*/ 5027 w 10000"/>
                <a:gd name="connsiteY6" fmla="*/ 491 h 10000"/>
                <a:gd name="connsiteX7" fmla="*/ 5242 w 10000"/>
                <a:gd name="connsiteY7" fmla="*/ 545 h 10000"/>
                <a:gd name="connsiteX8" fmla="*/ 5511 w 10000"/>
                <a:gd name="connsiteY8" fmla="*/ 927 h 10000"/>
                <a:gd name="connsiteX9" fmla="*/ 5538 w 10000"/>
                <a:gd name="connsiteY9" fmla="*/ 1491 h 10000"/>
                <a:gd name="connsiteX10" fmla="*/ 5807 w 10000"/>
                <a:gd name="connsiteY10" fmla="*/ 1709 h 10000"/>
                <a:gd name="connsiteX11" fmla="*/ 6452 w 10000"/>
                <a:gd name="connsiteY11" fmla="*/ 1709 h 10000"/>
                <a:gd name="connsiteX12" fmla="*/ 6855 w 10000"/>
                <a:gd name="connsiteY12" fmla="*/ 2509 h 10000"/>
                <a:gd name="connsiteX13" fmla="*/ 6855 w 10000"/>
                <a:gd name="connsiteY13" fmla="*/ 3055 h 10000"/>
                <a:gd name="connsiteX14" fmla="*/ 7151 w 10000"/>
                <a:gd name="connsiteY14" fmla="*/ 3418 h 10000"/>
                <a:gd name="connsiteX15" fmla="*/ 7446 w 10000"/>
                <a:gd name="connsiteY15" fmla="*/ 3418 h 10000"/>
                <a:gd name="connsiteX16" fmla="*/ 8091 w 10000"/>
                <a:gd name="connsiteY16" fmla="*/ 3055 h 10000"/>
                <a:gd name="connsiteX17" fmla="*/ 8468 w 10000"/>
                <a:gd name="connsiteY17" fmla="*/ 3291 h 10000"/>
                <a:gd name="connsiteX18" fmla="*/ 8494 w 10000"/>
                <a:gd name="connsiteY18" fmla="*/ 3745 h 10000"/>
                <a:gd name="connsiteX19" fmla="*/ 9193 w 10000"/>
                <a:gd name="connsiteY19" fmla="*/ 4036 h 10000"/>
                <a:gd name="connsiteX20" fmla="*/ 9087 w 10000"/>
                <a:gd name="connsiteY20" fmla="*/ 4527 h 10000"/>
                <a:gd name="connsiteX21" fmla="*/ 9113 w 10000"/>
                <a:gd name="connsiteY21" fmla="*/ 4655 h 10000"/>
                <a:gd name="connsiteX22" fmla="*/ 9221 w 10000"/>
                <a:gd name="connsiteY22" fmla="*/ 4727 h 10000"/>
                <a:gd name="connsiteX23" fmla="*/ 8978 w 10000"/>
                <a:gd name="connsiteY23" fmla="*/ 4982 h 10000"/>
                <a:gd name="connsiteX24" fmla="*/ 8899 w 10000"/>
                <a:gd name="connsiteY24" fmla="*/ 5291 h 10000"/>
                <a:gd name="connsiteX25" fmla="*/ 9275 w 10000"/>
                <a:gd name="connsiteY25" fmla="*/ 5927 h 10000"/>
                <a:gd name="connsiteX26" fmla="*/ 9838 w 10000"/>
                <a:gd name="connsiteY26" fmla="*/ 6000 h 10000"/>
                <a:gd name="connsiteX27" fmla="*/ 10000 w 10000"/>
                <a:gd name="connsiteY27" fmla="*/ 6309 h 10000"/>
                <a:gd name="connsiteX28" fmla="*/ 9838 w 10000"/>
                <a:gd name="connsiteY28" fmla="*/ 6927 h 10000"/>
                <a:gd name="connsiteX29" fmla="*/ 9005 w 10000"/>
                <a:gd name="connsiteY29" fmla="*/ 7473 h 10000"/>
                <a:gd name="connsiteX30" fmla="*/ 9221 w 10000"/>
                <a:gd name="connsiteY30" fmla="*/ 8455 h 10000"/>
                <a:gd name="connsiteX31" fmla="*/ 8899 w 10000"/>
                <a:gd name="connsiteY31" fmla="*/ 8873 h 10000"/>
                <a:gd name="connsiteX32" fmla="*/ 9113 w 10000"/>
                <a:gd name="connsiteY32" fmla="*/ 9327 h 10000"/>
                <a:gd name="connsiteX33" fmla="*/ 8091 w 10000"/>
                <a:gd name="connsiteY33" fmla="*/ 9182 h 10000"/>
                <a:gd name="connsiteX34" fmla="*/ 7581 w 10000"/>
                <a:gd name="connsiteY34" fmla="*/ 9327 h 10000"/>
                <a:gd name="connsiteX35" fmla="*/ 7070 w 10000"/>
                <a:gd name="connsiteY35" fmla="*/ 9327 h 10000"/>
                <a:gd name="connsiteX36" fmla="*/ 6452 w 10000"/>
                <a:gd name="connsiteY36" fmla="*/ 9455 h 10000"/>
                <a:gd name="connsiteX37" fmla="*/ 5834 w 10000"/>
                <a:gd name="connsiteY37" fmla="*/ 9545 h 10000"/>
                <a:gd name="connsiteX38" fmla="*/ 4893 w 10000"/>
                <a:gd name="connsiteY38" fmla="*/ 10000 h 10000"/>
                <a:gd name="connsiteX39" fmla="*/ 4920 w 10000"/>
                <a:gd name="connsiteY39" fmla="*/ 9109 h 10000"/>
                <a:gd name="connsiteX40" fmla="*/ 4731 w 10000"/>
                <a:gd name="connsiteY40" fmla="*/ 8873 h 10000"/>
                <a:gd name="connsiteX41" fmla="*/ 4086 w 10000"/>
                <a:gd name="connsiteY41" fmla="*/ 8782 h 10000"/>
                <a:gd name="connsiteX42" fmla="*/ 3872 w 10000"/>
                <a:gd name="connsiteY42" fmla="*/ 8400 h 10000"/>
                <a:gd name="connsiteX43" fmla="*/ 3467 w 10000"/>
                <a:gd name="connsiteY43" fmla="*/ 8382 h 10000"/>
                <a:gd name="connsiteX44" fmla="*/ 3279 w 10000"/>
                <a:gd name="connsiteY44" fmla="*/ 8473 h 10000"/>
                <a:gd name="connsiteX45" fmla="*/ 2447 w 10000"/>
                <a:gd name="connsiteY45" fmla="*/ 8382 h 10000"/>
                <a:gd name="connsiteX46" fmla="*/ 2124 w 10000"/>
                <a:gd name="connsiteY46" fmla="*/ 8564 h 10000"/>
                <a:gd name="connsiteX47" fmla="*/ 2662 w 10000"/>
                <a:gd name="connsiteY47" fmla="*/ 8173 h 10000"/>
                <a:gd name="connsiteX48" fmla="*/ 3311 w 10000"/>
                <a:gd name="connsiteY48" fmla="*/ 7969 h 10000"/>
                <a:gd name="connsiteX49" fmla="*/ 1097 w 10000"/>
                <a:gd name="connsiteY49" fmla="*/ 7090 h 10000"/>
                <a:gd name="connsiteX50" fmla="*/ 868 w 10000"/>
                <a:gd name="connsiteY50" fmla="*/ 6861 h 10000"/>
                <a:gd name="connsiteX51" fmla="*/ 1087 w 10000"/>
                <a:gd name="connsiteY51" fmla="*/ 6726 h 10000"/>
                <a:gd name="connsiteX52" fmla="*/ 1497 w 10000"/>
                <a:gd name="connsiteY52" fmla="*/ 6877 h 10000"/>
                <a:gd name="connsiteX53" fmla="*/ 0 w 10000"/>
                <a:gd name="connsiteY53" fmla="*/ 6545 h 10000"/>
                <a:gd name="connsiteX54" fmla="*/ 511 w 10000"/>
                <a:gd name="connsiteY54" fmla="*/ 6309 h 10000"/>
                <a:gd name="connsiteX55" fmla="*/ 726 w 10000"/>
                <a:gd name="connsiteY55" fmla="*/ 5891 h 10000"/>
                <a:gd name="connsiteX56" fmla="*/ 1318 w 10000"/>
                <a:gd name="connsiteY56" fmla="*/ 5618 h 10000"/>
                <a:gd name="connsiteX57" fmla="*/ 1425 w 10000"/>
                <a:gd name="connsiteY57" fmla="*/ 5218 h 10000"/>
                <a:gd name="connsiteX58" fmla="*/ 1344 w 10000"/>
                <a:gd name="connsiteY58" fmla="*/ 4800 h 10000"/>
                <a:gd name="connsiteX59" fmla="*/ 1720 w 10000"/>
                <a:gd name="connsiteY59" fmla="*/ 4582 h 10000"/>
                <a:gd name="connsiteX60" fmla="*/ 1210 w 10000"/>
                <a:gd name="connsiteY60" fmla="*/ 3982 h 10000"/>
                <a:gd name="connsiteX61" fmla="*/ 1748 w 10000"/>
                <a:gd name="connsiteY61" fmla="*/ 3182 h 10000"/>
                <a:gd name="connsiteX62" fmla="*/ 1156 w 10000"/>
                <a:gd name="connsiteY62" fmla="*/ 2636 h 10000"/>
                <a:gd name="connsiteX63" fmla="*/ 1318 w 10000"/>
                <a:gd name="connsiteY63" fmla="*/ 2036 h 10000"/>
                <a:gd name="connsiteX64" fmla="*/ 726 w 10000"/>
                <a:gd name="connsiteY64" fmla="*/ 1491 h 10000"/>
                <a:gd name="connsiteX65" fmla="*/ 726 w 10000"/>
                <a:gd name="connsiteY65" fmla="*/ 691 h 10000"/>
                <a:gd name="connsiteX0" fmla="*/ 215 w 9489"/>
                <a:gd name="connsiteY0" fmla="*/ 691 h 10000"/>
                <a:gd name="connsiteX1" fmla="*/ 2445 w 9489"/>
                <a:gd name="connsiteY1" fmla="*/ 73 h 10000"/>
                <a:gd name="connsiteX2" fmla="*/ 3467 w 9489"/>
                <a:gd name="connsiteY2" fmla="*/ 0 h 10000"/>
                <a:gd name="connsiteX3" fmla="*/ 4086 w 9489"/>
                <a:gd name="connsiteY3" fmla="*/ 18 h 10000"/>
                <a:gd name="connsiteX4" fmla="*/ 4301 w 9489"/>
                <a:gd name="connsiteY4" fmla="*/ 145 h 10000"/>
                <a:gd name="connsiteX5" fmla="*/ 4488 w 9489"/>
                <a:gd name="connsiteY5" fmla="*/ 309 h 10000"/>
                <a:gd name="connsiteX6" fmla="*/ 4516 w 9489"/>
                <a:gd name="connsiteY6" fmla="*/ 491 h 10000"/>
                <a:gd name="connsiteX7" fmla="*/ 4731 w 9489"/>
                <a:gd name="connsiteY7" fmla="*/ 545 h 10000"/>
                <a:gd name="connsiteX8" fmla="*/ 5000 w 9489"/>
                <a:gd name="connsiteY8" fmla="*/ 927 h 10000"/>
                <a:gd name="connsiteX9" fmla="*/ 5027 w 9489"/>
                <a:gd name="connsiteY9" fmla="*/ 1491 h 10000"/>
                <a:gd name="connsiteX10" fmla="*/ 5296 w 9489"/>
                <a:gd name="connsiteY10" fmla="*/ 1709 h 10000"/>
                <a:gd name="connsiteX11" fmla="*/ 5941 w 9489"/>
                <a:gd name="connsiteY11" fmla="*/ 1709 h 10000"/>
                <a:gd name="connsiteX12" fmla="*/ 6344 w 9489"/>
                <a:gd name="connsiteY12" fmla="*/ 2509 h 10000"/>
                <a:gd name="connsiteX13" fmla="*/ 6344 w 9489"/>
                <a:gd name="connsiteY13" fmla="*/ 3055 h 10000"/>
                <a:gd name="connsiteX14" fmla="*/ 6640 w 9489"/>
                <a:gd name="connsiteY14" fmla="*/ 3418 h 10000"/>
                <a:gd name="connsiteX15" fmla="*/ 6935 w 9489"/>
                <a:gd name="connsiteY15" fmla="*/ 3418 h 10000"/>
                <a:gd name="connsiteX16" fmla="*/ 7580 w 9489"/>
                <a:gd name="connsiteY16" fmla="*/ 3055 h 10000"/>
                <a:gd name="connsiteX17" fmla="*/ 7957 w 9489"/>
                <a:gd name="connsiteY17" fmla="*/ 3291 h 10000"/>
                <a:gd name="connsiteX18" fmla="*/ 7983 w 9489"/>
                <a:gd name="connsiteY18" fmla="*/ 3745 h 10000"/>
                <a:gd name="connsiteX19" fmla="*/ 8682 w 9489"/>
                <a:gd name="connsiteY19" fmla="*/ 4036 h 10000"/>
                <a:gd name="connsiteX20" fmla="*/ 8576 w 9489"/>
                <a:gd name="connsiteY20" fmla="*/ 4527 h 10000"/>
                <a:gd name="connsiteX21" fmla="*/ 8602 w 9489"/>
                <a:gd name="connsiteY21" fmla="*/ 4655 h 10000"/>
                <a:gd name="connsiteX22" fmla="*/ 8710 w 9489"/>
                <a:gd name="connsiteY22" fmla="*/ 4727 h 10000"/>
                <a:gd name="connsiteX23" fmla="*/ 8467 w 9489"/>
                <a:gd name="connsiteY23" fmla="*/ 4982 h 10000"/>
                <a:gd name="connsiteX24" fmla="*/ 8388 w 9489"/>
                <a:gd name="connsiteY24" fmla="*/ 5291 h 10000"/>
                <a:gd name="connsiteX25" fmla="*/ 8764 w 9489"/>
                <a:gd name="connsiteY25" fmla="*/ 5927 h 10000"/>
                <a:gd name="connsiteX26" fmla="*/ 9327 w 9489"/>
                <a:gd name="connsiteY26" fmla="*/ 6000 h 10000"/>
                <a:gd name="connsiteX27" fmla="*/ 9489 w 9489"/>
                <a:gd name="connsiteY27" fmla="*/ 6309 h 10000"/>
                <a:gd name="connsiteX28" fmla="*/ 9327 w 9489"/>
                <a:gd name="connsiteY28" fmla="*/ 6927 h 10000"/>
                <a:gd name="connsiteX29" fmla="*/ 8494 w 9489"/>
                <a:gd name="connsiteY29" fmla="*/ 7473 h 10000"/>
                <a:gd name="connsiteX30" fmla="*/ 8710 w 9489"/>
                <a:gd name="connsiteY30" fmla="*/ 8455 h 10000"/>
                <a:gd name="connsiteX31" fmla="*/ 8388 w 9489"/>
                <a:gd name="connsiteY31" fmla="*/ 8873 h 10000"/>
                <a:gd name="connsiteX32" fmla="*/ 8602 w 9489"/>
                <a:gd name="connsiteY32" fmla="*/ 9327 h 10000"/>
                <a:gd name="connsiteX33" fmla="*/ 7580 w 9489"/>
                <a:gd name="connsiteY33" fmla="*/ 9182 h 10000"/>
                <a:gd name="connsiteX34" fmla="*/ 7070 w 9489"/>
                <a:gd name="connsiteY34" fmla="*/ 9327 h 10000"/>
                <a:gd name="connsiteX35" fmla="*/ 6559 w 9489"/>
                <a:gd name="connsiteY35" fmla="*/ 9327 h 10000"/>
                <a:gd name="connsiteX36" fmla="*/ 5941 w 9489"/>
                <a:gd name="connsiteY36" fmla="*/ 9455 h 10000"/>
                <a:gd name="connsiteX37" fmla="*/ 5323 w 9489"/>
                <a:gd name="connsiteY37" fmla="*/ 9545 h 10000"/>
                <a:gd name="connsiteX38" fmla="*/ 4382 w 9489"/>
                <a:gd name="connsiteY38" fmla="*/ 10000 h 10000"/>
                <a:gd name="connsiteX39" fmla="*/ 4409 w 9489"/>
                <a:gd name="connsiteY39" fmla="*/ 9109 h 10000"/>
                <a:gd name="connsiteX40" fmla="*/ 4220 w 9489"/>
                <a:gd name="connsiteY40" fmla="*/ 8873 h 10000"/>
                <a:gd name="connsiteX41" fmla="*/ 3575 w 9489"/>
                <a:gd name="connsiteY41" fmla="*/ 8782 h 10000"/>
                <a:gd name="connsiteX42" fmla="*/ 3361 w 9489"/>
                <a:gd name="connsiteY42" fmla="*/ 8400 h 10000"/>
                <a:gd name="connsiteX43" fmla="*/ 2956 w 9489"/>
                <a:gd name="connsiteY43" fmla="*/ 8382 h 10000"/>
                <a:gd name="connsiteX44" fmla="*/ 2768 w 9489"/>
                <a:gd name="connsiteY44" fmla="*/ 8473 h 10000"/>
                <a:gd name="connsiteX45" fmla="*/ 1936 w 9489"/>
                <a:gd name="connsiteY45" fmla="*/ 8382 h 10000"/>
                <a:gd name="connsiteX46" fmla="*/ 1613 w 9489"/>
                <a:gd name="connsiteY46" fmla="*/ 8564 h 10000"/>
                <a:gd name="connsiteX47" fmla="*/ 2151 w 9489"/>
                <a:gd name="connsiteY47" fmla="*/ 8173 h 10000"/>
                <a:gd name="connsiteX48" fmla="*/ 2800 w 9489"/>
                <a:gd name="connsiteY48" fmla="*/ 7969 h 10000"/>
                <a:gd name="connsiteX49" fmla="*/ 586 w 9489"/>
                <a:gd name="connsiteY49" fmla="*/ 7090 h 10000"/>
                <a:gd name="connsiteX50" fmla="*/ 357 w 9489"/>
                <a:gd name="connsiteY50" fmla="*/ 6861 h 10000"/>
                <a:gd name="connsiteX51" fmla="*/ 576 w 9489"/>
                <a:gd name="connsiteY51" fmla="*/ 6726 h 10000"/>
                <a:gd name="connsiteX52" fmla="*/ 986 w 9489"/>
                <a:gd name="connsiteY52" fmla="*/ 6877 h 10000"/>
                <a:gd name="connsiteX53" fmla="*/ 587 w 9489"/>
                <a:gd name="connsiteY53" fmla="*/ 6295 h 10000"/>
                <a:gd name="connsiteX54" fmla="*/ 0 w 9489"/>
                <a:gd name="connsiteY54" fmla="*/ 6309 h 10000"/>
                <a:gd name="connsiteX55" fmla="*/ 215 w 9489"/>
                <a:gd name="connsiteY55" fmla="*/ 5891 h 10000"/>
                <a:gd name="connsiteX56" fmla="*/ 807 w 9489"/>
                <a:gd name="connsiteY56" fmla="*/ 5618 h 10000"/>
                <a:gd name="connsiteX57" fmla="*/ 914 w 9489"/>
                <a:gd name="connsiteY57" fmla="*/ 5218 h 10000"/>
                <a:gd name="connsiteX58" fmla="*/ 833 w 9489"/>
                <a:gd name="connsiteY58" fmla="*/ 4800 h 10000"/>
                <a:gd name="connsiteX59" fmla="*/ 1209 w 9489"/>
                <a:gd name="connsiteY59" fmla="*/ 4582 h 10000"/>
                <a:gd name="connsiteX60" fmla="*/ 699 w 9489"/>
                <a:gd name="connsiteY60" fmla="*/ 3982 h 10000"/>
                <a:gd name="connsiteX61" fmla="*/ 1237 w 9489"/>
                <a:gd name="connsiteY61" fmla="*/ 3182 h 10000"/>
                <a:gd name="connsiteX62" fmla="*/ 645 w 9489"/>
                <a:gd name="connsiteY62" fmla="*/ 2636 h 10000"/>
                <a:gd name="connsiteX63" fmla="*/ 807 w 9489"/>
                <a:gd name="connsiteY63" fmla="*/ 2036 h 10000"/>
                <a:gd name="connsiteX64" fmla="*/ 215 w 9489"/>
                <a:gd name="connsiteY64" fmla="*/ 1491 h 10000"/>
                <a:gd name="connsiteX65" fmla="*/ 215 w 9489"/>
                <a:gd name="connsiteY65" fmla="*/ 691 h 10000"/>
                <a:gd name="connsiteX0" fmla="*/ 227 w 10000"/>
                <a:gd name="connsiteY0" fmla="*/ 691 h 10000"/>
                <a:gd name="connsiteX1" fmla="*/ 2577 w 10000"/>
                <a:gd name="connsiteY1" fmla="*/ 73 h 10000"/>
                <a:gd name="connsiteX2" fmla="*/ 3654 w 10000"/>
                <a:gd name="connsiteY2" fmla="*/ 0 h 10000"/>
                <a:gd name="connsiteX3" fmla="*/ 4306 w 10000"/>
                <a:gd name="connsiteY3" fmla="*/ 18 h 10000"/>
                <a:gd name="connsiteX4" fmla="*/ 4533 w 10000"/>
                <a:gd name="connsiteY4" fmla="*/ 145 h 10000"/>
                <a:gd name="connsiteX5" fmla="*/ 4730 w 10000"/>
                <a:gd name="connsiteY5" fmla="*/ 309 h 10000"/>
                <a:gd name="connsiteX6" fmla="*/ 4759 w 10000"/>
                <a:gd name="connsiteY6" fmla="*/ 491 h 10000"/>
                <a:gd name="connsiteX7" fmla="*/ 4986 w 10000"/>
                <a:gd name="connsiteY7" fmla="*/ 545 h 10000"/>
                <a:gd name="connsiteX8" fmla="*/ 5269 w 10000"/>
                <a:gd name="connsiteY8" fmla="*/ 927 h 10000"/>
                <a:gd name="connsiteX9" fmla="*/ 5298 w 10000"/>
                <a:gd name="connsiteY9" fmla="*/ 1491 h 10000"/>
                <a:gd name="connsiteX10" fmla="*/ 5581 w 10000"/>
                <a:gd name="connsiteY10" fmla="*/ 1709 h 10000"/>
                <a:gd name="connsiteX11" fmla="*/ 6261 w 10000"/>
                <a:gd name="connsiteY11" fmla="*/ 1709 h 10000"/>
                <a:gd name="connsiteX12" fmla="*/ 6686 w 10000"/>
                <a:gd name="connsiteY12" fmla="*/ 2509 h 10000"/>
                <a:gd name="connsiteX13" fmla="*/ 6686 w 10000"/>
                <a:gd name="connsiteY13" fmla="*/ 3055 h 10000"/>
                <a:gd name="connsiteX14" fmla="*/ 6998 w 10000"/>
                <a:gd name="connsiteY14" fmla="*/ 3418 h 10000"/>
                <a:gd name="connsiteX15" fmla="*/ 7308 w 10000"/>
                <a:gd name="connsiteY15" fmla="*/ 3418 h 10000"/>
                <a:gd name="connsiteX16" fmla="*/ 7988 w 10000"/>
                <a:gd name="connsiteY16" fmla="*/ 3055 h 10000"/>
                <a:gd name="connsiteX17" fmla="*/ 8385 w 10000"/>
                <a:gd name="connsiteY17" fmla="*/ 3291 h 10000"/>
                <a:gd name="connsiteX18" fmla="*/ 8413 w 10000"/>
                <a:gd name="connsiteY18" fmla="*/ 3745 h 10000"/>
                <a:gd name="connsiteX19" fmla="*/ 9150 w 10000"/>
                <a:gd name="connsiteY19" fmla="*/ 4036 h 10000"/>
                <a:gd name="connsiteX20" fmla="*/ 9038 w 10000"/>
                <a:gd name="connsiteY20" fmla="*/ 4527 h 10000"/>
                <a:gd name="connsiteX21" fmla="*/ 9065 w 10000"/>
                <a:gd name="connsiteY21" fmla="*/ 4655 h 10000"/>
                <a:gd name="connsiteX22" fmla="*/ 9179 w 10000"/>
                <a:gd name="connsiteY22" fmla="*/ 4727 h 10000"/>
                <a:gd name="connsiteX23" fmla="*/ 8923 w 10000"/>
                <a:gd name="connsiteY23" fmla="*/ 4982 h 10000"/>
                <a:gd name="connsiteX24" fmla="*/ 8840 w 10000"/>
                <a:gd name="connsiteY24" fmla="*/ 5291 h 10000"/>
                <a:gd name="connsiteX25" fmla="*/ 9236 w 10000"/>
                <a:gd name="connsiteY25" fmla="*/ 5927 h 10000"/>
                <a:gd name="connsiteX26" fmla="*/ 9829 w 10000"/>
                <a:gd name="connsiteY26" fmla="*/ 6000 h 10000"/>
                <a:gd name="connsiteX27" fmla="*/ 10000 w 10000"/>
                <a:gd name="connsiteY27" fmla="*/ 6309 h 10000"/>
                <a:gd name="connsiteX28" fmla="*/ 9829 w 10000"/>
                <a:gd name="connsiteY28" fmla="*/ 6927 h 10000"/>
                <a:gd name="connsiteX29" fmla="*/ 8951 w 10000"/>
                <a:gd name="connsiteY29" fmla="*/ 7473 h 10000"/>
                <a:gd name="connsiteX30" fmla="*/ 9179 w 10000"/>
                <a:gd name="connsiteY30" fmla="*/ 8455 h 10000"/>
                <a:gd name="connsiteX31" fmla="*/ 8840 w 10000"/>
                <a:gd name="connsiteY31" fmla="*/ 8873 h 10000"/>
                <a:gd name="connsiteX32" fmla="*/ 9065 w 10000"/>
                <a:gd name="connsiteY32" fmla="*/ 9327 h 10000"/>
                <a:gd name="connsiteX33" fmla="*/ 7988 w 10000"/>
                <a:gd name="connsiteY33" fmla="*/ 9182 h 10000"/>
                <a:gd name="connsiteX34" fmla="*/ 7451 w 10000"/>
                <a:gd name="connsiteY34" fmla="*/ 9327 h 10000"/>
                <a:gd name="connsiteX35" fmla="*/ 6912 w 10000"/>
                <a:gd name="connsiteY35" fmla="*/ 9327 h 10000"/>
                <a:gd name="connsiteX36" fmla="*/ 6261 w 10000"/>
                <a:gd name="connsiteY36" fmla="*/ 9455 h 10000"/>
                <a:gd name="connsiteX37" fmla="*/ 5610 w 10000"/>
                <a:gd name="connsiteY37" fmla="*/ 9545 h 10000"/>
                <a:gd name="connsiteX38" fmla="*/ 4618 w 10000"/>
                <a:gd name="connsiteY38" fmla="*/ 10000 h 10000"/>
                <a:gd name="connsiteX39" fmla="*/ 4646 w 10000"/>
                <a:gd name="connsiteY39" fmla="*/ 9109 h 10000"/>
                <a:gd name="connsiteX40" fmla="*/ 4447 w 10000"/>
                <a:gd name="connsiteY40" fmla="*/ 8873 h 10000"/>
                <a:gd name="connsiteX41" fmla="*/ 3768 w 10000"/>
                <a:gd name="connsiteY41" fmla="*/ 8782 h 10000"/>
                <a:gd name="connsiteX42" fmla="*/ 3542 w 10000"/>
                <a:gd name="connsiteY42" fmla="*/ 8400 h 10000"/>
                <a:gd name="connsiteX43" fmla="*/ 3115 w 10000"/>
                <a:gd name="connsiteY43" fmla="*/ 8382 h 10000"/>
                <a:gd name="connsiteX44" fmla="*/ 2917 w 10000"/>
                <a:gd name="connsiteY44" fmla="*/ 8473 h 10000"/>
                <a:gd name="connsiteX45" fmla="*/ 2040 w 10000"/>
                <a:gd name="connsiteY45" fmla="*/ 8382 h 10000"/>
                <a:gd name="connsiteX46" fmla="*/ 1700 w 10000"/>
                <a:gd name="connsiteY46" fmla="*/ 8564 h 10000"/>
                <a:gd name="connsiteX47" fmla="*/ 2267 w 10000"/>
                <a:gd name="connsiteY47" fmla="*/ 8173 h 10000"/>
                <a:gd name="connsiteX48" fmla="*/ 2951 w 10000"/>
                <a:gd name="connsiteY48" fmla="*/ 7969 h 10000"/>
                <a:gd name="connsiteX49" fmla="*/ 618 w 10000"/>
                <a:gd name="connsiteY49" fmla="*/ 7090 h 10000"/>
                <a:gd name="connsiteX50" fmla="*/ 1112 w 10000"/>
                <a:gd name="connsiteY50" fmla="*/ 6778 h 10000"/>
                <a:gd name="connsiteX51" fmla="*/ 607 w 10000"/>
                <a:gd name="connsiteY51" fmla="*/ 6726 h 10000"/>
                <a:gd name="connsiteX52" fmla="*/ 1039 w 10000"/>
                <a:gd name="connsiteY52" fmla="*/ 6877 h 10000"/>
                <a:gd name="connsiteX53" fmla="*/ 619 w 10000"/>
                <a:gd name="connsiteY53" fmla="*/ 6295 h 10000"/>
                <a:gd name="connsiteX54" fmla="*/ 0 w 10000"/>
                <a:gd name="connsiteY54" fmla="*/ 6309 h 10000"/>
                <a:gd name="connsiteX55" fmla="*/ 227 w 10000"/>
                <a:gd name="connsiteY55" fmla="*/ 5891 h 10000"/>
                <a:gd name="connsiteX56" fmla="*/ 850 w 10000"/>
                <a:gd name="connsiteY56" fmla="*/ 5618 h 10000"/>
                <a:gd name="connsiteX57" fmla="*/ 963 w 10000"/>
                <a:gd name="connsiteY57" fmla="*/ 5218 h 10000"/>
                <a:gd name="connsiteX58" fmla="*/ 878 w 10000"/>
                <a:gd name="connsiteY58" fmla="*/ 4800 h 10000"/>
                <a:gd name="connsiteX59" fmla="*/ 1274 w 10000"/>
                <a:gd name="connsiteY59" fmla="*/ 4582 h 10000"/>
                <a:gd name="connsiteX60" fmla="*/ 737 w 10000"/>
                <a:gd name="connsiteY60" fmla="*/ 3982 h 10000"/>
                <a:gd name="connsiteX61" fmla="*/ 1304 w 10000"/>
                <a:gd name="connsiteY61" fmla="*/ 3182 h 10000"/>
                <a:gd name="connsiteX62" fmla="*/ 680 w 10000"/>
                <a:gd name="connsiteY62" fmla="*/ 2636 h 10000"/>
                <a:gd name="connsiteX63" fmla="*/ 850 w 10000"/>
                <a:gd name="connsiteY63" fmla="*/ 2036 h 10000"/>
                <a:gd name="connsiteX64" fmla="*/ 227 w 10000"/>
                <a:gd name="connsiteY64" fmla="*/ 1491 h 10000"/>
                <a:gd name="connsiteX65" fmla="*/ 227 w 10000"/>
                <a:gd name="connsiteY65" fmla="*/ 691 h 10000"/>
                <a:gd name="connsiteX0" fmla="*/ 227 w 10000"/>
                <a:gd name="connsiteY0" fmla="*/ 691 h 10000"/>
                <a:gd name="connsiteX1" fmla="*/ 2577 w 10000"/>
                <a:gd name="connsiteY1" fmla="*/ 73 h 10000"/>
                <a:gd name="connsiteX2" fmla="*/ 3654 w 10000"/>
                <a:gd name="connsiteY2" fmla="*/ 0 h 10000"/>
                <a:gd name="connsiteX3" fmla="*/ 4306 w 10000"/>
                <a:gd name="connsiteY3" fmla="*/ 18 h 10000"/>
                <a:gd name="connsiteX4" fmla="*/ 4533 w 10000"/>
                <a:gd name="connsiteY4" fmla="*/ 145 h 10000"/>
                <a:gd name="connsiteX5" fmla="*/ 4730 w 10000"/>
                <a:gd name="connsiteY5" fmla="*/ 309 h 10000"/>
                <a:gd name="connsiteX6" fmla="*/ 4759 w 10000"/>
                <a:gd name="connsiteY6" fmla="*/ 491 h 10000"/>
                <a:gd name="connsiteX7" fmla="*/ 4986 w 10000"/>
                <a:gd name="connsiteY7" fmla="*/ 545 h 10000"/>
                <a:gd name="connsiteX8" fmla="*/ 5269 w 10000"/>
                <a:gd name="connsiteY8" fmla="*/ 927 h 10000"/>
                <a:gd name="connsiteX9" fmla="*/ 5298 w 10000"/>
                <a:gd name="connsiteY9" fmla="*/ 1491 h 10000"/>
                <a:gd name="connsiteX10" fmla="*/ 5581 w 10000"/>
                <a:gd name="connsiteY10" fmla="*/ 1709 h 10000"/>
                <a:gd name="connsiteX11" fmla="*/ 6261 w 10000"/>
                <a:gd name="connsiteY11" fmla="*/ 1709 h 10000"/>
                <a:gd name="connsiteX12" fmla="*/ 6686 w 10000"/>
                <a:gd name="connsiteY12" fmla="*/ 2509 h 10000"/>
                <a:gd name="connsiteX13" fmla="*/ 6686 w 10000"/>
                <a:gd name="connsiteY13" fmla="*/ 3055 h 10000"/>
                <a:gd name="connsiteX14" fmla="*/ 6998 w 10000"/>
                <a:gd name="connsiteY14" fmla="*/ 3418 h 10000"/>
                <a:gd name="connsiteX15" fmla="*/ 7308 w 10000"/>
                <a:gd name="connsiteY15" fmla="*/ 3418 h 10000"/>
                <a:gd name="connsiteX16" fmla="*/ 7988 w 10000"/>
                <a:gd name="connsiteY16" fmla="*/ 3055 h 10000"/>
                <a:gd name="connsiteX17" fmla="*/ 8385 w 10000"/>
                <a:gd name="connsiteY17" fmla="*/ 3291 h 10000"/>
                <a:gd name="connsiteX18" fmla="*/ 8413 w 10000"/>
                <a:gd name="connsiteY18" fmla="*/ 3745 h 10000"/>
                <a:gd name="connsiteX19" fmla="*/ 9150 w 10000"/>
                <a:gd name="connsiteY19" fmla="*/ 4036 h 10000"/>
                <a:gd name="connsiteX20" fmla="*/ 9038 w 10000"/>
                <a:gd name="connsiteY20" fmla="*/ 4527 h 10000"/>
                <a:gd name="connsiteX21" fmla="*/ 9065 w 10000"/>
                <a:gd name="connsiteY21" fmla="*/ 4655 h 10000"/>
                <a:gd name="connsiteX22" fmla="*/ 9179 w 10000"/>
                <a:gd name="connsiteY22" fmla="*/ 4727 h 10000"/>
                <a:gd name="connsiteX23" fmla="*/ 8923 w 10000"/>
                <a:gd name="connsiteY23" fmla="*/ 4982 h 10000"/>
                <a:gd name="connsiteX24" fmla="*/ 8840 w 10000"/>
                <a:gd name="connsiteY24" fmla="*/ 5291 h 10000"/>
                <a:gd name="connsiteX25" fmla="*/ 9236 w 10000"/>
                <a:gd name="connsiteY25" fmla="*/ 5927 h 10000"/>
                <a:gd name="connsiteX26" fmla="*/ 9829 w 10000"/>
                <a:gd name="connsiteY26" fmla="*/ 6000 h 10000"/>
                <a:gd name="connsiteX27" fmla="*/ 10000 w 10000"/>
                <a:gd name="connsiteY27" fmla="*/ 6309 h 10000"/>
                <a:gd name="connsiteX28" fmla="*/ 9829 w 10000"/>
                <a:gd name="connsiteY28" fmla="*/ 6927 h 10000"/>
                <a:gd name="connsiteX29" fmla="*/ 8951 w 10000"/>
                <a:gd name="connsiteY29" fmla="*/ 7473 h 10000"/>
                <a:gd name="connsiteX30" fmla="*/ 9179 w 10000"/>
                <a:gd name="connsiteY30" fmla="*/ 8455 h 10000"/>
                <a:gd name="connsiteX31" fmla="*/ 8840 w 10000"/>
                <a:gd name="connsiteY31" fmla="*/ 8873 h 10000"/>
                <a:gd name="connsiteX32" fmla="*/ 9065 w 10000"/>
                <a:gd name="connsiteY32" fmla="*/ 9327 h 10000"/>
                <a:gd name="connsiteX33" fmla="*/ 7988 w 10000"/>
                <a:gd name="connsiteY33" fmla="*/ 9182 h 10000"/>
                <a:gd name="connsiteX34" fmla="*/ 7451 w 10000"/>
                <a:gd name="connsiteY34" fmla="*/ 9327 h 10000"/>
                <a:gd name="connsiteX35" fmla="*/ 6912 w 10000"/>
                <a:gd name="connsiteY35" fmla="*/ 9327 h 10000"/>
                <a:gd name="connsiteX36" fmla="*/ 6261 w 10000"/>
                <a:gd name="connsiteY36" fmla="*/ 9455 h 10000"/>
                <a:gd name="connsiteX37" fmla="*/ 5610 w 10000"/>
                <a:gd name="connsiteY37" fmla="*/ 9545 h 10000"/>
                <a:gd name="connsiteX38" fmla="*/ 4618 w 10000"/>
                <a:gd name="connsiteY38" fmla="*/ 10000 h 10000"/>
                <a:gd name="connsiteX39" fmla="*/ 4646 w 10000"/>
                <a:gd name="connsiteY39" fmla="*/ 9109 h 10000"/>
                <a:gd name="connsiteX40" fmla="*/ 4447 w 10000"/>
                <a:gd name="connsiteY40" fmla="*/ 8873 h 10000"/>
                <a:gd name="connsiteX41" fmla="*/ 3768 w 10000"/>
                <a:gd name="connsiteY41" fmla="*/ 8782 h 10000"/>
                <a:gd name="connsiteX42" fmla="*/ 3542 w 10000"/>
                <a:gd name="connsiteY42" fmla="*/ 8400 h 10000"/>
                <a:gd name="connsiteX43" fmla="*/ 3115 w 10000"/>
                <a:gd name="connsiteY43" fmla="*/ 8382 h 10000"/>
                <a:gd name="connsiteX44" fmla="*/ 2917 w 10000"/>
                <a:gd name="connsiteY44" fmla="*/ 8473 h 10000"/>
                <a:gd name="connsiteX45" fmla="*/ 2040 w 10000"/>
                <a:gd name="connsiteY45" fmla="*/ 8382 h 10000"/>
                <a:gd name="connsiteX46" fmla="*/ 1700 w 10000"/>
                <a:gd name="connsiteY46" fmla="*/ 8564 h 10000"/>
                <a:gd name="connsiteX47" fmla="*/ 2267 w 10000"/>
                <a:gd name="connsiteY47" fmla="*/ 8173 h 10000"/>
                <a:gd name="connsiteX48" fmla="*/ 2951 w 10000"/>
                <a:gd name="connsiteY48" fmla="*/ 7969 h 10000"/>
                <a:gd name="connsiteX49" fmla="*/ 1901 w 10000"/>
                <a:gd name="connsiteY49" fmla="*/ 7254 h 10000"/>
                <a:gd name="connsiteX50" fmla="*/ 618 w 10000"/>
                <a:gd name="connsiteY50" fmla="*/ 7090 h 10000"/>
                <a:gd name="connsiteX51" fmla="*/ 1112 w 10000"/>
                <a:gd name="connsiteY51" fmla="*/ 6778 h 10000"/>
                <a:gd name="connsiteX52" fmla="*/ 607 w 10000"/>
                <a:gd name="connsiteY52" fmla="*/ 6726 h 10000"/>
                <a:gd name="connsiteX53" fmla="*/ 1039 w 10000"/>
                <a:gd name="connsiteY53" fmla="*/ 6877 h 10000"/>
                <a:gd name="connsiteX54" fmla="*/ 619 w 10000"/>
                <a:gd name="connsiteY54" fmla="*/ 6295 h 10000"/>
                <a:gd name="connsiteX55" fmla="*/ 0 w 10000"/>
                <a:gd name="connsiteY55" fmla="*/ 6309 h 10000"/>
                <a:gd name="connsiteX56" fmla="*/ 227 w 10000"/>
                <a:gd name="connsiteY56" fmla="*/ 5891 h 10000"/>
                <a:gd name="connsiteX57" fmla="*/ 850 w 10000"/>
                <a:gd name="connsiteY57" fmla="*/ 5618 h 10000"/>
                <a:gd name="connsiteX58" fmla="*/ 963 w 10000"/>
                <a:gd name="connsiteY58" fmla="*/ 5218 h 10000"/>
                <a:gd name="connsiteX59" fmla="*/ 878 w 10000"/>
                <a:gd name="connsiteY59" fmla="*/ 4800 h 10000"/>
                <a:gd name="connsiteX60" fmla="*/ 1274 w 10000"/>
                <a:gd name="connsiteY60" fmla="*/ 4582 h 10000"/>
                <a:gd name="connsiteX61" fmla="*/ 737 w 10000"/>
                <a:gd name="connsiteY61" fmla="*/ 3982 h 10000"/>
                <a:gd name="connsiteX62" fmla="*/ 1304 w 10000"/>
                <a:gd name="connsiteY62" fmla="*/ 3182 h 10000"/>
                <a:gd name="connsiteX63" fmla="*/ 680 w 10000"/>
                <a:gd name="connsiteY63" fmla="*/ 2636 h 10000"/>
                <a:gd name="connsiteX64" fmla="*/ 850 w 10000"/>
                <a:gd name="connsiteY64" fmla="*/ 2036 h 10000"/>
                <a:gd name="connsiteX65" fmla="*/ 227 w 10000"/>
                <a:gd name="connsiteY65" fmla="*/ 1491 h 10000"/>
                <a:gd name="connsiteX66" fmla="*/ 227 w 10000"/>
                <a:gd name="connsiteY66" fmla="*/ 691 h 10000"/>
                <a:gd name="connsiteX0" fmla="*/ 227 w 10000"/>
                <a:gd name="connsiteY0" fmla="*/ 691 h 10000"/>
                <a:gd name="connsiteX1" fmla="*/ 2577 w 10000"/>
                <a:gd name="connsiteY1" fmla="*/ 73 h 10000"/>
                <a:gd name="connsiteX2" fmla="*/ 3654 w 10000"/>
                <a:gd name="connsiteY2" fmla="*/ 0 h 10000"/>
                <a:gd name="connsiteX3" fmla="*/ 4306 w 10000"/>
                <a:gd name="connsiteY3" fmla="*/ 18 h 10000"/>
                <a:gd name="connsiteX4" fmla="*/ 4533 w 10000"/>
                <a:gd name="connsiteY4" fmla="*/ 145 h 10000"/>
                <a:gd name="connsiteX5" fmla="*/ 4730 w 10000"/>
                <a:gd name="connsiteY5" fmla="*/ 309 h 10000"/>
                <a:gd name="connsiteX6" fmla="*/ 4759 w 10000"/>
                <a:gd name="connsiteY6" fmla="*/ 491 h 10000"/>
                <a:gd name="connsiteX7" fmla="*/ 4986 w 10000"/>
                <a:gd name="connsiteY7" fmla="*/ 545 h 10000"/>
                <a:gd name="connsiteX8" fmla="*/ 5269 w 10000"/>
                <a:gd name="connsiteY8" fmla="*/ 927 h 10000"/>
                <a:gd name="connsiteX9" fmla="*/ 5298 w 10000"/>
                <a:gd name="connsiteY9" fmla="*/ 1491 h 10000"/>
                <a:gd name="connsiteX10" fmla="*/ 5581 w 10000"/>
                <a:gd name="connsiteY10" fmla="*/ 1709 h 10000"/>
                <a:gd name="connsiteX11" fmla="*/ 6261 w 10000"/>
                <a:gd name="connsiteY11" fmla="*/ 1709 h 10000"/>
                <a:gd name="connsiteX12" fmla="*/ 6686 w 10000"/>
                <a:gd name="connsiteY12" fmla="*/ 2509 h 10000"/>
                <a:gd name="connsiteX13" fmla="*/ 6686 w 10000"/>
                <a:gd name="connsiteY13" fmla="*/ 3055 h 10000"/>
                <a:gd name="connsiteX14" fmla="*/ 6998 w 10000"/>
                <a:gd name="connsiteY14" fmla="*/ 3418 h 10000"/>
                <a:gd name="connsiteX15" fmla="*/ 7308 w 10000"/>
                <a:gd name="connsiteY15" fmla="*/ 3418 h 10000"/>
                <a:gd name="connsiteX16" fmla="*/ 7988 w 10000"/>
                <a:gd name="connsiteY16" fmla="*/ 3055 h 10000"/>
                <a:gd name="connsiteX17" fmla="*/ 8385 w 10000"/>
                <a:gd name="connsiteY17" fmla="*/ 3291 h 10000"/>
                <a:gd name="connsiteX18" fmla="*/ 8413 w 10000"/>
                <a:gd name="connsiteY18" fmla="*/ 3745 h 10000"/>
                <a:gd name="connsiteX19" fmla="*/ 9150 w 10000"/>
                <a:gd name="connsiteY19" fmla="*/ 4036 h 10000"/>
                <a:gd name="connsiteX20" fmla="*/ 9038 w 10000"/>
                <a:gd name="connsiteY20" fmla="*/ 4527 h 10000"/>
                <a:gd name="connsiteX21" fmla="*/ 9065 w 10000"/>
                <a:gd name="connsiteY21" fmla="*/ 4655 h 10000"/>
                <a:gd name="connsiteX22" fmla="*/ 9179 w 10000"/>
                <a:gd name="connsiteY22" fmla="*/ 4727 h 10000"/>
                <a:gd name="connsiteX23" fmla="*/ 8923 w 10000"/>
                <a:gd name="connsiteY23" fmla="*/ 4982 h 10000"/>
                <a:gd name="connsiteX24" fmla="*/ 8840 w 10000"/>
                <a:gd name="connsiteY24" fmla="*/ 5291 h 10000"/>
                <a:gd name="connsiteX25" fmla="*/ 9236 w 10000"/>
                <a:gd name="connsiteY25" fmla="*/ 5927 h 10000"/>
                <a:gd name="connsiteX26" fmla="*/ 9829 w 10000"/>
                <a:gd name="connsiteY26" fmla="*/ 6000 h 10000"/>
                <a:gd name="connsiteX27" fmla="*/ 10000 w 10000"/>
                <a:gd name="connsiteY27" fmla="*/ 6309 h 10000"/>
                <a:gd name="connsiteX28" fmla="*/ 9829 w 10000"/>
                <a:gd name="connsiteY28" fmla="*/ 6927 h 10000"/>
                <a:gd name="connsiteX29" fmla="*/ 8951 w 10000"/>
                <a:gd name="connsiteY29" fmla="*/ 7473 h 10000"/>
                <a:gd name="connsiteX30" fmla="*/ 9179 w 10000"/>
                <a:gd name="connsiteY30" fmla="*/ 8455 h 10000"/>
                <a:gd name="connsiteX31" fmla="*/ 8840 w 10000"/>
                <a:gd name="connsiteY31" fmla="*/ 8873 h 10000"/>
                <a:gd name="connsiteX32" fmla="*/ 9065 w 10000"/>
                <a:gd name="connsiteY32" fmla="*/ 9327 h 10000"/>
                <a:gd name="connsiteX33" fmla="*/ 7988 w 10000"/>
                <a:gd name="connsiteY33" fmla="*/ 9182 h 10000"/>
                <a:gd name="connsiteX34" fmla="*/ 7451 w 10000"/>
                <a:gd name="connsiteY34" fmla="*/ 9327 h 10000"/>
                <a:gd name="connsiteX35" fmla="*/ 6912 w 10000"/>
                <a:gd name="connsiteY35" fmla="*/ 9327 h 10000"/>
                <a:gd name="connsiteX36" fmla="*/ 6261 w 10000"/>
                <a:gd name="connsiteY36" fmla="*/ 9455 h 10000"/>
                <a:gd name="connsiteX37" fmla="*/ 5610 w 10000"/>
                <a:gd name="connsiteY37" fmla="*/ 9545 h 10000"/>
                <a:gd name="connsiteX38" fmla="*/ 4618 w 10000"/>
                <a:gd name="connsiteY38" fmla="*/ 10000 h 10000"/>
                <a:gd name="connsiteX39" fmla="*/ 4646 w 10000"/>
                <a:gd name="connsiteY39" fmla="*/ 9109 h 10000"/>
                <a:gd name="connsiteX40" fmla="*/ 4447 w 10000"/>
                <a:gd name="connsiteY40" fmla="*/ 8873 h 10000"/>
                <a:gd name="connsiteX41" fmla="*/ 3768 w 10000"/>
                <a:gd name="connsiteY41" fmla="*/ 8782 h 10000"/>
                <a:gd name="connsiteX42" fmla="*/ 3542 w 10000"/>
                <a:gd name="connsiteY42" fmla="*/ 8400 h 10000"/>
                <a:gd name="connsiteX43" fmla="*/ 3115 w 10000"/>
                <a:gd name="connsiteY43" fmla="*/ 8382 h 10000"/>
                <a:gd name="connsiteX44" fmla="*/ 2917 w 10000"/>
                <a:gd name="connsiteY44" fmla="*/ 8473 h 10000"/>
                <a:gd name="connsiteX45" fmla="*/ 2040 w 10000"/>
                <a:gd name="connsiteY45" fmla="*/ 8382 h 10000"/>
                <a:gd name="connsiteX46" fmla="*/ 1700 w 10000"/>
                <a:gd name="connsiteY46" fmla="*/ 8564 h 10000"/>
                <a:gd name="connsiteX47" fmla="*/ 2267 w 10000"/>
                <a:gd name="connsiteY47" fmla="*/ 8173 h 10000"/>
                <a:gd name="connsiteX48" fmla="*/ 2951 w 10000"/>
                <a:gd name="connsiteY48" fmla="*/ 7969 h 10000"/>
                <a:gd name="connsiteX49" fmla="*/ 1901 w 10000"/>
                <a:gd name="connsiteY49" fmla="*/ 7254 h 10000"/>
                <a:gd name="connsiteX50" fmla="*/ 1144 w 10000"/>
                <a:gd name="connsiteY50" fmla="*/ 6840 h 10000"/>
                <a:gd name="connsiteX51" fmla="*/ 1112 w 10000"/>
                <a:gd name="connsiteY51" fmla="*/ 6778 h 10000"/>
                <a:gd name="connsiteX52" fmla="*/ 607 w 10000"/>
                <a:gd name="connsiteY52" fmla="*/ 6726 h 10000"/>
                <a:gd name="connsiteX53" fmla="*/ 1039 w 10000"/>
                <a:gd name="connsiteY53" fmla="*/ 6877 h 10000"/>
                <a:gd name="connsiteX54" fmla="*/ 619 w 10000"/>
                <a:gd name="connsiteY54" fmla="*/ 6295 h 10000"/>
                <a:gd name="connsiteX55" fmla="*/ 0 w 10000"/>
                <a:gd name="connsiteY55" fmla="*/ 6309 h 10000"/>
                <a:gd name="connsiteX56" fmla="*/ 227 w 10000"/>
                <a:gd name="connsiteY56" fmla="*/ 5891 h 10000"/>
                <a:gd name="connsiteX57" fmla="*/ 850 w 10000"/>
                <a:gd name="connsiteY57" fmla="*/ 5618 h 10000"/>
                <a:gd name="connsiteX58" fmla="*/ 963 w 10000"/>
                <a:gd name="connsiteY58" fmla="*/ 5218 h 10000"/>
                <a:gd name="connsiteX59" fmla="*/ 878 w 10000"/>
                <a:gd name="connsiteY59" fmla="*/ 4800 h 10000"/>
                <a:gd name="connsiteX60" fmla="*/ 1274 w 10000"/>
                <a:gd name="connsiteY60" fmla="*/ 4582 h 10000"/>
                <a:gd name="connsiteX61" fmla="*/ 737 w 10000"/>
                <a:gd name="connsiteY61" fmla="*/ 3982 h 10000"/>
                <a:gd name="connsiteX62" fmla="*/ 1304 w 10000"/>
                <a:gd name="connsiteY62" fmla="*/ 3182 h 10000"/>
                <a:gd name="connsiteX63" fmla="*/ 680 w 10000"/>
                <a:gd name="connsiteY63" fmla="*/ 2636 h 10000"/>
                <a:gd name="connsiteX64" fmla="*/ 850 w 10000"/>
                <a:gd name="connsiteY64" fmla="*/ 2036 h 10000"/>
                <a:gd name="connsiteX65" fmla="*/ 227 w 10000"/>
                <a:gd name="connsiteY65" fmla="*/ 1491 h 10000"/>
                <a:gd name="connsiteX66" fmla="*/ 227 w 10000"/>
                <a:gd name="connsiteY66" fmla="*/ 691 h 10000"/>
                <a:gd name="connsiteX0" fmla="*/ 227 w 10000"/>
                <a:gd name="connsiteY0" fmla="*/ 691 h 10000"/>
                <a:gd name="connsiteX1" fmla="*/ 2577 w 10000"/>
                <a:gd name="connsiteY1" fmla="*/ 73 h 10000"/>
                <a:gd name="connsiteX2" fmla="*/ 3654 w 10000"/>
                <a:gd name="connsiteY2" fmla="*/ 0 h 10000"/>
                <a:gd name="connsiteX3" fmla="*/ 4306 w 10000"/>
                <a:gd name="connsiteY3" fmla="*/ 18 h 10000"/>
                <a:gd name="connsiteX4" fmla="*/ 4533 w 10000"/>
                <a:gd name="connsiteY4" fmla="*/ 145 h 10000"/>
                <a:gd name="connsiteX5" fmla="*/ 4730 w 10000"/>
                <a:gd name="connsiteY5" fmla="*/ 309 h 10000"/>
                <a:gd name="connsiteX6" fmla="*/ 4759 w 10000"/>
                <a:gd name="connsiteY6" fmla="*/ 491 h 10000"/>
                <a:gd name="connsiteX7" fmla="*/ 4986 w 10000"/>
                <a:gd name="connsiteY7" fmla="*/ 545 h 10000"/>
                <a:gd name="connsiteX8" fmla="*/ 5269 w 10000"/>
                <a:gd name="connsiteY8" fmla="*/ 927 h 10000"/>
                <a:gd name="connsiteX9" fmla="*/ 5298 w 10000"/>
                <a:gd name="connsiteY9" fmla="*/ 1491 h 10000"/>
                <a:gd name="connsiteX10" fmla="*/ 5581 w 10000"/>
                <a:gd name="connsiteY10" fmla="*/ 1709 h 10000"/>
                <a:gd name="connsiteX11" fmla="*/ 6261 w 10000"/>
                <a:gd name="connsiteY11" fmla="*/ 1709 h 10000"/>
                <a:gd name="connsiteX12" fmla="*/ 6686 w 10000"/>
                <a:gd name="connsiteY12" fmla="*/ 2509 h 10000"/>
                <a:gd name="connsiteX13" fmla="*/ 6686 w 10000"/>
                <a:gd name="connsiteY13" fmla="*/ 3055 h 10000"/>
                <a:gd name="connsiteX14" fmla="*/ 6998 w 10000"/>
                <a:gd name="connsiteY14" fmla="*/ 3418 h 10000"/>
                <a:gd name="connsiteX15" fmla="*/ 7308 w 10000"/>
                <a:gd name="connsiteY15" fmla="*/ 3418 h 10000"/>
                <a:gd name="connsiteX16" fmla="*/ 7988 w 10000"/>
                <a:gd name="connsiteY16" fmla="*/ 3055 h 10000"/>
                <a:gd name="connsiteX17" fmla="*/ 8385 w 10000"/>
                <a:gd name="connsiteY17" fmla="*/ 3291 h 10000"/>
                <a:gd name="connsiteX18" fmla="*/ 8413 w 10000"/>
                <a:gd name="connsiteY18" fmla="*/ 3745 h 10000"/>
                <a:gd name="connsiteX19" fmla="*/ 9150 w 10000"/>
                <a:gd name="connsiteY19" fmla="*/ 4036 h 10000"/>
                <a:gd name="connsiteX20" fmla="*/ 9038 w 10000"/>
                <a:gd name="connsiteY20" fmla="*/ 4527 h 10000"/>
                <a:gd name="connsiteX21" fmla="*/ 9065 w 10000"/>
                <a:gd name="connsiteY21" fmla="*/ 4655 h 10000"/>
                <a:gd name="connsiteX22" fmla="*/ 9179 w 10000"/>
                <a:gd name="connsiteY22" fmla="*/ 4727 h 10000"/>
                <a:gd name="connsiteX23" fmla="*/ 8923 w 10000"/>
                <a:gd name="connsiteY23" fmla="*/ 4982 h 10000"/>
                <a:gd name="connsiteX24" fmla="*/ 8840 w 10000"/>
                <a:gd name="connsiteY24" fmla="*/ 5291 h 10000"/>
                <a:gd name="connsiteX25" fmla="*/ 9236 w 10000"/>
                <a:gd name="connsiteY25" fmla="*/ 5927 h 10000"/>
                <a:gd name="connsiteX26" fmla="*/ 9829 w 10000"/>
                <a:gd name="connsiteY26" fmla="*/ 6000 h 10000"/>
                <a:gd name="connsiteX27" fmla="*/ 10000 w 10000"/>
                <a:gd name="connsiteY27" fmla="*/ 6309 h 10000"/>
                <a:gd name="connsiteX28" fmla="*/ 9829 w 10000"/>
                <a:gd name="connsiteY28" fmla="*/ 6927 h 10000"/>
                <a:gd name="connsiteX29" fmla="*/ 8951 w 10000"/>
                <a:gd name="connsiteY29" fmla="*/ 7473 h 10000"/>
                <a:gd name="connsiteX30" fmla="*/ 9179 w 10000"/>
                <a:gd name="connsiteY30" fmla="*/ 8455 h 10000"/>
                <a:gd name="connsiteX31" fmla="*/ 8840 w 10000"/>
                <a:gd name="connsiteY31" fmla="*/ 8873 h 10000"/>
                <a:gd name="connsiteX32" fmla="*/ 9065 w 10000"/>
                <a:gd name="connsiteY32" fmla="*/ 9327 h 10000"/>
                <a:gd name="connsiteX33" fmla="*/ 7988 w 10000"/>
                <a:gd name="connsiteY33" fmla="*/ 9182 h 10000"/>
                <a:gd name="connsiteX34" fmla="*/ 7451 w 10000"/>
                <a:gd name="connsiteY34" fmla="*/ 9327 h 10000"/>
                <a:gd name="connsiteX35" fmla="*/ 6912 w 10000"/>
                <a:gd name="connsiteY35" fmla="*/ 9327 h 10000"/>
                <a:gd name="connsiteX36" fmla="*/ 6261 w 10000"/>
                <a:gd name="connsiteY36" fmla="*/ 9455 h 10000"/>
                <a:gd name="connsiteX37" fmla="*/ 5610 w 10000"/>
                <a:gd name="connsiteY37" fmla="*/ 9545 h 10000"/>
                <a:gd name="connsiteX38" fmla="*/ 4618 w 10000"/>
                <a:gd name="connsiteY38" fmla="*/ 10000 h 10000"/>
                <a:gd name="connsiteX39" fmla="*/ 4646 w 10000"/>
                <a:gd name="connsiteY39" fmla="*/ 9109 h 10000"/>
                <a:gd name="connsiteX40" fmla="*/ 4447 w 10000"/>
                <a:gd name="connsiteY40" fmla="*/ 8873 h 10000"/>
                <a:gd name="connsiteX41" fmla="*/ 3768 w 10000"/>
                <a:gd name="connsiteY41" fmla="*/ 8782 h 10000"/>
                <a:gd name="connsiteX42" fmla="*/ 3542 w 10000"/>
                <a:gd name="connsiteY42" fmla="*/ 8400 h 10000"/>
                <a:gd name="connsiteX43" fmla="*/ 3115 w 10000"/>
                <a:gd name="connsiteY43" fmla="*/ 8382 h 10000"/>
                <a:gd name="connsiteX44" fmla="*/ 2917 w 10000"/>
                <a:gd name="connsiteY44" fmla="*/ 8473 h 10000"/>
                <a:gd name="connsiteX45" fmla="*/ 2040 w 10000"/>
                <a:gd name="connsiteY45" fmla="*/ 8382 h 10000"/>
                <a:gd name="connsiteX46" fmla="*/ 1700 w 10000"/>
                <a:gd name="connsiteY46" fmla="*/ 8564 h 10000"/>
                <a:gd name="connsiteX47" fmla="*/ 2267 w 10000"/>
                <a:gd name="connsiteY47" fmla="*/ 8173 h 10000"/>
                <a:gd name="connsiteX48" fmla="*/ 2583 w 10000"/>
                <a:gd name="connsiteY48" fmla="*/ 8144 h 10000"/>
                <a:gd name="connsiteX49" fmla="*/ 1901 w 10000"/>
                <a:gd name="connsiteY49" fmla="*/ 7254 h 10000"/>
                <a:gd name="connsiteX50" fmla="*/ 1144 w 10000"/>
                <a:gd name="connsiteY50" fmla="*/ 6840 h 10000"/>
                <a:gd name="connsiteX51" fmla="*/ 1112 w 10000"/>
                <a:gd name="connsiteY51" fmla="*/ 6778 h 10000"/>
                <a:gd name="connsiteX52" fmla="*/ 607 w 10000"/>
                <a:gd name="connsiteY52" fmla="*/ 6726 h 10000"/>
                <a:gd name="connsiteX53" fmla="*/ 1039 w 10000"/>
                <a:gd name="connsiteY53" fmla="*/ 6877 h 10000"/>
                <a:gd name="connsiteX54" fmla="*/ 619 w 10000"/>
                <a:gd name="connsiteY54" fmla="*/ 6295 h 10000"/>
                <a:gd name="connsiteX55" fmla="*/ 0 w 10000"/>
                <a:gd name="connsiteY55" fmla="*/ 6309 h 10000"/>
                <a:gd name="connsiteX56" fmla="*/ 227 w 10000"/>
                <a:gd name="connsiteY56" fmla="*/ 5891 h 10000"/>
                <a:gd name="connsiteX57" fmla="*/ 850 w 10000"/>
                <a:gd name="connsiteY57" fmla="*/ 5618 h 10000"/>
                <a:gd name="connsiteX58" fmla="*/ 963 w 10000"/>
                <a:gd name="connsiteY58" fmla="*/ 5218 h 10000"/>
                <a:gd name="connsiteX59" fmla="*/ 878 w 10000"/>
                <a:gd name="connsiteY59" fmla="*/ 4800 h 10000"/>
                <a:gd name="connsiteX60" fmla="*/ 1274 w 10000"/>
                <a:gd name="connsiteY60" fmla="*/ 4582 h 10000"/>
                <a:gd name="connsiteX61" fmla="*/ 737 w 10000"/>
                <a:gd name="connsiteY61" fmla="*/ 3982 h 10000"/>
                <a:gd name="connsiteX62" fmla="*/ 1304 w 10000"/>
                <a:gd name="connsiteY62" fmla="*/ 3182 h 10000"/>
                <a:gd name="connsiteX63" fmla="*/ 680 w 10000"/>
                <a:gd name="connsiteY63" fmla="*/ 2636 h 10000"/>
                <a:gd name="connsiteX64" fmla="*/ 850 w 10000"/>
                <a:gd name="connsiteY64" fmla="*/ 2036 h 10000"/>
                <a:gd name="connsiteX65" fmla="*/ 227 w 10000"/>
                <a:gd name="connsiteY65" fmla="*/ 1491 h 10000"/>
                <a:gd name="connsiteX66" fmla="*/ 227 w 10000"/>
                <a:gd name="connsiteY66" fmla="*/ 69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0000" h="10000">
                  <a:moveTo>
                    <a:pt x="227" y="691"/>
                  </a:moveTo>
                  <a:lnTo>
                    <a:pt x="2577" y="73"/>
                  </a:lnTo>
                  <a:lnTo>
                    <a:pt x="3654" y="0"/>
                  </a:lnTo>
                  <a:lnTo>
                    <a:pt x="4306" y="18"/>
                  </a:lnTo>
                  <a:lnTo>
                    <a:pt x="4533" y="145"/>
                  </a:lnTo>
                  <a:cubicBezTo>
                    <a:pt x="4598" y="200"/>
                    <a:pt x="4664" y="254"/>
                    <a:pt x="4730" y="309"/>
                  </a:cubicBezTo>
                  <a:cubicBezTo>
                    <a:pt x="4740" y="370"/>
                    <a:pt x="4749" y="430"/>
                    <a:pt x="4759" y="491"/>
                  </a:cubicBezTo>
                  <a:lnTo>
                    <a:pt x="4986" y="545"/>
                  </a:lnTo>
                  <a:lnTo>
                    <a:pt x="5269" y="927"/>
                  </a:lnTo>
                  <a:cubicBezTo>
                    <a:pt x="5279" y="1115"/>
                    <a:pt x="5288" y="1303"/>
                    <a:pt x="5298" y="1491"/>
                  </a:cubicBezTo>
                  <a:lnTo>
                    <a:pt x="5581" y="1709"/>
                  </a:lnTo>
                  <a:lnTo>
                    <a:pt x="6261" y="1709"/>
                  </a:lnTo>
                  <a:lnTo>
                    <a:pt x="6686" y="2509"/>
                  </a:lnTo>
                  <a:lnTo>
                    <a:pt x="6686" y="3055"/>
                  </a:lnTo>
                  <a:lnTo>
                    <a:pt x="6998" y="3418"/>
                  </a:lnTo>
                  <a:lnTo>
                    <a:pt x="7308" y="3418"/>
                  </a:lnTo>
                  <a:lnTo>
                    <a:pt x="7988" y="3055"/>
                  </a:lnTo>
                  <a:lnTo>
                    <a:pt x="8385" y="3291"/>
                  </a:lnTo>
                  <a:cubicBezTo>
                    <a:pt x="8394" y="3442"/>
                    <a:pt x="8404" y="3594"/>
                    <a:pt x="8413" y="3745"/>
                  </a:cubicBezTo>
                  <a:lnTo>
                    <a:pt x="9150" y="4036"/>
                  </a:lnTo>
                  <a:cubicBezTo>
                    <a:pt x="9112" y="4200"/>
                    <a:pt x="9075" y="4363"/>
                    <a:pt x="9038" y="4527"/>
                  </a:cubicBezTo>
                  <a:cubicBezTo>
                    <a:pt x="9046" y="4570"/>
                    <a:pt x="9057" y="4612"/>
                    <a:pt x="9065" y="4655"/>
                  </a:cubicBezTo>
                  <a:lnTo>
                    <a:pt x="9179" y="4727"/>
                  </a:lnTo>
                  <a:lnTo>
                    <a:pt x="8923" y="4982"/>
                  </a:lnTo>
                  <a:cubicBezTo>
                    <a:pt x="8896" y="5085"/>
                    <a:pt x="8867" y="5188"/>
                    <a:pt x="8840" y="5291"/>
                  </a:cubicBezTo>
                  <a:lnTo>
                    <a:pt x="9236" y="5927"/>
                  </a:lnTo>
                  <a:lnTo>
                    <a:pt x="9829" y="6000"/>
                  </a:lnTo>
                  <a:lnTo>
                    <a:pt x="10000" y="6309"/>
                  </a:lnTo>
                  <a:lnTo>
                    <a:pt x="9829" y="6927"/>
                  </a:lnTo>
                  <a:lnTo>
                    <a:pt x="8951" y="7473"/>
                  </a:lnTo>
                  <a:lnTo>
                    <a:pt x="9179" y="8455"/>
                  </a:lnTo>
                  <a:lnTo>
                    <a:pt x="8840" y="8873"/>
                  </a:lnTo>
                  <a:lnTo>
                    <a:pt x="9065" y="9327"/>
                  </a:lnTo>
                  <a:lnTo>
                    <a:pt x="7988" y="9182"/>
                  </a:lnTo>
                  <a:lnTo>
                    <a:pt x="7451" y="9327"/>
                  </a:lnTo>
                  <a:lnTo>
                    <a:pt x="6912" y="9327"/>
                  </a:lnTo>
                  <a:lnTo>
                    <a:pt x="6261" y="9455"/>
                  </a:lnTo>
                  <a:lnTo>
                    <a:pt x="5610" y="9545"/>
                  </a:lnTo>
                  <a:lnTo>
                    <a:pt x="4618" y="10000"/>
                  </a:lnTo>
                  <a:cubicBezTo>
                    <a:pt x="4627" y="9703"/>
                    <a:pt x="4637" y="9406"/>
                    <a:pt x="4646" y="9109"/>
                  </a:cubicBezTo>
                  <a:cubicBezTo>
                    <a:pt x="4581" y="9030"/>
                    <a:pt x="4515" y="8952"/>
                    <a:pt x="4447" y="8873"/>
                  </a:cubicBezTo>
                  <a:lnTo>
                    <a:pt x="3768" y="8782"/>
                  </a:lnTo>
                  <a:lnTo>
                    <a:pt x="3542" y="8400"/>
                  </a:lnTo>
                  <a:lnTo>
                    <a:pt x="3115" y="8382"/>
                  </a:lnTo>
                  <a:lnTo>
                    <a:pt x="2917" y="8473"/>
                  </a:lnTo>
                  <a:lnTo>
                    <a:pt x="2040" y="8382"/>
                  </a:lnTo>
                  <a:lnTo>
                    <a:pt x="1700" y="8564"/>
                  </a:lnTo>
                  <a:cubicBezTo>
                    <a:pt x="1644" y="8794"/>
                    <a:pt x="2324" y="7943"/>
                    <a:pt x="2267" y="8173"/>
                  </a:cubicBezTo>
                  <a:lnTo>
                    <a:pt x="2583" y="8144"/>
                  </a:lnTo>
                  <a:cubicBezTo>
                    <a:pt x="2364" y="8005"/>
                    <a:pt x="2290" y="7400"/>
                    <a:pt x="1901" y="7254"/>
                  </a:cubicBezTo>
                  <a:cubicBezTo>
                    <a:pt x="1512" y="7108"/>
                    <a:pt x="1118" y="6933"/>
                    <a:pt x="1144" y="6840"/>
                  </a:cubicBezTo>
                  <a:cubicBezTo>
                    <a:pt x="1133" y="6819"/>
                    <a:pt x="1123" y="6799"/>
                    <a:pt x="1112" y="6778"/>
                  </a:cubicBezTo>
                  <a:lnTo>
                    <a:pt x="607" y="6726"/>
                  </a:lnTo>
                  <a:lnTo>
                    <a:pt x="1039" y="6877"/>
                  </a:lnTo>
                  <a:lnTo>
                    <a:pt x="619" y="6295"/>
                  </a:lnTo>
                  <a:lnTo>
                    <a:pt x="0" y="6309"/>
                  </a:lnTo>
                  <a:cubicBezTo>
                    <a:pt x="76" y="6170"/>
                    <a:pt x="152" y="6030"/>
                    <a:pt x="227" y="5891"/>
                  </a:cubicBezTo>
                  <a:lnTo>
                    <a:pt x="850" y="5618"/>
                  </a:lnTo>
                  <a:cubicBezTo>
                    <a:pt x="888" y="5485"/>
                    <a:pt x="925" y="5351"/>
                    <a:pt x="963" y="5218"/>
                  </a:cubicBezTo>
                  <a:cubicBezTo>
                    <a:pt x="936" y="5079"/>
                    <a:pt x="905" y="4939"/>
                    <a:pt x="878" y="4800"/>
                  </a:cubicBezTo>
                  <a:lnTo>
                    <a:pt x="1274" y="4582"/>
                  </a:lnTo>
                  <a:lnTo>
                    <a:pt x="737" y="3982"/>
                  </a:lnTo>
                  <a:lnTo>
                    <a:pt x="1304" y="3182"/>
                  </a:lnTo>
                  <a:lnTo>
                    <a:pt x="680" y="2636"/>
                  </a:lnTo>
                  <a:cubicBezTo>
                    <a:pt x="737" y="2436"/>
                    <a:pt x="793" y="2236"/>
                    <a:pt x="850" y="2036"/>
                  </a:cubicBezTo>
                  <a:lnTo>
                    <a:pt x="227" y="1491"/>
                  </a:lnTo>
                  <a:lnTo>
                    <a:pt x="227" y="691"/>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0" name="AL"/>
            <p:cNvSpPr>
              <a:spLocks noChangeAspect="1"/>
            </p:cNvSpPr>
            <p:nvPr/>
          </p:nvSpPr>
          <p:spPr bwMode="auto">
            <a:xfrm>
              <a:off x="6745288" y="5126038"/>
              <a:ext cx="276225" cy="419100"/>
            </a:xfrm>
            <a:custGeom>
              <a:avLst/>
              <a:gdLst>
                <a:gd name="T0" fmla="*/ 14 w 188"/>
                <a:gd name="T1" fmla="*/ 80 h 353"/>
                <a:gd name="T2" fmla="*/ 26 w 188"/>
                <a:gd name="T3" fmla="*/ 90 h 353"/>
                <a:gd name="T4" fmla="*/ 26 w 188"/>
                <a:gd name="T5" fmla="*/ 106 h 353"/>
                <a:gd name="T6" fmla="*/ 24 w 188"/>
                <a:gd name="T7" fmla="*/ 116 h 353"/>
                <a:gd name="T8" fmla="*/ 17 w 188"/>
                <a:gd name="T9" fmla="*/ 130 h 353"/>
                <a:gd name="T10" fmla="*/ 17 w 188"/>
                <a:gd name="T11" fmla="*/ 164 h 353"/>
                <a:gd name="T12" fmla="*/ 22 w 188"/>
                <a:gd name="T13" fmla="*/ 177 h 353"/>
                <a:gd name="T14" fmla="*/ 5 w 188"/>
                <a:gd name="T15" fmla="*/ 205 h 353"/>
                <a:gd name="T16" fmla="*/ 9 w 188"/>
                <a:gd name="T17" fmla="*/ 211 h 353"/>
                <a:gd name="T18" fmla="*/ 0 w 188"/>
                <a:gd name="T19" fmla="*/ 226 h 353"/>
                <a:gd name="T20" fmla="*/ 8 w 188"/>
                <a:gd name="T21" fmla="*/ 242 h 353"/>
                <a:gd name="T22" fmla="*/ 9 w 188"/>
                <a:gd name="T23" fmla="*/ 253 h 353"/>
                <a:gd name="T24" fmla="*/ 14 w 188"/>
                <a:gd name="T25" fmla="*/ 239 h 353"/>
                <a:gd name="T26" fmla="*/ 28 w 188"/>
                <a:gd name="T27" fmla="*/ 258 h 353"/>
                <a:gd name="T28" fmla="*/ 26 w 188"/>
                <a:gd name="T29" fmla="*/ 276 h 353"/>
                <a:gd name="T30" fmla="*/ 19 w 188"/>
                <a:gd name="T31" fmla="*/ 285 h 353"/>
                <a:gd name="T32" fmla="*/ 28 w 188"/>
                <a:gd name="T33" fmla="*/ 300 h 353"/>
                <a:gd name="T34" fmla="*/ 40 w 188"/>
                <a:gd name="T35" fmla="*/ 306 h 353"/>
                <a:gd name="T36" fmla="*/ 59 w 188"/>
                <a:gd name="T37" fmla="*/ 319 h 353"/>
                <a:gd name="T38" fmla="*/ 75 w 188"/>
                <a:gd name="T39" fmla="*/ 335 h 353"/>
                <a:gd name="T40" fmla="*/ 78 w 188"/>
                <a:gd name="T41" fmla="*/ 345 h 353"/>
                <a:gd name="T42" fmla="*/ 97 w 188"/>
                <a:gd name="T43" fmla="*/ 353 h 353"/>
                <a:gd name="T44" fmla="*/ 113 w 188"/>
                <a:gd name="T45" fmla="*/ 345 h 353"/>
                <a:gd name="T46" fmla="*/ 133 w 188"/>
                <a:gd name="T47" fmla="*/ 332 h 353"/>
                <a:gd name="T48" fmla="*/ 143 w 188"/>
                <a:gd name="T49" fmla="*/ 309 h 353"/>
                <a:gd name="T50" fmla="*/ 152 w 188"/>
                <a:gd name="T51" fmla="*/ 295 h 353"/>
                <a:gd name="T52" fmla="*/ 169 w 188"/>
                <a:gd name="T53" fmla="*/ 261 h 353"/>
                <a:gd name="T54" fmla="*/ 174 w 188"/>
                <a:gd name="T55" fmla="*/ 235 h 353"/>
                <a:gd name="T56" fmla="*/ 176 w 188"/>
                <a:gd name="T57" fmla="*/ 211 h 353"/>
                <a:gd name="T58" fmla="*/ 188 w 188"/>
                <a:gd name="T59" fmla="*/ 195 h 353"/>
                <a:gd name="T60" fmla="*/ 169 w 188"/>
                <a:gd name="T61" fmla="*/ 189 h 353"/>
                <a:gd name="T62" fmla="*/ 162 w 188"/>
                <a:gd name="T63" fmla="*/ 180 h 353"/>
                <a:gd name="T64" fmla="*/ 152 w 188"/>
                <a:gd name="T65" fmla="*/ 182 h 353"/>
                <a:gd name="T66" fmla="*/ 136 w 188"/>
                <a:gd name="T67" fmla="*/ 174 h 353"/>
                <a:gd name="T68" fmla="*/ 132 w 188"/>
                <a:gd name="T69" fmla="*/ 150 h 353"/>
                <a:gd name="T70" fmla="*/ 127 w 188"/>
                <a:gd name="T71" fmla="*/ 133 h 353"/>
                <a:gd name="T72" fmla="*/ 136 w 188"/>
                <a:gd name="T73" fmla="*/ 114 h 353"/>
                <a:gd name="T74" fmla="*/ 136 w 188"/>
                <a:gd name="T75" fmla="*/ 59 h 353"/>
                <a:gd name="T76" fmla="*/ 136 w 188"/>
                <a:gd name="T77" fmla="*/ 40 h 353"/>
                <a:gd name="T78" fmla="*/ 127 w 188"/>
                <a:gd name="T79" fmla="*/ 29 h 353"/>
                <a:gd name="T80" fmla="*/ 110 w 188"/>
                <a:gd name="T81" fmla="*/ 27 h 353"/>
                <a:gd name="T82" fmla="*/ 99 w 188"/>
                <a:gd name="T83" fmla="*/ 22 h 353"/>
                <a:gd name="T84" fmla="*/ 89 w 188"/>
                <a:gd name="T85" fmla="*/ 3 h 353"/>
                <a:gd name="T86" fmla="*/ 78 w 188"/>
                <a:gd name="T87" fmla="*/ 0 h 353"/>
                <a:gd name="T88" fmla="*/ 72 w 188"/>
                <a:gd name="T89" fmla="*/ 9 h 353"/>
                <a:gd name="T90" fmla="*/ 71 w 188"/>
                <a:gd name="T91" fmla="*/ 3 h 353"/>
                <a:gd name="T92" fmla="*/ 52 w 188"/>
                <a:gd name="T93" fmla="*/ 6 h 353"/>
                <a:gd name="T94" fmla="*/ 42 w 188"/>
                <a:gd name="T95" fmla="*/ 0 h 353"/>
                <a:gd name="T96" fmla="*/ 28 w 188"/>
                <a:gd name="T97" fmla="*/ 10 h 353"/>
                <a:gd name="T98" fmla="*/ 26 w 188"/>
                <a:gd name="T99" fmla="*/ 43 h 353"/>
                <a:gd name="T100" fmla="*/ 22 w 188"/>
                <a:gd name="T101" fmla="*/ 63 h 353"/>
                <a:gd name="T102" fmla="*/ 14 w 188"/>
                <a:gd name="T103" fmla="*/ 8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353">
                  <a:moveTo>
                    <a:pt x="14" y="80"/>
                  </a:moveTo>
                  <a:lnTo>
                    <a:pt x="26" y="90"/>
                  </a:lnTo>
                  <a:lnTo>
                    <a:pt x="26" y="106"/>
                  </a:lnTo>
                  <a:lnTo>
                    <a:pt x="24" y="116"/>
                  </a:lnTo>
                  <a:lnTo>
                    <a:pt x="17" y="130"/>
                  </a:lnTo>
                  <a:lnTo>
                    <a:pt x="17" y="164"/>
                  </a:lnTo>
                  <a:lnTo>
                    <a:pt x="22" y="177"/>
                  </a:lnTo>
                  <a:lnTo>
                    <a:pt x="5" y="205"/>
                  </a:lnTo>
                  <a:lnTo>
                    <a:pt x="9" y="211"/>
                  </a:lnTo>
                  <a:lnTo>
                    <a:pt x="0" y="226"/>
                  </a:lnTo>
                  <a:lnTo>
                    <a:pt x="8" y="242"/>
                  </a:lnTo>
                  <a:lnTo>
                    <a:pt x="9" y="253"/>
                  </a:lnTo>
                  <a:lnTo>
                    <a:pt x="14" y="239"/>
                  </a:lnTo>
                  <a:lnTo>
                    <a:pt x="28" y="258"/>
                  </a:lnTo>
                  <a:lnTo>
                    <a:pt x="26" y="276"/>
                  </a:lnTo>
                  <a:lnTo>
                    <a:pt x="19" y="285"/>
                  </a:lnTo>
                  <a:lnTo>
                    <a:pt x="28" y="300"/>
                  </a:lnTo>
                  <a:lnTo>
                    <a:pt x="40" y="306"/>
                  </a:lnTo>
                  <a:lnTo>
                    <a:pt x="59" y="319"/>
                  </a:lnTo>
                  <a:lnTo>
                    <a:pt x="75" y="335"/>
                  </a:lnTo>
                  <a:lnTo>
                    <a:pt x="78" y="345"/>
                  </a:lnTo>
                  <a:lnTo>
                    <a:pt x="97" y="353"/>
                  </a:lnTo>
                  <a:lnTo>
                    <a:pt x="113" y="345"/>
                  </a:lnTo>
                  <a:lnTo>
                    <a:pt x="133" y="332"/>
                  </a:lnTo>
                  <a:lnTo>
                    <a:pt x="143" y="309"/>
                  </a:lnTo>
                  <a:lnTo>
                    <a:pt x="152" y="295"/>
                  </a:lnTo>
                  <a:lnTo>
                    <a:pt x="169" y="261"/>
                  </a:lnTo>
                  <a:lnTo>
                    <a:pt x="174" y="235"/>
                  </a:lnTo>
                  <a:lnTo>
                    <a:pt x="176" y="211"/>
                  </a:lnTo>
                  <a:lnTo>
                    <a:pt x="188" y="195"/>
                  </a:lnTo>
                  <a:lnTo>
                    <a:pt x="169" y="189"/>
                  </a:lnTo>
                  <a:lnTo>
                    <a:pt x="162" y="180"/>
                  </a:lnTo>
                  <a:lnTo>
                    <a:pt x="152" y="182"/>
                  </a:lnTo>
                  <a:lnTo>
                    <a:pt x="136" y="174"/>
                  </a:lnTo>
                  <a:lnTo>
                    <a:pt x="132" y="150"/>
                  </a:lnTo>
                  <a:lnTo>
                    <a:pt x="127" y="133"/>
                  </a:lnTo>
                  <a:lnTo>
                    <a:pt x="136" y="114"/>
                  </a:lnTo>
                  <a:lnTo>
                    <a:pt x="136" y="59"/>
                  </a:lnTo>
                  <a:lnTo>
                    <a:pt x="136" y="40"/>
                  </a:lnTo>
                  <a:lnTo>
                    <a:pt x="127" y="29"/>
                  </a:lnTo>
                  <a:lnTo>
                    <a:pt x="110" y="27"/>
                  </a:lnTo>
                  <a:lnTo>
                    <a:pt x="99" y="22"/>
                  </a:lnTo>
                  <a:lnTo>
                    <a:pt x="89" y="3"/>
                  </a:lnTo>
                  <a:lnTo>
                    <a:pt x="78" y="0"/>
                  </a:lnTo>
                  <a:lnTo>
                    <a:pt x="72" y="9"/>
                  </a:lnTo>
                  <a:lnTo>
                    <a:pt x="71" y="3"/>
                  </a:lnTo>
                  <a:lnTo>
                    <a:pt x="52" y="6"/>
                  </a:lnTo>
                  <a:lnTo>
                    <a:pt x="42" y="0"/>
                  </a:lnTo>
                  <a:lnTo>
                    <a:pt x="28" y="10"/>
                  </a:lnTo>
                  <a:lnTo>
                    <a:pt x="26" y="43"/>
                  </a:lnTo>
                  <a:lnTo>
                    <a:pt x="22" y="63"/>
                  </a:lnTo>
                  <a:lnTo>
                    <a:pt x="14" y="80"/>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1" name="BA"/>
            <p:cNvSpPr>
              <a:spLocks noChangeAspect="1"/>
            </p:cNvSpPr>
            <p:nvPr/>
          </p:nvSpPr>
          <p:spPr bwMode="auto">
            <a:xfrm>
              <a:off x="6326188" y="4695825"/>
              <a:ext cx="444500" cy="369888"/>
            </a:xfrm>
            <a:custGeom>
              <a:avLst/>
              <a:gdLst>
                <a:gd name="T0" fmla="*/ 277 w 300"/>
                <a:gd name="T1" fmla="*/ 44 h 313"/>
                <a:gd name="T2" fmla="*/ 262 w 300"/>
                <a:gd name="T3" fmla="*/ 44 h 313"/>
                <a:gd name="T4" fmla="*/ 245 w 300"/>
                <a:gd name="T5" fmla="*/ 31 h 313"/>
                <a:gd name="T6" fmla="*/ 224 w 300"/>
                <a:gd name="T7" fmla="*/ 18 h 313"/>
                <a:gd name="T8" fmla="*/ 197 w 300"/>
                <a:gd name="T9" fmla="*/ 34 h 313"/>
                <a:gd name="T10" fmla="*/ 173 w 300"/>
                <a:gd name="T11" fmla="*/ 27 h 313"/>
                <a:gd name="T12" fmla="*/ 152 w 300"/>
                <a:gd name="T13" fmla="*/ 38 h 313"/>
                <a:gd name="T14" fmla="*/ 150 w 300"/>
                <a:gd name="T15" fmla="*/ 27 h 313"/>
                <a:gd name="T16" fmla="*/ 131 w 300"/>
                <a:gd name="T17" fmla="*/ 26 h 313"/>
                <a:gd name="T18" fmla="*/ 109 w 300"/>
                <a:gd name="T19" fmla="*/ 0 h 313"/>
                <a:gd name="T20" fmla="*/ 74 w 300"/>
                <a:gd name="T21" fmla="*/ 43 h 313"/>
                <a:gd name="T22" fmla="*/ 21 w 300"/>
                <a:gd name="T23" fmla="*/ 23 h 313"/>
                <a:gd name="T24" fmla="*/ 0 w 300"/>
                <a:gd name="T25" fmla="*/ 30 h 313"/>
                <a:gd name="T26" fmla="*/ 0 w 300"/>
                <a:gd name="T27" fmla="*/ 44 h 313"/>
                <a:gd name="T28" fmla="*/ 57 w 300"/>
                <a:gd name="T29" fmla="*/ 111 h 313"/>
                <a:gd name="T30" fmla="*/ 71 w 300"/>
                <a:gd name="T31" fmla="*/ 155 h 313"/>
                <a:gd name="T32" fmla="*/ 101 w 300"/>
                <a:gd name="T33" fmla="*/ 181 h 313"/>
                <a:gd name="T34" fmla="*/ 114 w 300"/>
                <a:gd name="T35" fmla="*/ 176 h 313"/>
                <a:gd name="T36" fmla="*/ 188 w 300"/>
                <a:gd name="T37" fmla="*/ 266 h 313"/>
                <a:gd name="T38" fmla="*/ 193 w 300"/>
                <a:gd name="T39" fmla="*/ 286 h 313"/>
                <a:gd name="T40" fmla="*/ 188 w 300"/>
                <a:gd name="T41" fmla="*/ 299 h 313"/>
                <a:gd name="T42" fmla="*/ 193 w 300"/>
                <a:gd name="T43" fmla="*/ 313 h 313"/>
                <a:gd name="T44" fmla="*/ 215 w 300"/>
                <a:gd name="T45" fmla="*/ 300 h 313"/>
                <a:gd name="T46" fmla="*/ 231 w 300"/>
                <a:gd name="T47" fmla="*/ 294 h 313"/>
                <a:gd name="T48" fmla="*/ 231 w 300"/>
                <a:gd name="T49" fmla="*/ 265 h 313"/>
                <a:gd name="T50" fmla="*/ 253 w 300"/>
                <a:gd name="T51" fmla="*/ 245 h 313"/>
                <a:gd name="T52" fmla="*/ 262 w 300"/>
                <a:gd name="T53" fmla="*/ 223 h 313"/>
                <a:gd name="T54" fmla="*/ 285 w 300"/>
                <a:gd name="T55" fmla="*/ 213 h 313"/>
                <a:gd name="T56" fmla="*/ 288 w 300"/>
                <a:gd name="T57" fmla="*/ 188 h 313"/>
                <a:gd name="T58" fmla="*/ 285 w 300"/>
                <a:gd name="T59" fmla="*/ 164 h 313"/>
                <a:gd name="T60" fmla="*/ 296 w 300"/>
                <a:gd name="T61" fmla="*/ 154 h 313"/>
                <a:gd name="T62" fmla="*/ 276 w 300"/>
                <a:gd name="T63" fmla="*/ 121 h 313"/>
                <a:gd name="T64" fmla="*/ 300 w 300"/>
                <a:gd name="T65" fmla="*/ 74 h 313"/>
                <a:gd name="T66" fmla="*/ 277 w 300"/>
                <a:gd name="T67" fmla="*/ 44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13">
                  <a:moveTo>
                    <a:pt x="277" y="44"/>
                  </a:moveTo>
                  <a:lnTo>
                    <a:pt x="262" y="44"/>
                  </a:lnTo>
                  <a:lnTo>
                    <a:pt x="245" y="31"/>
                  </a:lnTo>
                  <a:lnTo>
                    <a:pt x="224" y="18"/>
                  </a:lnTo>
                  <a:lnTo>
                    <a:pt x="197" y="34"/>
                  </a:lnTo>
                  <a:lnTo>
                    <a:pt x="173" y="27"/>
                  </a:lnTo>
                  <a:lnTo>
                    <a:pt x="152" y="38"/>
                  </a:lnTo>
                  <a:lnTo>
                    <a:pt x="150" y="27"/>
                  </a:lnTo>
                  <a:lnTo>
                    <a:pt x="131" y="26"/>
                  </a:lnTo>
                  <a:lnTo>
                    <a:pt x="109" y="0"/>
                  </a:lnTo>
                  <a:lnTo>
                    <a:pt x="74" y="43"/>
                  </a:lnTo>
                  <a:lnTo>
                    <a:pt x="21" y="23"/>
                  </a:lnTo>
                  <a:lnTo>
                    <a:pt x="0" y="30"/>
                  </a:lnTo>
                  <a:lnTo>
                    <a:pt x="0" y="44"/>
                  </a:lnTo>
                  <a:lnTo>
                    <a:pt x="57" y="111"/>
                  </a:lnTo>
                  <a:lnTo>
                    <a:pt x="71" y="155"/>
                  </a:lnTo>
                  <a:lnTo>
                    <a:pt x="101" y="181"/>
                  </a:lnTo>
                  <a:lnTo>
                    <a:pt x="114" y="176"/>
                  </a:lnTo>
                  <a:lnTo>
                    <a:pt x="188" y="266"/>
                  </a:lnTo>
                  <a:lnTo>
                    <a:pt x="193" y="286"/>
                  </a:lnTo>
                  <a:lnTo>
                    <a:pt x="188" y="299"/>
                  </a:lnTo>
                  <a:lnTo>
                    <a:pt x="193" y="313"/>
                  </a:lnTo>
                  <a:lnTo>
                    <a:pt x="215" y="300"/>
                  </a:lnTo>
                  <a:lnTo>
                    <a:pt x="231" y="294"/>
                  </a:lnTo>
                  <a:lnTo>
                    <a:pt x="231" y="265"/>
                  </a:lnTo>
                  <a:lnTo>
                    <a:pt x="253" y="245"/>
                  </a:lnTo>
                  <a:lnTo>
                    <a:pt x="262" y="223"/>
                  </a:lnTo>
                  <a:lnTo>
                    <a:pt x="285" y="213"/>
                  </a:lnTo>
                  <a:lnTo>
                    <a:pt x="288" y="188"/>
                  </a:lnTo>
                  <a:lnTo>
                    <a:pt x="285" y="164"/>
                  </a:lnTo>
                  <a:lnTo>
                    <a:pt x="296" y="154"/>
                  </a:lnTo>
                  <a:lnTo>
                    <a:pt x="276" y="121"/>
                  </a:lnTo>
                  <a:lnTo>
                    <a:pt x="300" y="74"/>
                  </a:lnTo>
                  <a:lnTo>
                    <a:pt x="277" y="44"/>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nvGrpSpPr>
            <p:cNvPr id="12" name="IE"/>
            <p:cNvGrpSpPr/>
            <p:nvPr/>
          </p:nvGrpSpPr>
          <p:grpSpPr>
            <a:xfrm>
              <a:off x="3801983" y="2760668"/>
              <a:ext cx="611448" cy="468313"/>
              <a:chOff x="754064" y="3078843"/>
              <a:chExt cx="611449" cy="468313"/>
            </a:xfrm>
            <a:solidFill>
              <a:schemeClr val="bg1">
                <a:lumMod val="95000"/>
              </a:schemeClr>
            </a:solidFill>
            <a:effectLst/>
          </p:grpSpPr>
          <p:sp>
            <p:nvSpPr>
              <p:cNvPr id="103" name="Freeform 575"/>
              <p:cNvSpPr>
                <a:spLocks noChangeAspect="1"/>
              </p:cNvSpPr>
              <p:nvPr/>
            </p:nvSpPr>
            <p:spPr bwMode="auto">
              <a:xfrm>
                <a:off x="754064" y="3078843"/>
                <a:ext cx="566737" cy="468313"/>
              </a:xfrm>
              <a:custGeom>
                <a:avLst/>
                <a:gdLst>
                  <a:gd name="T0" fmla="*/ 137 w 384"/>
                  <a:gd name="T1" fmla="*/ 163 h 392"/>
                  <a:gd name="T2" fmla="*/ 135 w 384"/>
                  <a:gd name="T3" fmla="*/ 198 h 392"/>
                  <a:gd name="T4" fmla="*/ 109 w 384"/>
                  <a:gd name="T5" fmla="*/ 192 h 392"/>
                  <a:gd name="T6" fmla="*/ 80 w 384"/>
                  <a:gd name="T7" fmla="*/ 237 h 392"/>
                  <a:gd name="T8" fmla="*/ 42 w 384"/>
                  <a:gd name="T9" fmla="*/ 272 h 392"/>
                  <a:gd name="T10" fmla="*/ 17 w 384"/>
                  <a:gd name="T11" fmla="*/ 277 h 392"/>
                  <a:gd name="T12" fmla="*/ 8 w 384"/>
                  <a:gd name="T13" fmla="*/ 286 h 392"/>
                  <a:gd name="T14" fmla="*/ 14 w 384"/>
                  <a:gd name="T15" fmla="*/ 313 h 392"/>
                  <a:gd name="T16" fmla="*/ 6 w 384"/>
                  <a:gd name="T17" fmla="*/ 347 h 392"/>
                  <a:gd name="T18" fmla="*/ 22 w 384"/>
                  <a:gd name="T19" fmla="*/ 347 h 392"/>
                  <a:gd name="T20" fmla="*/ 38 w 384"/>
                  <a:gd name="T21" fmla="*/ 346 h 392"/>
                  <a:gd name="T22" fmla="*/ 31 w 384"/>
                  <a:gd name="T23" fmla="*/ 371 h 392"/>
                  <a:gd name="T24" fmla="*/ 69 w 384"/>
                  <a:gd name="T25" fmla="*/ 380 h 392"/>
                  <a:gd name="T26" fmla="*/ 102 w 384"/>
                  <a:gd name="T27" fmla="*/ 392 h 392"/>
                  <a:gd name="T28" fmla="*/ 137 w 384"/>
                  <a:gd name="T29" fmla="*/ 371 h 392"/>
                  <a:gd name="T30" fmla="*/ 236 w 384"/>
                  <a:gd name="T31" fmla="*/ 380 h 392"/>
                  <a:gd name="T32" fmla="*/ 288 w 384"/>
                  <a:gd name="T33" fmla="*/ 343 h 392"/>
                  <a:gd name="T34" fmla="*/ 316 w 384"/>
                  <a:gd name="T35" fmla="*/ 313 h 392"/>
                  <a:gd name="T36" fmla="*/ 340 w 384"/>
                  <a:gd name="T37" fmla="*/ 277 h 392"/>
                  <a:gd name="T38" fmla="*/ 351 w 384"/>
                  <a:gd name="T39" fmla="*/ 192 h 392"/>
                  <a:gd name="T40" fmla="*/ 365 w 384"/>
                  <a:gd name="T41" fmla="*/ 152 h 392"/>
                  <a:gd name="T42" fmla="*/ 346 w 384"/>
                  <a:gd name="T43" fmla="*/ 108 h 392"/>
                  <a:gd name="T44" fmla="*/ 318 w 384"/>
                  <a:gd name="T45" fmla="*/ 99 h 392"/>
                  <a:gd name="T46" fmla="*/ 304 w 384"/>
                  <a:gd name="T47" fmla="*/ 58 h 392"/>
                  <a:gd name="T48" fmla="*/ 344 w 384"/>
                  <a:gd name="T49" fmla="*/ 0 h 392"/>
                  <a:gd name="T50" fmla="*/ 283 w 384"/>
                  <a:gd name="T51" fmla="*/ 6 h 392"/>
                  <a:gd name="T52" fmla="*/ 255 w 384"/>
                  <a:gd name="T53" fmla="*/ 27 h 392"/>
                  <a:gd name="T54" fmla="*/ 228 w 384"/>
                  <a:gd name="T55" fmla="*/ 31 h 392"/>
                  <a:gd name="T56" fmla="*/ 259 w 384"/>
                  <a:gd name="T57" fmla="*/ 62 h 392"/>
                  <a:gd name="T58" fmla="*/ 201 w 384"/>
                  <a:gd name="T59" fmla="*/ 71 h 392"/>
                  <a:gd name="T60" fmla="*/ 144 w 384"/>
                  <a:gd name="T61" fmla="*/ 45 h 392"/>
                  <a:gd name="T62" fmla="*/ 127 w 384"/>
                  <a:gd name="T63" fmla="*/ 77 h 392"/>
                  <a:gd name="T64" fmla="*/ 126 w 384"/>
                  <a:gd name="T65" fmla="*/ 95 h 392"/>
                  <a:gd name="T66" fmla="*/ 111 w 384"/>
                  <a:gd name="T67" fmla="*/ 126 h 392"/>
                  <a:gd name="T68" fmla="*/ 92 w 384"/>
                  <a:gd name="T69" fmla="*/ 158 h 392"/>
                  <a:gd name="T70" fmla="*/ 113 w 384"/>
                  <a:gd name="T71" fmla="*/ 179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92">
                    <a:moveTo>
                      <a:pt x="142" y="148"/>
                    </a:moveTo>
                    <a:lnTo>
                      <a:pt x="137" y="163"/>
                    </a:lnTo>
                    <a:lnTo>
                      <a:pt x="142" y="185"/>
                    </a:lnTo>
                    <a:lnTo>
                      <a:pt x="135" y="198"/>
                    </a:lnTo>
                    <a:lnTo>
                      <a:pt x="123" y="189"/>
                    </a:lnTo>
                    <a:lnTo>
                      <a:pt x="109" y="192"/>
                    </a:lnTo>
                    <a:lnTo>
                      <a:pt x="109" y="208"/>
                    </a:lnTo>
                    <a:lnTo>
                      <a:pt x="80" y="237"/>
                    </a:lnTo>
                    <a:lnTo>
                      <a:pt x="64" y="245"/>
                    </a:lnTo>
                    <a:lnTo>
                      <a:pt x="42" y="272"/>
                    </a:lnTo>
                    <a:lnTo>
                      <a:pt x="28" y="279"/>
                    </a:lnTo>
                    <a:lnTo>
                      <a:pt x="17" y="277"/>
                    </a:lnTo>
                    <a:lnTo>
                      <a:pt x="12" y="281"/>
                    </a:lnTo>
                    <a:lnTo>
                      <a:pt x="8" y="286"/>
                    </a:lnTo>
                    <a:lnTo>
                      <a:pt x="14" y="294"/>
                    </a:lnTo>
                    <a:lnTo>
                      <a:pt x="14" y="313"/>
                    </a:lnTo>
                    <a:lnTo>
                      <a:pt x="0" y="330"/>
                    </a:lnTo>
                    <a:lnTo>
                      <a:pt x="6" y="347"/>
                    </a:lnTo>
                    <a:lnTo>
                      <a:pt x="6" y="347"/>
                    </a:lnTo>
                    <a:lnTo>
                      <a:pt x="22" y="347"/>
                    </a:lnTo>
                    <a:lnTo>
                      <a:pt x="28" y="334"/>
                    </a:lnTo>
                    <a:lnTo>
                      <a:pt x="38" y="346"/>
                    </a:lnTo>
                    <a:lnTo>
                      <a:pt x="26" y="355"/>
                    </a:lnTo>
                    <a:lnTo>
                      <a:pt x="31" y="371"/>
                    </a:lnTo>
                    <a:lnTo>
                      <a:pt x="38" y="374"/>
                    </a:lnTo>
                    <a:lnTo>
                      <a:pt x="69" y="380"/>
                    </a:lnTo>
                    <a:lnTo>
                      <a:pt x="74" y="382"/>
                    </a:lnTo>
                    <a:lnTo>
                      <a:pt x="102" y="392"/>
                    </a:lnTo>
                    <a:lnTo>
                      <a:pt x="113" y="387"/>
                    </a:lnTo>
                    <a:lnTo>
                      <a:pt x="137" y="371"/>
                    </a:lnTo>
                    <a:lnTo>
                      <a:pt x="173" y="380"/>
                    </a:lnTo>
                    <a:lnTo>
                      <a:pt x="236" y="380"/>
                    </a:lnTo>
                    <a:lnTo>
                      <a:pt x="271" y="371"/>
                    </a:lnTo>
                    <a:lnTo>
                      <a:pt x="288" y="343"/>
                    </a:lnTo>
                    <a:lnTo>
                      <a:pt x="309" y="330"/>
                    </a:lnTo>
                    <a:lnTo>
                      <a:pt x="316" y="313"/>
                    </a:lnTo>
                    <a:lnTo>
                      <a:pt x="323" y="290"/>
                    </a:lnTo>
                    <a:lnTo>
                      <a:pt x="340" y="277"/>
                    </a:lnTo>
                    <a:lnTo>
                      <a:pt x="354" y="237"/>
                    </a:lnTo>
                    <a:lnTo>
                      <a:pt x="351" y="192"/>
                    </a:lnTo>
                    <a:lnTo>
                      <a:pt x="384" y="171"/>
                    </a:lnTo>
                    <a:lnTo>
                      <a:pt x="365" y="152"/>
                    </a:lnTo>
                    <a:lnTo>
                      <a:pt x="359" y="121"/>
                    </a:lnTo>
                    <a:lnTo>
                      <a:pt x="346" y="108"/>
                    </a:lnTo>
                    <a:lnTo>
                      <a:pt x="332" y="108"/>
                    </a:lnTo>
                    <a:lnTo>
                      <a:pt x="318" y="99"/>
                    </a:lnTo>
                    <a:lnTo>
                      <a:pt x="293" y="65"/>
                    </a:lnTo>
                    <a:lnTo>
                      <a:pt x="304" y="58"/>
                    </a:lnTo>
                    <a:lnTo>
                      <a:pt x="349" y="13"/>
                    </a:lnTo>
                    <a:lnTo>
                      <a:pt x="344" y="0"/>
                    </a:lnTo>
                    <a:lnTo>
                      <a:pt x="330" y="3"/>
                    </a:lnTo>
                    <a:lnTo>
                      <a:pt x="283" y="6"/>
                    </a:lnTo>
                    <a:lnTo>
                      <a:pt x="266" y="18"/>
                    </a:lnTo>
                    <a:lnTo>
                      <a:pt x="255" y="27"/>
                    </a:lnTo>
                    <a:lnTo>
                      <a:pt x="239" y="24"/>
                    </a:lnTo>
                    <a:lnTo>
                      <a:pt x="228" y="31"/>
                    </a:lnTo>
                    <a:lnTo>
                      <a:pt x="236" y="45"/>
                    </a:lnTo>
                    <a:lnTo>
                      <a:pt x="259" y="62"/>
                    </a:lnTo>
                    <a:lnTo>
                      <a:pt x="242" y="65"/>
                    </a:lnTo>
                    <a:lnTo>
                      <a:pt x="201" y="71"/>
                    </a:lnTo>
                    <a:lnTo>
                      <a:pt x="173" y="58"/>
                    </a:lnTo>
                    <a:lnTo>
                      <a:pt x="144" y="45"/>
                    </a:lnTo>
                    <a:lnTo>
                      <a:pt x="135" y="52"/>
                    </a:lnTo>
                    <a:lnTo>
                      <a:pt x="127" y="77"/>
                    </a:lnTo>
                    <a:lnTo>
                      <a:pt x="130" y="89"/>
                    </a:lnTo>
                    <a:lnTo>
                      <a:pt x="126" y="95"/>
                    </a:lnTo>
                    <a:lnTo>
                      <a:pt x="109" y="102"/>
                    </a:lnTo>
                    <a:lnTo>
                      <a:pt x="111" y="126"/>
                    </a:lnTo>
                    <a:lnTo>
                      <a:pt x="109" y="132"/>
                    </a:lnTo>
                    <a:lnTo>
                      <a:pt x="92" y="158"/>
                    </a:lnTo>
                    <a:lnTo>
                      <a:pt x="107" y="182"/>
                    </a:lnTo>
                    <a:lnTo>
                      <a:pt x="113" y="179"/>
                    </a:lnTo>
                    <a:lnTo>
                      <a:pt x="142" y="148"/>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04" name="Freeform 576"/>
              <p:cNvSpPr>
                <a:spLocks noChangeAspect="1"/>
              </p:cNvSpPr>
              <p:nvPr/>
            </p:nvSpPr>
            <p:spPr bwMode="auto">
              <a:xfrm>
                <a:off x="1182114" y="3116440"/>
                <a:ext cx="183399" cy="169877"/>
              </a:xfrm>
              <a:custGeom>
                <a:avLst/>
                <a:gdLst>
                  <a:gd name="T0" fmla="*/ 43 w 123"/>
                  <a:gd name="T1" fmla="*/ 0 h 140"/>
                  <a:gd name="T2" fmla="*/ 71 w 123"/>
                  <a:gd name="T3" fmla="*/ 0 h 140"/>
                  <a:gd name="T4" fmla="*/ 92 w 123"/>
                  <a:gd name="T5" fmla="*/ 5 h 140"/>
                  <a:gd name="T6" fmla="*/ 106 w 123"/>
                  <a:gd name="T7" fmla="*/ 28 h 140"/>
                  <a:gd name="T8" fmla="*/ 120 w 123"/>
                  <a:gd name="T9" fmla="*/ 65 h 140"/>
                  <a:gd name="T10" fmla="*/ 123 w 123"/>
                  <a:gd name="T11" fmla="*/ 96 h 140"/>
                  <a:gd name="T12" fmla="*/ 109 w 123"/>
                  <a:gd name="T13" fmla="*/ 112 h 140"/>
                  <a:gd name="T14" fmla="*/ 104 w 123"/>
                  <a:gd name="T15" fmla="*/ 133 h 140"/>
                  <a:gd name="T16" fmla="*/ 90 w 123"/>
                  <a:gd name="T17" fmla="*/ 140 h 140"/>
                  <a:gd name="T18" fmla="*/ 76 w 123"/>
                  <a:gd name="T19" fmla="*/ 122 h 140"/>
                  <a:gd name="T20" fmla="*/ 63 w 123"/>
                  <a:gd name="T21" fmla="*/ 88 h 140"/>
                  <a:gd name="T22" fmla="*/ 54 w 123"/>
                  <a:gd name="T23" fmla="*/ 75 h 140"/>
                  <a:gd name="T24" fmla="*/ 30 w 123"/>
                  <a:gd name="T25" fmla="*/ 72 h 140"/>
                  <a:gd name="T26" fmla="*/ 0 w 123"/>
                  <a:gd name="T27" fmla="*/ 37 h 140"/>
                  <a:gd name="T28" fmla="*/ 43 w 123"/>
                  <a:gd name="T2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140">
                    <a:moveTo>
                      <a:pt x="43" y="0"/>
                    </a:moveTo>
                    <a:lnTo>
                      <a:pt x="71" y="0"/>
                    </a:lnTo>
                    <a:lnTo>
                      <a:pt x="92" y="5"/>
                    </a:lnTo>
                    <a:lnTo>
                      <a:pt x="106" y="28"/>
                    </a:lnTo>
                    <a:lnTo>
                      <a:pt x="120" y="65"/>
                    </a:lnTo>
                    <a:lnTo>
                      <a:pt x="123" y="96"/>
                    </a:lnTo>
                    <a:lnTo>
                      <a:pt x="109" y="112"/>
                    </a:lnTo>
                    <a:lnTo>
                      <a:pt x="104" y="133"/>
                    </a:lnTo>
                    <a:lnTo>
                      <a:pt x="90" y="140"/>
                    </a:lnTo>
                    <a:lnTo>
                      <a:pt x="76" y="122"/>
                    </a:lnTo>
                    <a:lnTo>
                      <a:pt x="63" y="88"/>
                    </a:lnTo>
                    <a:lnTo>
                      <a:pt x="54" y="75"/>
                    </a:lnTo>
                    <a:lnTo>
                      <a:pt x="30" y="72"/>
                    </a:lnTo>
                    <a:lnTo>
                      <a:pt x="0" y="37"/>
                    </a:lnTo>
                    <a:lnTo>
                      <a:pt x="43"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sp>
          <p:nvSpPr>
            <p:cNvPr id="13" name="NI"/>
            <p:cNvSpPr>
              <a:spLocks noChangeAspect="1"/>
            </p:cNvSpPr>
            <p:nvPr/>
          </p:nvSpPr>
          <p:spPr bwMode="auto">
            <a:xfrm>
              <a:off x="4224338" y="2790825"/>
              <a:ext cx="192087" cy="169863"/>
            </a:xfrm>
            <a:custGeom>
              <a:avLst/>
              <a:gdLst>
                <a:gd name="T0" fmla="*/ 43 w 123"/>
                <a:gd name="T1" fmla="*/ 0 h 140"/>
                <a:gd name="T2" fmla="*/ 71 w 123"/>
                <a:gd name="T3" fmla="*/ 0 h 140"/>
                <a:gd name="T4" fmla="*/ 92 w 123"/>
                <a:gd name="T5" fmla="*/ 5 h 140"/>
                <a:gd name="T6" fmla="*/ 106 w 123"/>
                <a:gd name="T7" fmla="*/ 28 h 140"/>
                <a:gd name="T8" fmla="*/ 120 w 123"/>
                <a:gd name="T9" fmla="*/ 65 h 140"/>
                <a:gd name="T10" fmla="*/ 123 w 123"/>
                <a:gd name="T11" fmla="*/ 96 h 140"/>
                <a:gd name="T12" fmla="*/ 109 w 123"/>
                <a:gd name="T13" fmla="*/ 112 h 140"/>
                <a:gd name="T14" fmla="*/ 104 w 123"/>
                <a:gd name="T15" fmla="*/ 133 h 140"/>
                <a:gd name="T16" fmla="*/ 90 w 123"/>
                <a:gd name="T17" fmla="*/ 140 h 140"/>
                <a:gd name="T18" fmla="*/ 76 w 123"/>
                <a:gd name="T19" fmla="*/ 122 h 140"/>
                <a:gd name="T20" fmla="*/ 63 w 123"/>
                <a:gd name="T21" fmla="*/ 88 h 140"/>
                <a:gd name="T22" fmla="*/ 54 w 123"/>
                <a:gd name="T23" fmla="*/ 75 h 140"/>
                <a:gd name="T24" fmla="*/ 30 w 123"/>
                <a:gd name="T25" fmla="*/ 72 h 140"/>
                <a:gd name="T26" fmla="*/ 0 w 123"/>
                <a:gd name="T27" fmla="*/ 37 h 140"/>
                <a:gd name="T28" fmla="*/ 43 w 123"/>
                <a:gd name="T2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140">
                  <a:moveTo>
                    <a:pt x="43" y="0"/>
                  </a:moveTo>
                  <a:lnTo>
                    <a:pt x="71" y="0"/>
                  </a:lnTo>
                  <a:lnTo>
                    <a:pt x="92" y="5"/>
                  </a:lnTo>
                  <a:lnTo>
                    <a:pt x="106" y="28"/>
                  </a:lnTo>
                  <a:lnTo>
                    <a:pt x="120" y="65"/>
                  </a:lnTo>
                  <a:lnTo>
                    <a:pt x="123" y="96"/>
                  </a:lnTo>
                  <a:lnTo>
                    <a:pt x="109" y="112"/>
                  </a:lnTo>
                  <a:lnTo>
                    <a:pt x="104" y="133"/>
                  </a:lnTo>
                  <a:lnTo>
                    <a:pt x="90" y="140"/>
                  </a:lnTo>
                  <a:lnTo>
                    <a:pt x="76" y="122"/>
                  </a:lnTo>
                  <a:lnTo>
                    <a:pt x="63" y="88"/>
                  </a:lnTo>
                  <a:lnTo>
                    <a:pt x="54" y="75"/>
                  </a:lnTo>
                  <a:lnTo>
                    <a:pt x="30" y="72"/>
                  </a:lnTo>
                  <a:lnTo>
                    <a:pt x="0" y="37"/>
                  </a:lnTo>
                  <a:lnTo>
                    <a:pt x="43" y="0"/>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ea typeface="ＭＳ Ｐゴシック" charset="-128"/>
              </a:endParaRPr>
            </a:p>
          </p:txBody>
        </p:sp>
        <p:sp>
          <p:nvSpPr>
            <p:cNvPr id="14" name="CH"/>
            <p:cNvSpPr>
              <a:spLocks/>
            </p:cNvSpPr>
            <p:nvPr/>
          </p:nvSpPr>
          <p:spPr bwMode="auto">
            <a:xfrm>
              <a:off x="5226050" y="4206799"/>
              <a:ext cx="550863" cy="307975"/>
            </a:xfrm>
            <a:custGeom>
              <a:avLst/>
              <a:gdLst>
                <a:gd name="T0" fmla="*/ 197 w 376"/>
                <a:gd name="T1" fmla="*/ 53 h 276"/>
                <a:gd name="T2" fmla="*/ 178 w 376"/>
                <a:gd name="T3" fmla="*/ 34 h 276"/>
                <a:gd name="T4" fmla="*/ 181 w 376"/>
                <a:gd name="T5" fmla="*/ 27 h 276"/>
                <a:gd name="T6" fmla="*/ 170 w 376"/>
                <a:gd name="T7" fmla="*/ 16 h 276"/>
                <a:gd name="T8" fmla="*/ 159 w 376"/>
                <a:gd name="T9" fmla="*/ 0 h 276"/>
                <a:gd name="T10" fmla="*/ 148 w 376"/>
                <a:gd name="T11" fmla="*/ 16 h 276"/>
                <a:gd name="T12" fmla="*/ 140 w 376"/>
                <a:gd name="T13" fmla="*/ 10 h 276"/>
                <a:gd name="T14" fmla="*/ 127 w 376"/>
                <a:gd name="T15" fmla="*/ 24 h 276"/>
                <a:gd name="T16" fmla="*/ 127 w 376"/>
                <a:gd name="T17" fmla="*/ 32 h 276"/>
                <a:gd name="T18" fmla="*/ 110 w 376"/>
                <a:gd name="T19" fmla="*/ 40 h 276"/>
                <a:gd name="T20" fmla="*/ 68 w 376"/>
                <a:gd name="T21" fmla="*/ 77 h 276"/>
                <a:gd name="T22" fmla="*/ 57 w 376"/>
                <a:gd name="T23" fmla="*/ 93 h 276"/>
                <a:gd name="T24" fmla="*/ 57 w 376"/>
                <a:gd name="T25" fmla="*/ 111 h 276"/>
                <a:gd name="T26" fmla="*/ 42 w 376"/>
                <a:gd name="T27" fmla="*/ 117 h 276"/>
                <a:gd name="T28" fmla="*/ 11 w 376"/>
                <a:gd name="T29" fmla="*/ 154 h 276"/>
                <a:gd name="T30" fmla="*/ 11 w 376"/>
                <a:gd name="T31" fmla="*/ 167 h 276"/>
                <a:gd name="T32" fmla="*/ 0 w 376"/>
                <a:gd name="T33" fmla="*/ 182 h 276"/>
                <a:gd name="T34" fmla="*/ 5 w 376"/>
                <a:gd name="T35" fmla="*/ 201 h 276"/>
                <a:gd name="T36" fmla="*/ 19 w 376"/>
                <a:gd name="T37" fmla="*/ 191 h 276"/>
                <a:gd name="T38" fmla="*/ 33 w 376"/>
                <a:gd name="T39" fmla="*/ 174 h 276"/>
                <a:gd name="T40" fmla="*/ 54 w 376"/>
                <a:gd name="T41" fmla="*/ 169 h 276"/>
                <a:gd name="T42" fmla="*/ 68 w 376"/>
                <a:gd name="T43" fmla="*/ 174 h 276"/>
                <a:gd name="T44" fmla="*/ 73 w 376"/>
                <a:gd name="T45" fmla="*/ 201 h 276"/>
                <a:gd name="T46" fmla="*/ 71 w 376"/>
                <a:gd name="T47" fmla="*/ 219 h 276"/>
                <a:gd name="T48" fmla="*/ 80 w 376"/>
                <a:gd name="T49" fmla="*/ 232 h 276"/>
                <a:gd name="T50" fmla="*/ 91 w 376"/>
                <a:gd name="T51" fmla="*/ 241 h 276"/>
                <a:gd name="T52" fmla="*/ 115 w 376"/>
                <a:gd name="T53" fmla="*/ 243 h 276"/>
                <a:gd name="T54" fmla="*/ 167 w 376"/>
                <a:gd name="T55" fmla="*/ 251 h 276"/>
                <a:gd name="T56" fmla="*/ 178 w 376"/>
                <a:gd name="T57" fmla="*/ 243 h 276"/>
                <a:gd name="T58" fmla="*/ 186 w 376"/>
                <a:gd name="T59" fmla="*/ 232 h 276"/>
                <a:gd name="T60" fmla="*/ 191 w 376"/>
                <a:gd name="T61" fmla="*/ 208 h 276"/>
                <a:gd name="T62" fmla="*/ 210 w 376"/>
                <a:gd name="T63" fmla="*/ 206 h 276"/>
                <a:gd name="T64" fmla="*/ 216 w 376"/>
                <a:gd name="T65" fmla="*/ 222 h 276"/>
                <a:gd name="T66" fmla="*/ 216 w 376"/>
                <a:gd name="T67" fmla="*/ 258 h 276"/>
                <a:gd name="T68" fmla="*/ 240 w 376"/>
                <a:gd name="T69" fmla="*/ 276 h 276"/>
                <a:gd name="T70" fmla="*/ 258 w 376"/>
                <a:gd name="T71" fmla="*/ 245 h 276"/>
                <a:gd name="T72" fmla="*/ 277 w 376"/>
                <a:gd name="T73" fmla="*/ 235 h 276"/>
                <a:gd name="T74" fmla="*/ 299 w 376"/>
                <a:gd name="T75" fmla="*/ 238 h 276"/>
                <a:gd name="T76" fmla="*/ 315 w 376"/>
                <a:gd name="T77" fmla="*/ 248 h 276"/>
                <a:gd name="T78" fmla="*/ 322 w 376"/>
                <a:gd name="T79" fmla="*/ 256 h 276"/>
                <a:gd name="T80" fmla="*/ 327 w 376"/>
                <a:gd name="T81" fmla="*/ 229 h 276"/>
                <a:gd name="T82" fmla="*/ 339 w 376"/>
                <a:gd name="T83" fmla="*/ 198 h 276"/>
                <a:gd name="T84" fmla="*/ 367 w 376"/>
                <a:gd name="T85" fmla="*/ 192 h 276"/>
                <a:gd name="T86" fmla="*/ 376 w 376"/>
                <a:gd name="T87" fmla="*/ 172 h 276"/>
                <a:gd name="T88" fmla="*/ 367 w 376"/>
                <a:gd name="T89" fmla="*/ 155 h 276"/>
                <a:gd name="T90" fmla="*/ 354 w 376"/>
                <a:gd name="T91" fmla="*/ 148 h 276"/>
                <a:gd name="T92" fmla="*/ 319 w 376"/>
                <a:gd name="T93" fmla="*/ 141 h 276"/>
                <a:gd name="T94" fmla="*/ 318 w 376"/>
                <a:gd name="T95" fmla="*/ 121 h 276"/>
                <a:gd name="T96" fmla="*/ 318 w 376"/>
                <a:gd name="T97" fmla="*/ 100 h 276"/>
                <a:gd name="T98" fmla="*/ 318 w 376"/>
                <a:gd name="T99" fmla="*/ 84 h 276"/>
                <a:gd name="T100" fmla="*/ 296 w 376"/>
                <a:gd name="T101" fmla="*/ 71 h 276"/>
                <a:gd name="T102" fmla="*/ 285 w 376"/>
                <a:gd name="T103" fmla="*/ 77 h 276"/>
                <a:gd name="T104" fmla="*/ 266 w 376"/>
                <a:gd name="T105" fmla="*/ 61 h 276"/>
                <a:gd name="T106" fmla="*/ 263 w 376"/>
                <a:gd name="T107" fmla="*/ 50 h 276"/>
                <a:gd name="T108" fmla="*/ 256 w 376"/>
                <a:gd name="T109" fmla="*/ 37 h 276"/>
                <a:gd name="T110" fmla="*/ 256 w 376"/>
                <a:gd name="T111" fmla="*/ 32 h 276"/>
                <a:gd name="T112" fmla="*/ 235 w 376"/>
                <a:gd name="T113" fmla="*/ 24 h 276"/>
                <a:gd name="T114" fmla="*/ 228 w 376"/>
                <a:gd name="T115" fmla="*/ 34 h 276"/>
                <a:gd name="T116" fmla="*/ 214 w 376"/>
                <a:gd name="T117" fmla="*/ 46 h 276"/>
                <a:gd name="T118" fmla="*/ 197 w 376"/>
                <a:gd name="T119" fmla="*/ 5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6" h="276">
                  <a:moveTo>
                    <a:pt x="197" y="53"/>
                  </a:moveTo>
                  <a:lnTo>
                    <a:pt x="178" y="34"/>
                  </a:lnTo>
                  <a:lnTo>
                    <a:pt x="181" y="27"/>
                  </a:lnTo>
                  <a:lnTo>
                    <a:pt x="170" y="16"/>
                  </a:lnTo>
                  <a:lnTo>
                    <a:pt x="159" y="0"/>
                  </a:lnTo>
                  <a:lnTo>
                    <a:pt x="148" y="16"/>
                  </a:lnTo>
                  <a:lnTo>
                    <a:pt x="140" y="10"/>
                  </a:lnTo>
                  <a:lnTo>
                    <a:pt x="127" y="24"/>
                  </a:lnTo>
                  <a:lnTo>
                    <a:pt x="127" y="32"/>
                  </a:lnTo>
                  <a:lnTo>
                    <a:pt x="110" y="40"/>
                  </a:lnTo>
                  <a:lnTo>
                    <a:pt x="68" y="77"/>
                  </a:lnTo>
                  <a:lnTo>
                    <a:pt x="57" y="93"/>
                  </a:lnTo>
                  <a:lnTo>
                    <a:pt x="57" y="111"/>
                  </a:lnTo>
                  <a:lnTo>
                    <a:pt x="42" y="117"/>
                  </a:lnTo>
                  <a:lnTo>
                    <a:pt x="11" y="154"/>
                  </a:lnTo>
                  <a:lnTo>
                    <a:pt x="11" y="167"/>
                  </a:lnTo>
                  <a:lnTo>
                    <a:pt x="0" y="182"/>
                  </a:lnTo>
                  <a:lnTo>
                    <a:pt x="5" y="201"/>
                  </a:lnTo>
                  <a:lnTo>
                    <a:pt x="19" y="191"/>
                  </a:lnTo>
                  <a:lnTo>
                    <a:pt x="33" y="174"/>
                  </a:lnTo>
                  <a:lnTo>
                    <a:pt x="54" y="169"/>
                  </a:lnTo>
                  <a:lnTo>
                    <a:pt x="68" y="174"/>
                  </a:lnTo>
                  <a:lnTo>
                    <a:pt x="73" y="201"/>
                  </a:lnTo>
                  <a:lnTo>
                    <a:pt x="71" y="219"/>
                  </a:lnTo>
                  <a:lnTo>
                    <a:pt x="80" y="232"/>
                  </a:lnTo>
                  <a:lnTo>
                    <a:pt x="91" y="241"/>
                  </a:lnTo>
                  <a:lnTo>
                    <a:pt x="115" y="243"/>
                  </a:lnTo>
                  <a:lnTo>
                    <a:pt x="167" y="251"/>
                  </a:lnTo>
                  <a:lnTo>
                    <a:pt x="178" y="243"/>
                  </a:lnTo>
                  <a:lnTo>
                    <a:pt x="186" y="232"/>
                  </a:lnTo>
                  <a:lnTo>
                    <a:pt x="191" y="208"/>
                  </a:lnTo>
                  <a:lnTo>
                    <a:pt x="210" y="206"/>
                  </a:lnTo>
                  <a:lnTo>
                    <a:pt x="216" y="222"/>
                  </a:lnTo>
                  <a:lnTo>
                    <a:pt x="216" y="258"/>
                  </a:lnTo>
                  <a:lnTo>
                    <a:pt x="240" y="276"/>
                  </a:lnTo>
                  <a:lnTo>
                    <a:pt x="258" y="245"/>
                  </a:lnTo>
                  <a:lnTo>
                    <a:pt x="277" y="235"/>
                  </a:lnTo>
                  <a:lnTo>
                    <a:pt x="299" y="238"/>
                  </a:lnTo>
                  <a:lnTo>
                    <a:pt x="315" y="248"/>
                  </a:lnTo>
                  <a:lnTo>
                    <a:pt x="322" y="256"/>
                  </a:lnTo>
                  <a:lnTo>
                    <a:pt x="327" y="229"/>
                  </a:lnTo>
                  <a:lnTo>
                    <a:pt x="339" y="198"/>
                  </a:lnTo>
                  <a:lnTo>
                    <a:pt x="367" y="192"/>
                  </a:lnTo>
                  <a:lnTo>
                    <a:pt x="376" y="172"/>
                  </a:lnTo>
                  <a:lnTo>
                    <a:pt x="367" y="155"/>
                  </a:lnTo>
                  <a:lnTo>
                    <a:pt x="354" y="148"/>
                  </a:lnTo>
                  <a:lnTo>
                    <a:pt x="319" y="141"/>
                  </a:lnTo>
                  <a:lnTo>
                    <a:pt x="318" y="121"/>
                  </a:lnTo>
                  <a:lnTo>
                    <a:pt x="318" y="100"/>
                  </a:lnTo>
                  <a:lnTo>
                    <a:pt x="318" y="84"/>
                  </a:lnTo>
                  <a:lnTo>
                    <a:pt x="296" y="71"/>
                  </a:lnTo>
                  <a:lnTo>
                    <a:pt x="285" y="77"/>
                  </a:lnTo>
                  <a:lnTo>
                    <a:pt x="266" y="61"/>
                  </a:lnTo>
                  <a:lnTo>
                    <a:pt x="263" y="50"/>
                  </a:lnTo>
                  <a:lnTo>
                    <a:pt x="256" y="37"/>
                  </a:lnTo>
                  <a:lnTo>
                    <a:pt x="256" y="32"/>
                  </a:lnTo>
                  <a:lnTo>
                    <a:pt x="235" y="24"/>
                  </a:lnTo>
                  <a:lnTo>
                    <a:pt x="228" y="34"/>
                  </a:lnTo>
                  <a:lnTo>
                    <a:pt x="214" y="46"/>
                  </a:lnTo>
                  <a:lnTo>
                    <a:pt x="197" y="53"/>
                  </a:lnTo>
                  <a:close/>
                </a:path>
              </a:pathLst>
            </a:custGeom>
            <a:solidFill>
              <a:schemeClr val="accent1">
                <a:lumMod val="20000"/>
                <a:lumOff val="80000"/>
              </a:schemeClr>
            </a:solidFill>
            <a:ln w="3175">
              <a:solidFill>
                <a:schemeClr val="bg1"/>
              </a:solidFill>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eaLnBrk="0" fontAlgn="auto" hangingPunct="0">
                <a:spcBef>
                  <a:spcPct val="50000"/>
                </a:spcBef>
                <a:spcAft>
                  <a:spcPts val="0"/>
                </a:spcAft>
                <a:defRPr/>
              </a:pPr>
              <a:endParaRPr lang="de-CH" sz="1400" b="1" dirty="0">
                <a:solidFill>
                  <a:schemeClr val="bg1"/>
                </a:solidFill>
              </a:endParaRPr>
            </a:p>
          </p:txBody>
        </p:sp>
        <p:sp>
          <p:nvSpPr>
            <p:cNvPr id="15" name="AT"/>
            <p:cNvSpPr>
              <a:spLocks/>
            </p:cNvSpPr>
            <p:nvPr/>
          </p:nvSpPr>
          <p:spPr bwMode="auto">
            <a:xfrm>
              <a:off x="5668963" y="4160838"/>
              <a:ext cx="846137" cy="342900"/>
            </a:xfrm>
            <a:custGeom>
              <a:avLst/>
              <a:gdLst>
                <a:gd name="T0" fmla="*/ 24 w 573"/>
                <a:gd name="T1" fmla="*/ 102 h 293"/>
                <a:gd name="T2" fmla="*/ 46 w 573"/>
                <a:gd name="T3" fmla="*/ 117 h 293"/>
                <a:gd name="T4" fmla="*/ 80 w 573"/>
                <a:gd name="T5" fmla="*/ 114 h 293"/>
                <a:gd name="T6" fmla="*/ 112 w 573"/>
                <a:gd name="T7" fmla="*/ 111 h 293"/>
                <a:gd name="T8" fmla="*/ 150 w 573"/>
                <a:gd name="T9" fmla="*/ 125 h 293"/>
                <a:gd name="T10" fmla="*/ 175 w 573"/>
                <a:gd name="T11" fmla="*/ 121 h 293"/>
                <a:gd name="T12" fmla="*/ 218 w 573"/>
                <a:gd name="T13" fmla="*/ 115 h 293"/>
                <a:gd name="T14" fmla="*/ 265 w 573"/>
                <a:gd name="T15" fmla="*/ 142 h 293"/>
                <a:gd name="T16" fmla="*/ 288 w 573"/>
                <a:gd name="T17" fmla="*/ 115 h 293"/>
                <a:gd name="T18" fmla="*/ 269 w 573"/>
                <a:gd name="T19" fmla="*/ 57 h 293"/>
                <a:gd name="T20" fmla="*/ 347 w 573"/>
                <a:gd name="T21" fmla="*/ 7 h 293"/>
                <a:gd name="T22" fmla="*/ 369 w 573"/>
                <a:gd name="T23" fmla="*/ 28 h 293"/>
                <a:gd name="T24" fmla="*/ 426 w 573"/>
                <a:gd name="T25" fmla="*/ 3 h 293"/>
                <a:gd name="T26" fmla="*/ 488 w 573"/>
                <a:gd name="T27" fmla="*/ 24 h 293"/>
                <a:gd name="T28" fmla="*/ 527 w 573"/>
                <a:gd name="T29" fmla="*/ 11 h 293"/>
                <a:gd name="T30" fmla="*/ 559 w 573"/>
                <a:gd name="T31" fmla="*/ 74 h 293"/>
                <a:gd name="T32" fmla="*/ 569 w 573"/>
                <a:gd name="T33" fmla="*/ 117 h 293"/>
                <a:gd name="T34" fmla="*/ 542 w 573"/>
                <a:gd name="T35" fmla="*/ 142 h 293"/>
                <a:gd name="T36" fmla="*/ 546 w 573"/>
                <a:gd name="T37" fmla="*/ 171 h 293"/>
                <a:gd name="T38" fmla="*/ 536 w 573"/>
                <a:gd name="T39" fmla="*/ 210 h 293"/>
                <a:gd name="T40" fmla="*/ 507 w 573"/>
                <a:gd name="T41" fmla="*/ 245 h 293"/>
                <a:gd name="T42" fmla="*/ 482 w 573"/>
                <a:gd name="T43" fmla="*/ 269 h 293"/>
                <a:gd name="T44" fmla="*/ 418 w 573"/>
                <a:gd name="T45" fmla="*/ 273 h 293"/>
                <a:gd name="T46" fmla="*/ 366 w 573"/>
                <a:gd name="T47" fmla="*/ 293 h 293"/>
                <a:gd name="T48" fmla="*/ 279 w 573"/>
                <a:gd name="T49" fmla="*/ 273 h 293"/>
                <a:gd name="T50" fmla="*/ 195 w 573"/>
                <a:gd name="T51" fmla="*/ 235 h 293"/>
                <a:gd name="T52" fmla="*/ 190 w 573"/>
                <a:gd name="T53" fmla="*/ 200 h 293"/>
                <a:gd name="T54" fmla="*/ 136 w 573"/>
                <a:gd name="T55" fmla="*/ 198 h 293"/>
                <a:gd name="T56" fmla="*/ 66 w 573"/>
                <a:gd name="T57" fmla="*/ 188 h 293"/>
                <a:gd name="T58" fmla="*/ 36 w 573"/>
                <a:gd name="T59" fmla="*/ 175 h 293"/>
                <a:gd name="T60" fmla="*/ 17 w 573"/>
                <a:gd name="T61" fmla="*/ 149 h 293"/>
                <a:gd name="T62" fmla="*/ 0 w 573"/>
                <a:gd name="T63" fmla="*/ 105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3" h="293">
                  <a:moveTo>
                    <a:pt x="0" y="105"/>
                  </a:moveTo>
                  <a:lnTo>
                    <a:pt x="24" y="102"/>
                  </a:lnTo>
                  <a:lnTo>
                    <a:pt x="33" y="100"/>
                  </a:lnTo>
                  <a:lnTo>
                    <a:pt x="46" y="117"/>
                  </a:lnTo>
                  <a:lnTo>
                    <a:pt x="61" y="111"/>
                  </a:lnTo>
                  <a:lnTo>
                    <a:pt x="80" y="114"/>
                  </a:lnTo>
                  <a:lnTo>
                    <a:pt x="91" y="124"/>
                  </a:lnTo>
                  <a:lnTo>
                    <a:pt x="112" y="111"/>
                  </a:lnTo>
                  <a:lnTo>
                    <a:pt x="138" y="112"/>
                  </a:lnTo>
                  <a:lnTo>
                    <a:pt x="150" y="125"/>
                  </a:lnTo>
                  <a:lnTo>
                    <a:pt x="166" y="129"/>
                  </a:lnTo>
                  <a:lnTo>
                    <a:pt x="175" y="121"/>
                  </a:lnTo>
                  <a:lnTo>
                    <a:pt x="204" y="115"/>
                  </a:lnTo>
                  <a:lnTo>
                    <a:pt x="218" y="115"/>
                  </a:lnTo>
                  <a:lnTo>
                    <a:pt x="240" y="124"/>
                  </a:lnTo>
                  <a:lnTo>
                    <a:pt x="265" y="142"/>
                  </a:lnTo>
                  <a:lnTo>
                    <a:pt x="284" y="134"/>
                  </a:lnTo>
                  <a:lnTo>
                    <a:pt x="288" y="115"/>
                  </a:lnTo>
                  <a:lnTo>
                    <a:pt x="275" y="91"/>
                  </a:lnTo>
                  <a:lnTo>
                    <a:pt x="269" y="57"/>
                  </a:lnTo>
                  <a:lnTo>
                    <a:pt x="333" y="7"/>
                  </a:lnTo>
                  <a:lnTo>
                    <a:pt x="347" y="7"/>
                  </a:lnTo>
                  <a:lnTo>
                    <a:pt x="350" y="24"/>
                  </a:lnTo>
                  <a:lnTo>
                    <a:pt x="369" y="28"/>
                  </a:lnTo>
                  <a:lnTo>
                    <a:pt x="409" y="23"/>
                  </a:lnTo>
                  <a:lnTo>
                    <a:pt x="426" y="3"/>
                  </a:lnTo>
                  <a:lnTo>
                    <a:pt x="476" y="0"/>
                  </a:lnTo>
                  <a:lnTo>
                    <a:pt x="488" y="24"/>
                  </a:lnTo>
                  <a:lnTo>
                    <a:pt x="508" y="24"/>
                  </a:lnTo>
                  <a:lnTo>
                    <a:pt x="527" y="11"/>
                  </a:lnTo>
                  <a:lnTo>
                    <a:pt x="559" y="34"/>
                  </a:lnTo>
                  <a:lnTo>
                    <a:pt x="559" y="74"/>
                  </a:lnTo>
                  <a:lnTo>
                    <a:pt x="573" y="91"/>
                  </a:lnTo>
                  <a:lnTo>
                    <a:pt x="569" y="117"/>
                  </a:lnTo>
                  <a:lnTo>
                    <a:pt x="559" y="142"/>
                  </a:lnTo>
                  <a:lnTo>
                    <a:pt x="542" y="142"/>
                  </a:lnTo>
                  <a:lnTo>
                    <a:pt x="536" y="149"/>
                  </a:lnTo>
                  <a:lnTo>
                    <a:pt x="546" y="171"/>
                  </a:lnTo>
                  <a:lnTo>
                    <a:pt x="546" y="192"/>
                  </a:lnTo>
                  <a:lnTo>
                    <a:pt x="536" y="210"/>
                  </a:lnTo>
                  <a:lnTo>
                    <a:pt x="508" y="226"/>
                  </a:lnTo>
                  <a:lnTo>
                    <a:pt x="507" y="245"/>
                  </a:lnTo>
                  <a:lnTo>
                    <a:pt x="507" y="263"/>
                  </a:lnTo>
                  <a:lnTo>
                    <a:pt x="482" y="269"/>
                  </a:lnTo>
                  <a:lnTo>
                    <a:pt x="438" y="266"/>
                  </a:lnTo>
                  <a:lnTo>
                    <a:pt x="418" y="273"/>
                  </a:lnTo>
                  <a:lnTo>
                    <a:pt x="381" y="273"/>
                  </a:lnTo>
                  <a:lnTo>
                    <a:pt x="366" y="293"/>
                  </a:lnTo>
                  <a:lnTo>
                    <a:pt x="308" y="272"/>
                  </a:lnTo>
                  <a:lnTo>
                    <a:pt x="279" y="273"/>
                  </a:lnTo>
                  <a:lnTo>
                    <a:pt x="205" y="255"/>
                  </a:lnTo>
                  <a:lnTo>
                    <a:pt x="195" y="235"/>
                  </a:lnTo>
                  <a:lnTo>
                    <a:pt x="195" y="213"/>
                  </a:lnTo>
                  <a:lnTo>
                    <a:pt x="190" y="200"/>
                  </a:lnTo>
                  <a:lnTo>
                    <a:pt x="181" y="195"/>
                  </a:lnTo>
                  <a:lnTo>
                    <a:pt x="136" y="198"/>
                  </a:lnTo>
                  <a:lnTo>
                    <a:pt x="72" y="205"/>
                  </a:lnTo>
                  <a:lnTo>
                    <a:pt x="66" y="188"/>
                  </a:lnTo>
                  <a:lnTo>
                    <a:pt x="55" y="182"/>
                  </a:lnTo>
                  <a:lnTo>
                    <a:pt x="36" y="175"/>
                  </a:lnTo>
                  <a:lnTo>
                    <a:pt x="17" y="169"/>
                  </a:lnTo>
                  <a:lnTo>
                    <a:pt x="17" y="149"/>
                  </a:lnTo>
                  <a:lnTo>
                    <a:pt x="17" y="121"/>
                  </a:lnTo>
                  <a:lnTo>
                    <a:pt x="0" y="105"/>
                  </a:lnTo>
                  <a:close/>
                </a:path>
              </a:pathLst>
            </a:custGeom>
            <a:solidFill>
              <a:schemeClr val="bg1">
                <a:lumMod val="95000"/>
              </a:schemeClr>
            </a:solidFill>
            <a:ln w="3175">
              <a:solidFill>
                <a:schemeClr val="bg1"/>
              </a:solidFill>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ct val="50000"/>
                </a:spcBef>
                <a:spcAft>
                  <a:spcPts val="0"/>
                </a:spcAft>
                <a:defRPr/>
              </a:pPr>
              <a:endParaRPr lang="de-CH" sz="1400" b="1" dirty="0">
                <a:solidFill>
                  <a:schemeClr val="bg1"/>
                </a:solidFill>
              </a:endParaRPr>
            </a:p>
          </p:txBody>
        </p:sp>
        <p:sp>
          <p:nvSpPr>
            <p:cNvPr id="16" name="SI"/>
            <p:cNvSpPr>
              <a:spLocks/>
            </p:cNvSpPr>
            <p:nvPr/>
          </p:nvSpPr>
          <p:spPr bwMode="auto">
            <a:xfrm>
              <a:off x="6075363" y="4468813"/>
              <a:ext cx="369887" cy="203200"/>
            </a:xfrm>
            <a:custGeom>
              <a:avLst/>
              <a:gdLst>
                <a:gd name="T0" fmla="*/ 22 w 251"/>
                <a:gd name="T1" fmla="*/ 89 h 163"/>
                <a:gd name="T2" fmla="*/ 47 w 251"/>
                <a:gd name="T3" fmla="*/ 118 h 163"/>
                <a:gd name="T4" fmla="*/ 39 w 251"/>
                <a:gd name="T5" fmla="*/ 132 h 163"/>
                <a:gd name="T6" fmla="*/ 28 w 251"/>
                <a:gd name="T7" fmla="*/ 142 h 163"/>
                <a:gd name="T8" fmla="*/ 14 w 251"/>
                <a:gd name="T9" fmla="*/ 145 h 163"/>
                <a:gd name="T10" fmla="*/ 0 w 251"/>
                <a:gd name="T11" fmla="*/ 147 h 163"/>
                <a:gd name="T12" fmla="*/ 25 w 251"/>
                <a:gd name="T13" fmla="*/ 160 h 163"/>
                <a:gd name="T14" fmla="*/ 36 w 251"/>
                <a:gd name="T15" fmla="*/ 163 h 163"/>
                <a:gd name="T16" fmla="*/ 67 w 251"/>
                <a:gd name="T17" fmla="*/ 142 h 163"/>
                <a:gd name="T18" fmla="*/ 137 w 251"/>
                <a:gd name="T19" fmla="*/ 162 h 163"/>
                <a:gd name="T20" fmla="*/ 182 w 251"/>
                <a:gd name="T21" fmla="*/ 105 h 163"/>
                <a:gd name="T22" fmla="*/ 191 w 251"/>
                <a:gd name="T23" fmla="*/ 81 h 163"/>
                <a:gd name="T24" fmla="*/ 200 w 251"/>
                <a:gd name="T25" fmla="*/ 73 h 163"/>
                <a:gd name="T26" fmla="*/ 226 w 251"/>
                <a:gd name="T27" fmla="*/ 76 h 163"/>
                <a:gd name="T28" fmla="*/ 251 w 251"/>
                <a:gd name="T29" fmla="*/ 42 h 163"/>
                <a:gd name="T30" fmla="*/ 248 w 251"/>
                <a:gd name="T31" fmla="*/ 21 h 163"/>
                <a:gd name="T32" fmla="*/ 231 w 251"/>
                <a:gd name="T33" fmla="*/ 0 h 163"/>
                <a:gd name="T34" fmla="*/ 219 w 251"/>
                <a:gd name="T35" fmla="*/ 2 h 163"/>
                <a:gd name="T36" fmla="*/ 207 w 251"/>
                <a:gd name="T37" fmla="*/ 7 h 163"/>
                <a:gd name="T38" fmla="*/ 184 w 251"/>
                <a:gd name="T39" fmla="*/ 1 h 163"/>
                <a:gd name="T40" fmla="*/ 161 w 251"/>
                <a:gd name="T41" fmla="*/ 2 h 163"/>
                <a:gd name="T42" fmla="*/ 138 w 251"/>
                <a:gd name="T43" fmla="*/ 9 h 163"/>
                <a:gd name="T44" fmla="*/ 106 w 251"/>
                <a:gd name="T45" fmla="*/ 7 h 163"/>
                <a:gd name="T46" fmla="*/ 93 w 251"/>
                <a:gd name="T47" fmla="*/ 28 h 163"/>
                <a:gd name="T48" fmla="*/ 39 w 251"/>
                <a:gd name="T49" fmla="*/ 9 h 163"/>
                <a:gd name="T50" fmla="*/ 19 w 251"/>
                <a:gd name="T51" fmla="*/ 9 h 163"/>
                <a:gd name="T52" fmla="*/ 19 w 251"/>
                <a:gd name="T53" fmla="*/ 45 h 163"/>
                <a:gd name="T54" fmla="*/ 22 w 251"/>
                <a:gd name="T55" fmla="*/ 89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1" h="163">
                  <a:moveTo>
                    <a:pt x="22" y="89"/>
                  </a:moveTo>
                  <a:lnTo>
                    <a:pt x="47" y="118"/>
                  </a:lnTo>
                  <a:lnTo>
                    <a:pt x="39" y="132"/>
                  </a:lnTo>
                  <a:lnTo>
                    <a:pt x="28" y="142"/>
                  </a:lnTo>
                  <a:lnTo>
                    <a:pt x="14" y="145"/>
                  </a:lnTo>
                  <a:lnTo>
                    <a:pt x="0" y="147"/>
                  </a:lnTo>
                  <a:lnTo>
                    <a:pt x="25" y="160"/>
                  </a:lnTo>
                  <a:lnTo>
                    <a:pt x="36" y="163"/>
                  </a:lnTo>
                  <a:lnTo>
                    <a:pt x="67" y="142"/>
                  </a:lnTo>
                  <a:lnTo>
                    <a:pt x="137" y="162"/>
                  </a:lnTo>
                  <a:lnTo>
                    <a:pt x="182" y="105"/>
                  </a:lnTo>
                  <a:lnTo>
                    <a:pt x="191" y="81"/>
                  </a:lnTo>
                  <a:lnTo>
                    <a:pt x="200" y="73"/>
                  </a:lnTo>
                  <a:lnTo>
                    <a:pt x="226" y="76"/>
                  </a:lnTo>
                  <a:lnTo>
                    <a:pt x="251" y="42"/>
                  </a:lnTo>
                  <a:lnTo>
                    <a:pt x="248" y="21"/>
                  </a:lnTo>
                  <a:lnTo>
                    <a:pt x="231" y="0"/>
                  </a:lnTo>
                  <a:lnTo>
                    <a:pt x="219" y="2"/>
                  </a:lnTo>
                  <a:lnTo>
                    <a:pt x="207" y="7"/>
                  </a:lnTo>
                  <a:lnTo>
                    <a:pt x="184" y="1"/>
                  </a:lnTo>
                  <a:lnTo>
                    <a:pt x="161" y="2"/>
                  </a:lnTo>
                  <a:lnTo>
                    <a:pt x="138" y="9"/>
                  </a:lnTo>
                  <a:lnTo>
                    <a:pt x="106" y="7"/>
                  </a:lnTo>
                  <a:lnTo>
                    <a:pt x="93" y="28"/>
                  </a:lnTo>
                  <a:lnTo>
                    <a:pt x="39" y="9"/>
                  </a:lnTo>
                  <a:lnTo>
                    <a:pt x="19" y="9"/>
                  </a:lnTo>
                  <a:lnTo>
                    <a:pt x="19" y="45"/>
                  </a:lnTo>
                  <a:lnTo>
                    <a:pt x="22" y="89"/>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7" name="BG"/>
            <p:cNvSpPr>
              <a:spLocks noChangeAspect="1"/>
            </p:cNvSpPr>
            <p:nvPr/>
          </p:nvSpPr>
          <p:spPr bwMode="auto">
            <a:xfrm>
              <a:off x="7159625" y="4818063"/>
              <a:ext cx="719138" cy="485775"/>
            </a:xfrm>
            <a:custGeom>
              <a:avLst/>
              <a:gdLst>
                <a:gd name="T0" fmla="*/ 9 w 485"/>
                <a:gd name="T1" fmla="*/ 56 h 398"/>
                <a:gd name="T2" fmla="*/ 3 w 485"/>
                <a:gd name="T3" fmla="*/ 84 h 398"/>
                <a:gd name="T4" fmla="*/ 36 w 485"/>
                <a:gd name="T5" fmla="*/ 117 h 398"/>
                <a:gd name="T6" fmla="*/ 38 w 485"/>
                <a:gd name="T7" fmla="*/ 164 h 398"/>
                <a:gd name="T8" fmla="*/ 8 w 485"/>
                <a:gd name="T9" fmla="*/ 191 h 398"/>
                <a:gd name="T10" fmla="*/ 12 w 485"/>
                <a:gd name="T11" fmla="*/ 225 h 398"/>
                <a:gd name="T12" fmla="*/ 8 w 485"/>
                <a:gd name="T13" fmla="*/ 263 h 398"/>
                <a:gd name="T14" fmla="*/ 12 w 485"/>
                <a:gd name="T15" fmla="*/ 296 h 398"/>
                <a:gd name="T16" fmla="*/ 38 w 485"/>
                <a:gd name="T17" fmla="*/ 315 h 398"/>
                <a:gd name="T18" fmla="*/ 39 w 485"/>
                <a:gd name="T19" fmla="*/ 362 h 398"/>
                <a:gd name="T20" fmla="*/ 56 w 485"/>
                <a:gd name="T21" fmla="*/ 398 h 398"/>
                <a:gd name="T22" fmla="*/ 138 w 485"/>
                <a:gd name="T23" fmla="*/ 374 h 398"/>
                <a:gd name="T24" fmla="*/ 188 w 485"/>
                <a:gd name="T25" fmla="*/ 334 h 398"/>
                <a:gd name="T26" fmla="*/ 226 w 485"/>
                <a:gd name="T27" fmla="*/ 359 h 398"/>
                <a:gd name="T28" fmla="*/ 262 w 485"/>
                <a:gd name="T29" fmla="*/ 371 h 398"/>
                <a:gd name="T30" fmla="*/ 307 w 485"/>
                <a:gd name="T31" fmla="*/ 353 h 398"/>
                <a:gd name="T32" fmla="*/ 309 w 485"/>
                <a:gd name="T33" fmla="*/ 312 h 398"/>
                <a:gd name="T34" fmla="*/ 342 w 485"/>
                <a:gd name="T35" fmla="*/ 312 h 398"/>
                <a:gd name="T36" fmla="*/ 359 w 485"/>
                <a:gd name="T37" fmla="*/ 300 h 398"/>
                <a:gd name="T38" fmla="*/ 424 w 485"/>
                <a:gd name="T39" fmla="*/ 278 h 398"/>
                <a:gd name="T40" fmla="*/ 447 w 485"/>
                <a:gd name="T41" fmla="*/ 248 h 398"/>
                <a:gd name="T42" fmla="*/ 414 w 485"/>
                <a:gd name="T43" fmla="*/ 208 h 398"/>
                <a:gd name="T44" fmla="*/ 429 w 485"/>
                <a:gd name="T45" fmla="*/ 177 h 398"/>
                <a:gd name="T46" fmla="*/ 441 w 485"/>
                <a:gd name="T47" fmla="*/ 158 h 398"/>
                <a:gd name="T48" fmla="*/ 450 w 485"/>
                <a:gd name="T49" fmla="*/ 117 h 398"/>
                <a:gd name="T50" fmla="*/ 460 w 485"/>
                <a:gd name="T51" fmla="*/ 74 h 398"/>
                <a:gd name="T52" fmla="*/ 485 w 485"/>
                <a:gd name="T53" fmla="*/ 56 h 398"/>
                <a:gd name="T54" fmla="*/ 471 w 485"/>
                <a:gd name="T55" fmla="*/ 13 h 398"/>
                <a:gd name="T56" fmla="*/ 405 w 485"/>
                <a:gd name="T57" fmla="*/ 3 h 398"/>
                <a:gd name="T58" fmla="*/ 336 w 485"/>
                <a:gd name="T59" fmla="*/ 9 h 398"/>
                <a:gd name="T60" fmla="*/ 270 w 485"/>
                <a:gd name="T61" fmla="*/ 46 h 398"/>
                <a:gd name="T62" fmla="*/ 218 w 485"/>
                <a:gd name="T63" fmla="*/ 71 h 398"/>
                <a:gd name="T64" fmla="*/ 150 w 485"/>
                <a:gd name="T65" fmla="*/ 77 h 398"/>
                <a:gd name="T66" fmla="*/ 105 w 485"/>
                <a:gd name="T67" fmla="*/ 74 h 398"/>
                <a:gd name="T68" fmla="*/ 52 w 485"/>
                <a:gd name="T69" fmla="*/ 53 h 398"/>
                <a:gd name="T70" fmla="*/ 12 w 485"/>
                <a:gd name="T71" fmla="*/ 47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5" h="398">
                  <a:moveTo>
                    <a:pt x="12" y="47"/>
                  </a:moveTo>
                  <a:lnTo>
                    <a:pt x="9" y="56"/>
                  </a:lnTo>
                  <a:lnTo>
                    <a:pt x="0" y="66"/>
                  </a:lnTo>
                  <a:lnTo>
                    <a:pt x="3" y="84"/>
                  </a:lnTo>
                  <a:lnTo>
                    <a:pt x="17" y="114"/>
                  </a:lnTo>
                  <a:lnTo>
                    <a:pt x="36" y="117"/>
                  </a:lnTo>
                  <a:lnTo>
                    <a:pt x="39" y="130"/>
                  </a:lnTo>
                  <a:lnTo>
                    <a:pt x="38" y="164"/>
                  </a:lnTo>
                  <a:lnTo>
                    <a:pt x="31" y="174"/>
                  </a:lnTo>
                  <a:lnTo>
                    <a:pt x="8" y="191"/>
                  </a:lnTo>
                  <a:lnTo>
                    <a:pt x="5" y="199"/>
                  </a:lnTo>
                  <a:lnTo>
                    <a:pt x="12" y="225"/>
                  </a:lnTo>
                  <a:lnTo>
                    <a:pt x="14" y="245"/>
                  </a:lnTo>
                  <a:lnTo>
                    <a:pt x="8" y="263"/>
                  </a:lnTo>
                  <a:lnTo>
                    <a:pt x="0" y="278"/>
                  </a:lnTo>
                  <a:lnTo>
                    <a:pt x="12" y="296"/>
                  </a:lnTo>
                  <a:lnTo>
                    <a:pt x="22" y="293"/>
                  </a:lnTo>
                  <a:lnTo>
                    <a:pt x="38" y="315"/>
                  </a:lnTo>
                  <a:lnTo>
                    <a:pt x="39" y="334"/>
                  </a:lnTo>
                  <a:lnTo>
                    <a:pt x="39" y="362"/>
                  </a:lnTo>
                  <a:lnTo>
                    <a:pt x="38" y="374"/>
                  </a:lnTo>
                  <a:lnTo>
                    <a:pt x="56" y="398"/>
                  </a:lnTo>
                  <a:lnTo>
                    <a:pt x="94" y="390"/>
                  </a:lnTo>
                  <a:lnTo>
                    <a:pt x="138" y="374"/>
                  </a:lnTo>
                  <a:lnTo>
                    <a:pt x="171" y="352"/>
                  </a:lnTo>
                  <a:lnTo>
                    <a:pt x="188" y="334"/>
                  </a:lnTo>
                  <a:lnTo>
                    <a:pt x="209" y="367"/>
                  </a:lnTo>
                  <a:lnTo>
                    <a:pt x="226" y="359"/>
                  </a:lnTo>
                  <a:lnTo>
                    <a:pt x="248" y="367"/>
                  </a:lnTo>
                  <a:lnTo>
                    <a:pt x="262" y="371"/>
                  </a:lnTo>
                  <a:lnTo>
                    <a:pt x="290" y="359"/>
                  </a:lnTo>
                  <a:lnTo>
                    <a:pt x="307" y="353"/>
                  </a:lnTo>
                  <a:lnTo>
                    <a:pt x="307" y="337"/>
                  </a:lnTo>
                  <a:lnTo>
                    <a:pt x="309" y="312"/>
                  </a:lnTo>
                  <a:lnTo>
                    <a:pt x="323" y="303"/>
                  </a:lnTo>
                  <a:lnTo>
                    <a:pt x="342" y="312"/>
                  </a:lnTo>
                  <a:lnTo>
                    <a:pt x="345" y="322"/>
                  </a:lnTo>
                  <a:lnTo>
                    <a:pt x="359" y="300"/>
                  </a:lnTo>
                  <a:lnTo>
                    <a:pt x="394" y="282"/>
                  </a:lnTo>
                  <a:lnTo>
                    <a:pt x="424" y="278"/>
                  </a:lnTo>
                  <a:lnTo>
                    <a:pt x="452" y="278"/>
                  </a:lnTo>
                  <a:lnTo>
                    <a:pt x="447" y="248"/>
                  </a:lnTo>
                  <a:lnTo>
                    <a:pt x="443" y="232"/>
                  </a:lnTo>
                  <a:lnTo>
                    <a:pt x="414" y="208"/>
                  </a:lnTo>
                  <a:lnTo>
                    <a:pt x="413" y="201"/>
                  </a:lnTo>
                  <a:lnTo>
                    <a:pt x="429" y="177"/>
                  </a:lnTo>
                  <a:lnTo>
                    <a:pt x="446" y="172"/>
                  </a:lnTo>
                  <a:lnTo>
                    <a:pt x="441" y="158"/>
                  </a:lnTo>
                  <a:lnTo>
                    <a:pt x="450" y="133"/>
                  </a:lnTo>
                  <a:lnTo>
                    <a:pt x="450" y="117"/>
                  </a:lnTo>
                  <a:lnTo>
                    <a:pt x="455" y="87"/>
                  </a:lnTo>
                  <a:lnTo>
                    <a:pt x="460" y="74"/>
                  </a:lnTo>
                  <a:lnTo>
                    <a:pt x="476" y="77"/>
                  </a:lnTo>
                  <a:lnTo>
                    <a:pt x="485" y="56"/>
                  </a:lnTo>
                  <a:lnTo>
                    <a:pt x="476" y="37"/>
                  </a:lnTo>
                  <a:lnTo>
                    <a:pt x="471" y="13"/>
                  </a:lnTo>
                  <a:lnTo>
                    <a:pt x="460" y="16"/>
                  </a:lnTo>
                  <a:lnTo>
                    <a:pt x="405" y="3"/>
                  </a:lnTo>
                  <a:lnTo>
                    <a:pt x="370" y="0"/>
                  </a:lnTo>
                  <a:lnTo>
                    <a:pt x="336" y="9"/>
                  </a:lnTo>
                  <a:lnTo>
                    <a:pt x="305" y="24"/>
                  </a:lnTo>
                  <a:lnTo>
                    <a:pt x="270" y="46"/>
                  </a:lnTo>
                  <a:lnTo>
                    <a:pt x="243" y="68"/>
                  </a:lnTo>
                  <a:lnTo>
                    <a:pt x="218" y="71"/>
                  </a:lnTo>
                  <a:lnTo>
                    <a:pt x="183" y="64"/>
                  </a:lnTo>
                  <a:lnTo>
                    <a:pt x="150" y="77"/>
                  </a:lnTo>
                  <a:lnTo>
                    <a:pt x="129" y="83"/>
                  </a:lnTo>
                  <a:lnTo>
                    <a:pt x="105" y="74"/>
                  </a:lnTo>
                  <a:lnTo>
                    <a:pt x="71" y="59"/>
                  </a:lnTo>
                  <a:lnTo>
                    <a:pt x="52" y="53"/>
                  </a:lnTo>
                  <a:lnTo>
                    <a:pt x="25" y="47"/>
                  </a:lnTo>
                  <a:lnTo>
                    <a:pt x="12" y="47"/>
                  </a:lnTo>
                  <a:close/>
                </a:path>
              </a:pathLst>
            </a:custGeom>
            <a:solidFill>
              <a:srgbClr val="F2F2F2"/>
            </a:solidFill>
            <a:ln w="3175">
              <a:solidFill>
                <a:schemeClr val="bg1"/>
              </a:solidFill>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8" name="BE"/>
            <p:cNvSpPr>
              <a:spLocks noChangeAspect="1"/>
            </p:cNvSpPr>
            <p:nvPr/>
          </p:nvSpPr>
          <p:spPr bwMode="auto">
            <a:xfrm>
              <a:off x="5040313" y="3597275"/>
              <a:ext cx="388937" cy="307975"/>
            </a:xfrm>
            <a:custGeom>
              <a:avLst/>
              <a:gdLst>
                <a:gd name="T0" fmla="*/ 0 w 266"/>
                <a:gd name="T1" fmla="*/ 47 h 263"/>
                <a:gd name="T2" fmla="*/ 7 w 266"/>
                <a:gd name="T3" fmla="*/ 37 h 263"/>
                <a:gd name="T4" fmla="*/ 4 w 266"/>
                <a:gd name="T5" fmla="*/ 24 h 263"/>
                <a:gd name="T6" fmla="*/ 45 w 266"/>
                <a:gd name="T7" fmla="*/ 0 h 263"/>
                <a:gd name="T8" fmla="*/ 48 w 266"/>
                <a:gd name="T9" fmla="*/ 9 h 263"/>
                <a:gd name="T10" fmla="*/ 77 w 266"/>
                <a:gd name="T11" fmla="*/ 3 h 263"/>
                <a:gd name="T12" fmla="*/ 100 w 266"/>
                <a:gd name="T13" fmla="*/ 5 h 263"/>
                <a:gd name="T14" fmla="*/ 91 w 266"/>
                <a:gd name="T15" fmla="*/ 17 h 263"/>
                <a:gd name="T16" fmla="*/ 96 w 266"/>
                <a:gd name="T17" fmla="*/ 34 h 263"/>
                <a:gd name="T18" fmla="*/ 115 w 266"/>
                <a:gd name="T19" fmla="*/ 42 h 263"/>
                <a:gd name="T20" fmla="*/ 134 w 266"/>
                <a:gd name="T21" fmla="*/ 40 h 263"/>
                <a:gd name="T22" fmla="*/ 150 w 266"/>
                <a:gd name="T23" fmla="*/ 27 h 263"/>
                <a:gd name="T24" fmla="*/ 175 w 266"/>
                <a:gd name="T25" fmla="*/ 24 h 263"/>
                <a:gd name="T26" fmla="*/ 183 w 266"/>
                <a:gd name="T27" fmla="*/ 36 h 263"/>
                <a:gd name="T28" fmla="*/ 198 w 266"/>
                <a:gd name="T29" fmla="*/ 46 h 263"/>
                <a:gd name="T30" fmla="*/ 219 w 266"/>
                <a:gd name="T31" fmla="*/ 47 h 263"/>
                <a:gd name="T32" fmla="*/ 216 w 266"/>
                <a:gd name="T33" fmla="*/ 67 h 263"/>
                <a:gd name="T34" fmla="*/ 217 w 266"/>
                <a:gd name="T35" fmla="*/ 107 h 263"/>
                <a:gd name="T36" fmla="*/ 221 w 266"/>
                <a:gd name="T37" fmla="*/ 131 h 263"/>
                <a:gd name="T38" fmla="*/ 245 w 266"/>
                <a:gd name="T39" fmla="*/ 128 h 263"/>
                <a:gd name="T40" fmla="*/ 252 w 266"/>
                <a:gd name="T41" fmla="*/ 145 h 263"/>
                <a:gd name="T42" fmla="*/ 254 w 266"/>
                <a:gd name="T43" fmla="*/ 160 h 263"/>
                <a:gd name="T44" fmla="*/ 266 w 266"/>
                <a:gd name="T45" fmla="*/ 179 h 263"/>
                <a:gd name="T46" fmla="*/ 251 w 266"/>
                <a:gd name="T47" fmla="*/ 194 h 263"/>
                <a:gd name="T48" fmla="*/ 237 w 266"/>
                <a:gd name="T49" fmla="*/ 205 h 263"/>
                <a:gd name="T50" fmla="*/ 222 w 266"/>
                <a:gd name="T51" fmla="*/ 205 h 263"/>
                <a:gd name="T52" fmla="*/ 204 w 266"/>
                <a:gd name="T53" fmla="*/ 211 h 263"/>
                <a:gd name="T54" fmla="*/ 204 w 266"/>
                <a:gd name="T55" fmla="*/ 232 h 263"/>
                <a:gd name="T56" fmla="*/ 197 w 266"/>
                <a:gd name="T57" fmla="*/ 246 h 263"/>
                <a:gd name="T58" fmla="*/ 178 w 266"/>
                <a:gd name="T59" fmla="*/ 263 h 263"/>
                <a:gd name="T60" fmla="*/ 146 w 266"/>
                <a:gd name="T61" fmla="*/ 236 h 263"/>
                <a:gd name="T62" fmla="*/ 137 w 266"/>
                <a:gd name="T63" fmla="*/ 212 h 263"/>
                <a:gd name="T64" fmla="*/ 108 w 266"/>
                <a:gd name="T65" fmla="*/ 205 h 263"/>
                <a:gd name="T66" fmla="*/ 98 w 266"/>
                <a:gd name="T67" fmla="*/ 174 h 263"/>
                <a:gd name="T68" fmla="*/ 77 w 266"/>
                <a:gd name="T69" fmla="*/ 155 h 263"/>
                <a:gd name="T70" fmla="*/ 70 w 266"/>
                <a:gd name="T71" fmla="*/ 133 h 263"/>
                <a:gd name="T72" fmla="*/ 53 w 266"/>
                <a:gd name="T73" fmla="*/ 110 h 263"/>
                <a:gd name="T74" fmla="*/ 42 w 266"/>
                <a:gd name="T75" fmla="*/ 87 h 263"/>
                <a:gd name="T76" fmla="*/ 20 w 266"/>
                <a:gd name="T77" fmla="*/ 70 h 263"/>
                <a:gd name="T78" fmla="*/ 0 w 266"/>
                <a:gd name="T79" fmla="*/ 47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6" h="263">
                  <a:moveTo>
                    <a:pt x="0" y="47"/>
                  </a:moveTo>
                  <a:lnTo>
                    <a:pt x="7" y="37"/>
                  </a:lnTo>
                  <a:lnTo>
                    <a:pt x="4" y="24"/>
                  </a:lnTo>
                  <a:lnTo>
                    <a:pt x="45" y="0"/>
                  </a:lnTo>
                  <a:lnTo>
                    <a:pt x="48" y="9"/>
                  </a:lnTo>
                  <a:lnTo>
                    <a:pt x="77" y="3"/>
                  </a:lnTo>
                  <a:lnTo>
                    <a:pt x="100" y="5"/>
                  </a:lnTo>
                  <a:lnTo>
                    <a:pt x="91" y="17"/>
                  </a:lnTo>
                  <a:lnTo>
                    <a:pt x="96" y="34"/>
                  </a:lnTo>
                  <a:lnTo>
                    <a:pt x="115" y="42"/>
                  </a:lnTo>
                  <a:lnTo>
                    <a:pt x="134" y="40"/>
                  </a:lnTo>
                  <a:lnTo>
                    <a:pt x="150" y="27"/>
                  </a:lnTo>
                  <a:lnTo>
                    <a:pt x="175" y="24"/>
                  </a:lnTo>
                  <a:lnTo>
                    <a:pt x="183" y="36"/>
                  </a:lnTo>
                  <a:lnTo>
                    <a:pt x="198" y="46"/>
                  </a:lnTo>
                  <a:lnTo>
                    <a:pt x="219" y="47"/>
                  </a:lnTo>
                  <a:lnTo>
                    <a:pt x="216" y="67"/>
                  </a:lnTo>
                  <a:lnTo>
                    <a:pt x="217" y="107"/>
                  </a:lnTo>
                  <a:lnTo>
                    <a:pt x="221" y="131"/>
                  </a:lnTo>
                  <a:lnTo>
                    <a:pt x="245" y="128"/>
                  </a:lnTo>
                  <a:lnTo>
                    <a:pt x="252" y="145"/>
                  </a:lnTo>
                  <a:lnTo>
                    <a:pt x="254" y="160"/>
                  </a:lnTo>
                  <a:lnTo>
                    <a:pt x="266" y="179"/>
                  </a:lnTo>
                  <a:lnTo>
                    <a:pt x="251" y="194"/>
                  </a:lnTo>
                  <a:lnTo>
                    <a:pt x="237" y="205"/>
                  </a:lnTo>
                  <a:lnTo>
                    <a:pt x="222" y="205"/>
                  </a:lnTo>
                  <a:lnTo>
                    <a:pt x="204" y="211"/>
                  </a:lnTo>
                  <a:lnTo>
                    <a:pt x="204" y="232"/>
                  </a:lnTo>
                  <a:lnTo>
                    <a:pt x="197" y="246"/>
                  </a:lnTo>
                  <a:lnTo>
                    <a:pt x="178" y="263"/>
                  </a:lnTo>
                  <a:lnTo>
                    <a:pt x="146" y="236"/>
                  </a:lnTo>
                  <a:lnTo>
                    <a:pt x="137" y="212"/>
                  </a:lnTo>
                  <a:lnTo>
                    <a:pt x="108" y="205"/>
                  </a:lnTo>
                  <a:lnTo>
                    <a:pt x="98" y="174"/>
                  </a:lnTo>
                  <a:lnTo>
                    <a:pt x="77" y="155"/>
                  </a:lnTo>
                  <a:lnTo>
                    <a:pt x="70" y="133"/>
                  </a:lnTo>
                  <a:lnTo>
                    <a:pt x="53" y="110"/>
                  </a:lnTo>
                  <a:lnTo>
                    <a:pt x="42" y="87"/>
                  </a:lnTo>
                  <a:lnTo>
                    <a:pt x="20" y="70"/>
                  </a:lnTo>
                  <a:lnTo>
                    <a:pt x="0" y="47"/>
                  </a:lnTo>
                  <a:close/>
                </a:path>
              </a:pathLst>
            </a:custGeom>
            <a:solidFill>
              <a:schemeClr val="bg1">
                <a:lumMod val="95000"/>
              </a:schemeClr>
            </a:solidFill>
            <a:ln w="3175">
              <a:solidFill>
                <a:schemeClr val="bg1"/>
              </a:solidFill>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ct val="50000"/>
                </a:spcBef>
                <a:spcAft>
                  <a:spcPts val="0"/>
                </a:spcAft>
                <a:defRPr/>
              </a:pPr>
              <a:endParaRPr lang="de-CH" sz="1400" b="1" dirty="0">
                <a:solidFill>
                  <a:schemeClr val="bg1"/>
                </a:solidFill>
              </a:endParaRPr>
            </a:p>
          </p:txBody>
        </p:sp>
        <p:sp>
          <p:nvSpPr>
            <p:cNvPr id="19" name="LU"/>
            <p:cNvSpPr>
              <a:spLocks noChangeAspect="1"/>
            </p:cNvSpPr>
            <p:nvPr/>
          </p:nvSpPr>
          <p:spPr bwMode="auto">
            <a:xfrm>
              <a:off x="5294313" y="3835400"/>
              <a:ext cx="109537" cy="119063"/>
            </a:xfrm>
            <a:custGeom>
              <a:avLst/>
              <a:gdLst>
                <a:gd name="T0" fmla="*/ 52 w 73"/>
                <a:gd name="T1" fmla="*/ 101 h 101"/>
                <a:gd name="T2" fmla="*/ 56 w 73"/>
                <a:gd name="T3" fmla="*/ 68 h 101"/>
                <a:gd name="T4" fmla="*/ 73 w 73"/>
                <a:gd name="T5" fmla="*/ 56 h 101"/>
                <a:gd name="T6" fmla="*/ 73 w 73"/>
                <a:gd name="T7" fmla="*/ 40 h 101"/>
                <a:gd name="T8" fmla="*/ 64 w 73"/>
                <a:gd name="T9" fmla="*/ 29 h 101"/>
                <a:gd name="T10" fmla="*/ 55 w 73"/>
                <a:gd name="T11" fmla="*/ 13 h 101"/>
                <a:gd name="T12" fmla="*/ 50 w 73"/>
                <a:gd name="T13" fmla="*/ 0 h 101"/>
                <a:gd name="T14" fmla="*/ 33 w 73"/>
                <a:gd name="T15" fmla="*/ 0 h 101"/>
                <a:gd name="T16" fmla="*/ 22 w 73"/>
                <a:gd name="T17" fmla="*/ 6 h 101"/>
                <a:gd name="T18" fmla="*/ 22 w 73"/>
                <a:gd name="T19" fmla="*/ 27 h 101"/>
                <a:gd name="T20" fmla="*/ 12 w 73"/>
                <a:gd name="T21" fmla="*/ 46 h 101"/>
                <a:gd name="T22" fmla="*/ 0 w 73"/>
                <a:gd name="T23" fmla="*/ 51 h 101"/>
                <a:gd name="T24" fmla="*/ 5 w 73"/>
                <a:gd name="T25" fmla="*/ 67 h 101"/>
                <a:gd name="T26" fmla="*/ 21 w 73"/>
                <a:gd name="T27" fmla="*/ 71 h 101"/>
                <a:gd name="T28" fmla="*/ 36 w 73"/>
                <a:gd name="T29" fmla="*/ 75 h 101"/>
                <a:gd name="T30" fmla="*/ 45 w 73"/>
                <a:gd name="T31" fmla="*/ 85 h 101"/>
                <a:gd name="T32" fmla="*/ 52 w 73"/>
                <a:gd name="T33"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101">
                  <a:moveTo>
                    <a:pt x="52" y="101"/>
                  </a:moveTo>
                  <a:lnTo>
                    <a:pt x="56" y="68"/>
                  </a:lnTo>
                  <a:lnTo>
                    <a:pt x="73" y="56"/>
                  </a:lnTo>
                  <a:lnTo>
                    <a:pt x="73" y="40"/>
                  </a:lnTo>
                  <a:lnTo>
                    <a:pt x="64" y="29"/>
                  </a:lnTo>
                  <a:lnTo>
                    <a:pt x="55" y="13"/>
                  </a:lnTo>
                  <a:lnTo>
                    <a:pt x="50" y="0"/>
                  </a:lnTo>
                  <a:lnTo>
                    <a:pt x="33" y="0"/>
                  </a:lnTo>
                  <a:lnTo>
                    <a:pt x="22" y="6"/>
                  </a:lnTo>
                  <a:lnTo>
                    <a:pt x="22" y="27"/>
                  </a:lnTo>
                  <a:lnTo>
                    <a:pt x="12" y="46"/>
                  </a:lnTo>
                  <a:lnTo>
                    <a:pt x="0" y="51"/>
                  </a:lnTo>
                  <a:lnTo>
                    <a:pt x="5" y="67"/>
                  </a:lnTo>
                  <a:lnTo>
                    <a:pt x="21" y="71"/>
                  </a:lnTo>
                  <a:lnTo>
                    <a:pt x="36" y="75"/>
                  </a:lnTo>
                  <a:lnTo>
                    <a:pt x="45" y="85"/>
                  </a:lnTo>
                  <a:lnTo>
                    <a:pt x="52" y="101"/>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20" name="NL"/>
            <p:cNvSpPr>
              <a:spLocks noChangeAspect="1"/>
            </p:cNvSpPr>
            <p:nvPr/>
          </p:nvSpPr>
          <p:spPr bwMode="auto">
            <a:xfrm>
              <a:off x="5165725" y="3370263"/>
              <a:ext cx="404813" cy="385762"/>
            </a:xfrm>
            <a:custGeom>
              <a:avLst/>
              <a:gdLst>
                <a:gd name="T0" fmla="*/ 112 w 271"/>
                <a:gd name="T1" fmla="*/ 9 h 323"/>
                <a:gd name="T2" fmla="*/ 85 w 271"/>
                <a:gd name="T3" fmla="*/ 47 h 323"/>
                <a:gd name="T4" fmla="*/ 85 w 271"/>
                <a:gd name="T5" fmla="*/ 59 h 323"/>
                <a:gd name="T6" fmla="*/ 68 w 271"/>
                <a:gd name="T7" fmla="*/ 77 h 323"/>
                <a:gd name="T8" fmla="*/ 71 w 271"/>
                <a:gd name="T9" fmla="*/ 81 h 323"/>
                <a:gd name="T10" fmla="*/ 66 w 271"/>
                <a:gd name="T11" fmla="*/ 94 h 323"/>
                <a:gd name="T12" fmla="*/ 49 w 271"/>
                <a:gd name="T13" fmla="*/ 113 h 323"/>
                <a:gd name="T14" fmla="*/ 33 w 271"/>
                <a:gd name="T15" fmla="*/ 134 h 323"/>
                <a:gd name="T16" fmla="*/ 26 w 271"/>
                <a:gd name="T17" fmla="*/ 145 h 323"/>
                <a:gd name="T18" fmla="*/ 33 w 271"/>
                <a:gd name="T19" fmla="*/ 155 h 323"/>
                <a:gd name="T20" fmla="*/ 28 w 271"/>
                <a:gd name="T21" fmla="*/ 171 h 323"/>
                <a:gd name="T22" fmla="*/ 19 w 271"/>
                <a:gd name="T23" fmla="*/ 184 h 323"/>
                <a:gd name="T24" fmla="*/ 11 w 271"/>
                <a:gd name="T25" fmla="*/ 189 h 323"/>
                <a:gd name="T26" fmla="*/ 0 w 271"/>
                <a:gd name="T27" fmla="*/ 205 h 323"/>
                <a:gd name="T28" fmla="*/ 1 w 271"/>
                <a:gd name="T29" fmla="*/ 221 h 323"/>
                <a:gd name="T30" fmla="*/ 14 w 271"/>
                <a:gd name="T31" fmla="*/ 229 h 323"/>
                <a:gd name="T32" fmla="*/ 44 w 271"/>
                <a:gd name="T33" fmla="*/ 229 h 323"/>
                <a:gd name="T34" fmla="*/ 62 w 271"/>
                <a:gd name="T35" fmla="*/ 218 h 323"/>
                <a:gd name="T36" fmla="*/ 79 w 271"/>
                <a:gd name="T37" fmla="*/ 215 h 323"/>
                <a:gd name="T38" fmla="*/ 93 w 271"/>
                <a:gd name="T39" fmla="*/ 229 h 323"/>
                <a:gd name="T40" fmla="*/ 107 w 271"/>
                <a:gd name="T41" fmla="*/ 236 h 323"/>
                <a:gd name="T42" fmla="*/ 126 w 271"/>
                <a:gd name="T43" fmla="*/ 239 h 323"/>
                <a:gd name="T44" fmla="*/ 121 w 271"/>
                <a:gd name="T45" fmla="*/ 263 h 323"/>
                <a:gd name="T46" fmla="*/ 128 w 271"/>
                <a:gd name="T47" fmla="*/ 323 h 323"/>
                <a:gd name="T48" fmla="*/ 144 w 271"/>
                <a:gd name="T49" fmla="*/ 322 h 323"/>
                <a:gd name="T50" fmla="*/ 154 w 271"/>
                <a:gd name="T51" fmla="*/ 320 h 323"/>
                <a:gd name="T52" fmla="*/ 158 w 271"/>
                <a:gd name="T53" fmla="*/ 303 h 323"/>
                <a:gd name="T54" fmla="*/ 161 w 271"/>
                <a:gd name="T55" fmla="*/ 268 h 323"/>
                <a:gd name="T56" fmla="*/ 173 w 271"/>
                <a:gd name="T57" fmla="*/ 249 h 323"/>
                <a:gd name="T58" fmla="*/ 173 w 271"/>
                <a:gd name="T59" fmla="*/ 218 h 323"/>
                <a:gd name="T60" fmla="*/ 183 w 271"/>
                <a:gd name="T61" fmla="*/ 199 h 323"/>
                <a:gd name="T62" fmla="*/ 204 w 271"/>
                <a:gd name="T63" fmla="*/ 189 h 323"/>
                <a:gd name="T64" fmla="*/ 243 w 271"/>
                <a:gd name="T65" fmla="*/ 140 h 323"/>
                <a:gd name="T66" fmla="*/ 248 w 271"/>
                <a:gd name="T67" fmla="*/ 118 h 323"/>
                <a:gd name="T68" fmla="*/ 242 w 271"/>
                <a:gd name="T69" fmla="*/ 84 h 323"/>
                <a:gd name="T70" fmla="*/ 267 w 271"/>
                <a:gd name="T71" fmla="*/ 61 h 323"/>
                <a:gd name="T72" fmla="*/ 271 w 271"/>
                <a:gd name="T73" fmla="*/ 23 h 323"/>
                <a:gd name="T74" fmla="*/ 253 w 271"/>
                <a:gd name="T75" fmla="*/ 6 h 323"/>
                <a:gd name="T76" fmla="*/ 242 w 271"/>
                <a:gd name="T77" fmla="*/ 3 h 323"/>
                <a:gd name="T78" fmla="*/ 220 w 271"/>
                <a:gd name="T79" fmla="*/ 0 h 323"/>
                <a:gd name="T80" fmla="*/ 173 w 271"/>
                <a:gd name="T81" fmla="*/ 0 h 323"/>
                <a:gd name="T82" fmla="*/ 159 w 271"/>
                <a:gd name="T83" fmla="*/ 13 h 323"/>
                <a:gd name="T84" fmla="*/ 148 w 271"/>
                <a:gd name="T85" fmla="*/ 29 h 323"/>
                <a:gd name="T86" fmla="*/ 150 w 271"/>
                <a:gd name="T87" fmla="*/ 43 h 323"/>
                <a:gd name="T88" fmla="*/ 167 w 271"/>
                <a:gd name="T89" fmla="*/ 56 h 323"/>
                <a:gd name="T90" fmla="*/ 178 w 271"/>
                <a:gd name="T91" fmla="*/ 71 h 323"/>
                <a:gd name="T92" fmla="*/ 178 w 271"/>
                <a:gd name="T93" fmla="*/ 93 h 323"/>
                <a:gd name="T94" fmla="*/ 159 w 271"/>
                <a:gd name="T95" fmla="*/ 108 h 323"/>
                <a:gd name="T96" fmla="*/ 140 w 271"/>
                <a:gd name="T97" fmla="*/ 113 h 323"/>
                <a:gd name="T98" fmla="*/ 126 w 271"/>
                <a:gd name="T99" fmla="*/ 115 h 323"/>
                <a:gd name="T100" fmla="*/ 120 w 271"/>
                <a:gd name="T101" fmla="*/ 103 h 323"/>
                <a:gd name="T102" fmla="*/ 115 w 271"/>
                <a:gd name="T103" fmla="*/ 84 h 323"/>
                <a:gd name="T104" fmla="*/ 124 w 271"/>
                <a:gd name="T105" fmla="*/ 69 h 323"/>
                <a:gd name="T106" fmla="*/ 121 w 271"/>
                <a:gd name="T107" fmla="*/ 50 h 323"/>
                <a:gd name="T108" fmla="*/ 120 w 271"/>
                <a:gd name="T109" fmla="*/ 32 h 323"/>
                <a:gd name="T110" fmla="*/ 112 w 271"/>
                <a:gd name="T111" fmla="*/ 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1" h="323">
                  <a:moveTo>
                    <a:pt x="112" y="9"/>
                  </a:moveTo>
                  <a:lnTo>
                    <a:pt x="85" y="47"/>
                  </a:lnTo>
                  <a:lnTo>
                    <a:pt x="85" y="59"/>
                  </a:lnTo>
                  <a:lnTo>
                    <a:pt x="68" y="77"/>
                  </a:lnTo>
                  <a:lnTo>
                    <a:pt x="71" y="81"/>
                  </a:lnTo>
                  <a:lnTo>
                    <a:pt x="66" y="94"/>
                  </a:lnTo>
                  <a:lnTo>
                    <a:pt x="49" y="113"/>
                  </a:lnTo>
                  <a:lnTo>
                    <a:pt x="33" y="134"/>
                  </a:lnTo>
                  <a:lnTo>
                    <a:pt x="26" y="145"/>
                  </a:lnTo>
                  <a:lnTo>
                    <a:pt x="33" y="155"/>
                  </a:lnTo>
                  <a:lnTo>
                    <a:pt x="28" y="171"/>
                  </a:lnTo>
                  <a:lnTo>
                    <a:pt x="19" y="184"/>
                  </a:lnTo>
                  <a:lnTo>
                    <a:pt x="11" y="189"/>
                  </a:lnTo>
                  <a:lnTo>
                    <a:pt x="0" y="205"/>
                  </a:lnTo>
                  <a:lnTo>
                    <a:pt x="1" y="221"/>
                  </a:lnTo>
                  <a:lnTo>
                    <a:pt x="14" y="229"/>
                  </a:lnTo>
                  <a:lnTo>
                    <a:pt x="44" y="229"/>
                  </a:lnTo>
                  <a:lnTo>
                    <a:pt x="62" y="218"/>
                  </a:lnTo>
                  <a:lnTo>
                    <a:pt x="79" y="215"/>
                  </a:lnTo>
                  <a:lnTo>
                    <a:pt x="93" y="229"/>
                  </a:lnTo>
                  <a:lnTo>
                    <a:pt x="107" y="236"/>
                  </a:lnTo>
                  <a:lnTo>
                    <a:pt x="126" y="239"/>
                  </a:lnTo>
                  <a:lnTo>
                    <a:pt x="121" y="263"/>
                  </a:lnTo>
                  <a:lnTo>
                    <a:pt x="128" y="323"/>
                  </a:lnTo>
                  <a:lnTo>
                    <a:pt x="144" y="322"/>
                  </a:lnTo>
                  <a:lnTo>
                    <a:pt x="154" y="320"/>
                  </a:lnTo>
                  <a:lnTo>
                    <a:pt x="158" y="303"/>
                  </a:lnTo>
                  <a:lnTo>
                    <a:pt x="161" y="268"/>
                  </a:lnTo>
                  <a:lnTo>
                    <a:pt x="173" y="249"/>
                  </a:lnTo>
                  <a:lnTo>
                    <a:pt x="173" y="218"/>
                  </a:lnTo>
                  <a:lnTo>
                    <a:pt x="183" y="199"/>
                  </a:lnTo>
                  <a:lnTo>
                    <a:pt x="204" y="189"/>
                  </a:lnTo>
                  <a:lnTo>
                    <a:pt x="243" y="140"/>
                  </a:lnTo>
                  <a:lnTo>
                    <a:pt x="248" y="118"/>
                  </a:lnTo>
                  <a:lnTo>
                    <a:pt x="242" y="84"/>
                  </a:lnTo>
                  <a:lnTo>
                    <a:pt x="267" y="61"/>
                  </a:lnTo>
                  <a:lnTo>
                    <a:pt x="271" y="23"/>
                  </a:lnTo>
                  <a:lnTo>
                    <a:pt x="253" y="6"/>
                  </a:lnTo>
                  <a:lnTo>
                    <a:pt x="242" y="3"/>
                  </a:lnTo>
                  <a:lnTo>
                    <a:pt x="220" y="0"/>
                  </a:lnTo>
                  <a:lnTo>
                    <a:pt x="173" y="0"/>
                  </a:lnTo>
                  <a:lnTo>
                    <a:pt x="159" y="13"/>
                  </a:lnTo>
                  <a:lnTo>
                    <a:pt x="148" y="29"/>
                  </a:lnTo>
                  <a:lnTo>
                    <a:pt x="150" y="43"/>
                  </a:lnTo>
                  <a:lnTo>
                    <a:pt x="167" y="56"/>
                  </a:lnTo>
                  <a:lnTo>
                    <a:pt x="178" y="71"/>
                  </a:lnTo>
                  <a:lnTo>
                    <a:pt x="178" y="93"/>
                  </a:lnTo>
                  <a:lnTo>
                    <a:pt x="159" y="108"/>
                  </a:lnTo>
                  <a:lnTo>
                    <a:pt x="140" y="113"/>
                  </a:lnTo>
                  <a:lnTo>
                    <a:pt x="126" y="115"/>
                  </a:lnTo>
                  <a:lnTo>
                    <a:pt x="120" y="103"/>
                  </a:lnTo>
                  <a:lnTo>
                    <a:pt x="115" y="84"/>
                  </a:lnTo>
                  <a:lnTo>
                    <a:pt x="124" y="69"/>
                  </a:lnTo>
                  <a:lnTo>
                    <a:pt x="121" y="50"/>
                  </a:lnTo>
                  <a:lnTo>
                    <a:pt x="120" y="32"/>
                  </a:lnTo>
                  <a:lnTo>
                    <a:pt x="112" y="9"/>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21" name="CZ"/>
            <p:cNvSpPr>
              <a:spLocks/>
            </p:cNvSpPr>
            <p:nvPr/>
          </p:nvSpPr>
          <p:spPr bwMode="auto">
            <a:xfrm>
              <a:off x="5992813" y="3833813"/>
              <a:ext cx="760412" cy="368300"/>
            </a:xfrm>
            <a:custGeom>
              <a:avLst/>
              <a:gdLst>
                <a:gd name="T0" fmla="*/ 126 w 510"/>
                <a:gd name="T1" fmla="*/ 298 h 311"/>
                <a:gd name="T2" fmla="*/ 122 w 510"/>
                <a:gd name="T3" fmla="*/ 281 h 311"/>
                <a:gd name="T4" fmla="*/ 106 w 510"/>
                <a:gd name="T5" fmla="*/ 271 h 311"/>
                <a:gd name="T6" fmla="*/ 46 w 510"/>
                <a:gd name="T7" fmla="*/ 210 h 311"/>
                <a:gd name="T8" fmla="*/ 42 w 510"/>
                <a:gd name="T9" fmla="*/ 179 h 311"/>
                <a:gd name="T10" fmla="*/ 16 w 510"/>
                <a:gd name="T11" fmla="*/ 175 h 311"/>
                <a:gd name="T12" fmla="*/ 17 w 510"/>
                <a:gd name="T13" fmla="*/ 145 h 311"/>
                <a:gd name="T14" fmla="*/ 8 w 510"/>
                <a:gd name="T15" fmla="*/ 116 h 311"/>
                <a:gd name="T16" fmla="*/ 0 w 510"/>
                <a:gd name="T17" fmla="*/ 101 h 311"/>
                <a:gd name="T18" fmla="*/ 6 w 510"/>
                <a:gd name="T19" fmla="*/ 83 h 311"/>
                <a:gd name="T20" fmla="*/ 24 w 510"/>
                <a:gd name="T21" fmla="*/ 83 h 311"/>
                <a:gd name="T22" fmla="*/ 57 w 510"/>
                <a:gd name="T23" fmla="*/ 75 h 311"/>
                <a:gd name="T24" fmla="*/ 160 w 510"/>
                <a:gd name="T25" fmla="*/ 15 h 311"/>
                <a:gd name="T26" fmla="*/ 182 w 510"/>
                <a:gd name="T27" fmla="*/ 0 h 311"/>
                <a:gd name="T28" fmla="*/ 195 w 510"/>
                <a:gd name="T29" fmla="*/ 18 h 311"/>
                <a:gd name="T30" fmla="*/ 217 w 510"/>
                <a:gd name="T31" fmla="*/ 8 h 311"/>
                <a:gd name="T32" fmla="*/ 237 w 510"/>
                <a:gd name="T33" fmla="*/ 10 h 311"/>
                <a:gd name="T34" fmla="*/ 250 w 510"/>
                <a:gd name="T35" fmla="*/ 19 h 311"/>
                <a:gd name="T36" fmla="*/ 250 w 510"/>
                <a:gd name="T37" fmla="*/ 47 h 311"/>
                <a:gd name="T38" fmla="*/ 287 w 510"/>
                <a:gd name="T39" fmla="*/ 74 h 311"/>
                <a:gd name="T40" fmla="*/ 289 w 510"/>
                <a:gd name="T41" fmla="*/ 92 h 311"/>
                <a:gd name="T42" fmla="*/ 303 w 510"/>
                <a:gd name="T43" fmla="*/ 113 h 311"/>
                <a:gd name="T44" fmla="*/ 313 w 510"/>
                <a:gd name="T45" fmla="*/ 122 h 311"/>
                <a:gd name="T46" fmla="*/ 320 w 510"/>
                <a:gd name="T47" fmla="*/ 113 h 311"/>
                <a:gd name="T48" fmla="*/ 346 w 510"/>
                <a:gd name="T49" fmla="*/ 98 h 311"/>
                <a:gd name="T50" fmla="*/ 358 w 510"/>
                <a:gd name="T51" fmla="*/ 101 h 311"/>
                <a:gd name="T52" fmla="*/ 390 w 510"/>
                <a:gd name="T53" fmla="*/ 142 h 311"/>
                <a:gd name="T54" fmla="*/ 398 w 510"/>
                <a:gd name="T55" fmla="*/ 140 h 311"/>
                <a:gd name="T56" fmla="*/ 432 w 510"/>
                <a:gd name="T57" fmla="*/ 163 h 311"/>
                <a:gd name="T58" fmla="*/ 483 w 510"/>
                <a:gd name="T59" fmla="*/ 160 h 311"/>
                <a:gd name="T60" fmla="*/ 510 w 510"/>
                <a:gd name="T61" fmla="*/ 179 h 311"/>
                <a:gd name="T62" fmla="*/ 454 w 510"/>
                <a:gd name="T63" fmla="*/ 213 h 311"/>
                <a:gd name="T64" fmla="*/ 451 w 510"/>
                <a:gd name="T65" fmla="*/ 256 h 311"/>
                <a:gd name="T66" fmla="*/ 417 w 510"/>
                <a:gd name="T67" fmla="*/ 291 h 311"/>
                <a:gd name="T68" fmla="*/ 380 w 510"/>
                <a:gd name="T69" fmla="*/ 290 h 311"/>
                <a:gd name="T70" fmla="*/ 360 w 510"/>
                <a:gd name="T71" fmla="*/ 300 h 311"/>
                <a:gd name="T72" fmla="*/ 335 w 510"/>
                <a:gd name="T73" fmla="*/ 311 h 311"/>
                <a:gd name="T74" fmla="*/ 303 w 510"/>
                <a:gd name="T75" fmla="*/ 288 h 311"/>
                <a:gd name="T76" fmla="*/ 283 w 510"/>
                <a:gd name="T77" fmla="*/ 300 h 311"/>
                <a:gd name="T78" fmla="*/ 265 w 510"/>
                <a:gd name="T79" fmla="*/ 304 h 311"/>
                <a:gd name="T80" fmla="*/ 250 w 510"/>
                <a:gd name="T81" fmla="*/ 277 h 311"/>
                <a:gd name="T82" fmla="*/ 206 w 510"/>
                <a:gd name="T83" fmla="*/ 278 h 311"/>
                <a:gd name="T84" fmla="*/ 192 w 510"/>
                <a:gd name="T85" fmla="*/ 290 h 311"/>
                <a:gd name="T86" fmla="*/ 182 w 510"/>
                <a:gd name="T87" fmla="*/ 301 h 311"/>
                <a:gd name="T88" fmla="*/ 163 w 510"/>
                <a:gd name="T89" fmla="*/ 301 h 311"/>
                <a:gd name="T90" fmla="*/ 142 w 510"/>
                <a:gd name="T91" fmla="*/ 305 h 311"/>
                <a:gd name="T92" fmla="*/ 126 w 510"/>
                <a:gd name="T93" fmla="*/ 29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0" h="311">
                  <a:moveTo>
                    <a:pt x="126" y="298"/>
                  </a:moveTo>
                  <a:lnTo>
                    <a:pt x="122" y="281"/>
                  </a:lnTo>
                  <a:lnTo>
                    <a:pt x="106" y="271"/>
                  </a:lnTo>
                  <a:lnTo>
                    <a:pt x="46" y="210"/>
                  </a:lnTo>
                  <a:lnTo>
                    <a:pt x="42" y="179"/>
                  </a:lnTo>
                  <a:lnTo>
                    <a:pt x="16" y="175"/>
                  </a:lnTo>
                  <a:lnTo>
                    <a:pt x="17" y="145"/>
                  </a:lnTo>
                  <a:lnTo>
                    <a:pt x="8" y="116"/>
                  </a:lnTo>
                  <a:lnTo>
                    <a:pt x="0" y="101"/>
                  </a:lnTo>
                  <a:lnTo>
                    <a:pt x="6" y="83"/>
                  </a:lnTo>
                  <a:lnTo>
                    <a:pt x="24" y="83"/>
                  </a:lnTo>
                  <a:lnTo>
                    <a:pt x="57" y="75"/>
                  </a:lnTo>
                  <a:lnTo>
                    <a:pt x="160" y="15"/>
                  </a:lnTo>
                  <a:lnTo>
                    <a:pt x="182" y="0"/>
                  </a:lnTo>
                  <a:lnTo>
                    <a:pt x="195" y="18"/>
                  </a:lnTo>
                  <a:lnTo>
                    <a:pt x="217" y="8"/>
                  </a:lnTo>
                  <a:lnTo>
                    <a:pt x="237" y="10"/>
                  </a:lnTo>
                  <a:lnTo>
                    <a:pt x="250" y="19"/>
                  </a:lnTo>
                  <a:lnTo>
                    <a:pt x="250" y="47"/>
                  </a:lnTo>
                  <a:lnTo>
                    <a:pt x="287" y="74"/>
                  </a:lnTo>
                  <a:lnTo>
                    <a:pt x="289" y="92"/>
                  </a:lnTo>
                  <a:lnTo>
                    <a:pt x="303" y="113"/>
                  </a:lnTo>
                  <a:lnTo>
                    <a:pt x="313" y="122"/>
                  </a:lnTo>
                  <a:lnTo>
                    <a:pt x="320" y="113"/>
                  </a:lnTo>
                  <a:lnTo>
                    <a:pt x="346" y="98"/>
                  </a:lnTo>
                  <a:lnTo>
                    <a:pt x="358" y="101"/>
                  </a:lnTo>
                  <a:lnTo>
                    <a:pt x="390" y="142"/>
                  </a:lnTo>
                  <a:lnTo>
                    <a:pt x="398" y="140"/>
                  </a:lnTo>
                  <a:lnTo>
                    <a:pt x="432" y="163"/>
                  </a:lnTo>
                  <a:lnTo>
                    <a:pt x="483" y="160"/>
                  </a:lnTo>
                  <a:lnTo>
                    <a:pt x="510" y="179"/>
                  </a:lnTo>
                  <a:lnTo>
                    <a:pt x="454" y="213"/>
                  </a:lnTo>
                  <a:lnTo>
                    <a:pt x="451" y="256"/>
                  </a:lnTo>
                  <a:lnTo>
                    <a:pt x="417" y="291"/>
                  </a:lnTo>
                  <a:lnTo>
                    <a:pt x="380" y="290"/>
                  </a:lnTo>
                  <a:lnTo>
                    <a:pt x="360" y="300"/>
                  </a:lnTo>
                  <a:lnTo>
                    <a:pt x="335" y="311"/>
                  </a:lnTo>
                  <a:lnTo>
                    <a:pt x="303" y="288"/>
                  </a:lnTo>
                  <a:lnTo>
                    <a:pt x="283" y="300"/>
                  </a:lnTo>
                  <a:lnTo>
                    <a:pt x="265" y="304"/>
                  </a:lnTo>
                  <a:lnTo>
                    <a:pt x="250" y="277"/>
                  </a:lnTo>
                  <a:lnTo>
                    <a:pt x="206" y="278"/>
                  </a:lnTo>
                  <a:lnTo>
                    <a:pt x="192" y="290"/>
                  </a:lnTo>
                  <a:lnTo>
                    <a:pt x="182" y="301"/>
                  </a:lnTo>
                  <a:lnTo>
                    <a:pt x="163" y="301"/>
                  </a:lnTo>
                  <a:lnTo>
                    <a:pt x="142" y="305"/>
                  </a:lnTo>
                  <a:lnTo>
                    <a:pt x="126" y="298"/>
                  </a:lnTo>
                  <a:close/>
                </a:path>
              </a:pathLst>
            </a:custGeom>
            <a:solidFill>
              <a:srgbClr val="DCE6F2"/>
            </a:solidFill>
            <a:ln w="3175">
              <a:solidFill>
                <a:schemeClr val="bg1"/>
              </a:solidFill>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ct val="50000"/>
                </a:spcBef>
                <a:spcAft>
                  <a:spcPts val="0"/>
                </a:spcAft>
                <a:defRPr/>
              </a:pPr>
              <a:endParaRPr lang="de-CH" sz="1400" b="1" dirty="0">
                <a:solidFill>
                  <a:schemeClr val="bg1"/>
                </a:solidFill>
              </a:endParaRPr>
            </a:p>
          </p:txBody>
        </p:sp>
        <p:sp>
          <p:nvSpPr>
            <p:cNvPr id="22" name="HR" descr="80%"/>
            <p:cNvSpPr>
              <a:spLocks noChangeAspect="1"/>
            </p:cNvSpPr>
            <p:nvPr/>
          </p:nvSpPr>
          <p:spPr bwMode="auto">
            <a:xfrm>
              <a:off x="6070600" y="4521200"/>
              <a:ext cx="682625" cy="604838"/>
            </a:xfrm>
            <a:custGeom>
              <a:avLst/>
              <a:gdLst>
                <a:gd name="T0" fmla="*/ 9 w 460"/>
                <a:gd name="T1" fmla="*/ 145 h 506"/>
                <a:gd name="T2" fmla="*/ 28 w 460"/>
                <a:gd name="T3" fmla="*/ 185 h 506"/>
                <a:gd name="T4" fmla="*/ 52 w 460"/>
                <a:gd name="T5" fmla="*/ 179 h 506"/>
                <a:gd name="T6" fmla="*/ 71 w 460"/>
                <a:gd name="T7" fmla="*/ 139 h 506"/>
                <a:gd name="T8" fmla="*/ 104 w 460"/>
                <a:gd name="T9" fmla="*/ 158 h 506"/>
                <a:gd name="T10" fmla="*/ 113 w 460"/>
                <a:gd name="T11" fmla="*/ 192 h 506"/>
                <a:gd name="T12" fmla="*/ 129 w 460"/>
                <a:gd name="T13" fmla="*/ 237 h 506"/>
                <a:gd name="T14" fmla="*/ 146 w 460"/>
                <a:gd name="T15" fmla="*/ 269 h 506"/>
                <a:gd name="T16" fmla="*/ 134 w 460"/>
                <a:gd name="T17" fmla="*/ 283 h 506"/>
                <a:gd name="T18" fmla="*/ 204 w 460"/>
                <a:gd name="T19" fmla="*/ 370 h 506"/>
                <a:gd name="T20" fmla="*/ 237 w 460"/>
                <a:gd name="T21" fmla="*/ 374 h 506"/>
                <a:gd name="T22" fmla="*/ 289 w 460"/>
                <a:gd name="T23" fmla="*/ 414 h 506"/>
                <a:gd name="T24" fmla="*/ 303 w 460"/>
                <a:gd name="T25" fmla="*/ 445 h 506"/>
                <a:gd name="T26" fmla="*/ 317 w 460"/>
                <a:gd name="T27" fmla="*/ 444 h 506"/>
                <a:gd name="T28" fmla="*/ 347 w 460"/>
                <a:gd name="T29" fmla="*/ 462 h 506"/>
                <a:gd name="T30" fmla="*/ 367 w 460"/>
                <a:gd name="T31" fmla="*/ 461 h 506"/>
                <a:gd name="T32" fmla="*/ 366 w 460"/>
                <a:gd name="T33" fmla="*/ 428 h 506"/>
                <a:gd name="T34" fmla="*/ 343 w 460"/>
                <a:gd name="T35" fmla="*/ 391 h 506"/>
                <a:gd name="T36" fmla="*/ 289 w 460"/>
                <a:gd name="T37" fmla="*/ 330 h 506"/>
                <a:gd name="T38" fmla="*/ 270 w 460"/>
                <a:gd name="T39" fmla="*/ 324 h 506"/>
                <a:gd name="T40" fmla="*/ 251 w 460"/>
                <a:gd name="T41" fmla="*/ 309 h 506"/>
                <a:gd name="T42" fmla="*/ 237 w 460"/>
                <a:gd name="T43" fmla="*/ 280 h 506"/>
                <a:gd name="T44" fmla="*/ 214 w 460"/>
                <a:gd name="T45" fmla="*/ 235 h 506"/>
                <a:gd name="T46" fmla="*/ 174 w 460"/>
                <a:gd name="T47" fmla="*/ 179 h 506"/>
                <a:gd name="T48" fmla="*/ 195 w 460"/>
                <a:gd name="T49" fmla="*/ 169 h 506"/>
                <a:gd name="T50" fmla="*/ 281 w 460"/>
                <a:gd name="T51" fmla="*/ 145 h 506"/>
                <a:gd name="T52" fmla="*/ 322 w 460"/>
                <a:gd name="T53" fmla="*/ 173 h 506"/>
                <a:gd name="T54" fmla="*/ 338 w 460"/>
                <a:gd name="T55" fmla="*/ 173 h 506"/>
                <a:gd name="T56" fmla="*/ 374 w 460"/>
                <a:gd name="T57" fmla="*/ 176 h 506"/>
                <a:gd name="T58" fmla="*/ 421 w 460"/>
                <a:gd name="T59" fmla="*/ 173 h 506"/>
                <a:gd name="T60" fmla="*/ 451 w 460"/>
                <a:gd name="T61" fmla="*/ 192 h 506"/>
                <a:gd name="T62" fmla="*/ 460 w 460"/>
                <a:gd name="T63" fmla="*/ 158 h 506"/>
                <a:gd name="T64" fmla="*/ 436 w 460"/>
                <a:gd name="T65" fmla="*/ 129 h 506"/>
                <a:gd name="T66" fmla="*/ 434 w 460"/>
                <a:gd name="T67" fmla="*/ 98 h 506"/>
                <a:gd name="T68" fmla="*/ 415 w 460"/>
                <a:gd name="T69" fmla="*/ 77 h 506"/>
                <a:gd name="T70" fmla="*/ 395 w 460"/>
                <a:gd name="T71" fmla="*/ 82 h 506"/>
                <a:gd name="T72" fmla="*/ 371 w 460"/>
                <a:gd name="T73" fmla="*/ 92 h 506"/>
                <a:gd name="T74" fmla="*/ 336 w 460"/>
                <a:gd name="T75" fmla="*/ 61 h 506"/>
                <a:gd name="T76" fmla="*/ 305 w 460"/>
                <a:gd name="T77" fmla="*/ 47 h 506"/>
                <a:gd name="T78" fmla="*/ 251 w 460"/>
                <a:gd name="T79" fmla="*/ 0 h 506"/>
                <a:gd name="T80" fmla="*/ 199 w 460"/>
                <a:gd name="T81" fmla="*/ 34 h 506"/>
                <a:gd name="T82" fmla="*/ 184 w 460"/>
                <a:gd name="T83" fmla="*/ 64 h 506"/>
                <a:gd name="T84" fmla="*/ 101 w 460"/>
                <a:gd name="T85" fmla="*/ 114 h 506"/>
                <a:gd name="T86" fmla="*/ 52 w 460"/>
                <a:gd name="T87" fmla="*/ 114 h 506"/>
                <a:gd name="T88" fmla="*/ 0 w 460"/>
                <a:gd name="T89" fmla="*/ 114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0" h="506">
                  <a:moveTo>
                    <a:pt x="0" y="114"/>
                  </a:moveTo>
                  <a:lnTo>
                    <a:pt x="9" y="145"/>
                  </a:lnTo>
                  <a:lnTo>
                    <a:pt x="19" y="169"/>
                  </a:lnTo>
                  <a:lnTo>
                    <a:pt x="28" y="185"/>
                  </a:lnTo>
                  <a:lnTo>
                    <a:pt x="39" y="188"/>
                  </a:lnTo>
                  <a:lnTo>
                    <a:pt x="52" y="179"/>
                  </a:lnTo>
                  <a:lnTo>
                    <a:pt x="58" y="163"/>
                  </a:lnTo>
                  <a:lnTo>
                    <a:pt x="71" y="139"/>
                  </a:lnTo>
                  <a:lnTo>
                    <a:pt x="87" y="154"/>
                  </a:lnTo>
                  <a:lnTo>
                    <a:pt x="104" y="158"/>
                  </a:lnTo>
                  <a:lnTo>
                    <a:pt x="115" y="166"/>
                  </a:lnTo>
                  <a:lnTo>
                    <a:pt x="113" y="192"/>
                  </a:lnTo>
                  <a:lnTo>
                    <a:pt x="113" y="209"/>
                  </a:lnTo>
                  <a:lnTo>
                    <a:pt x="129" y="237"/>
                  </a:lnTo>
                  <a:lnTo>
                    <a:pt x="148" y="262"/>
                  </a:lnTo>
                  <a:lnTo>
                    <a:pt x="146" y="269"/>
                  </a:lnTo>
                  <a:lnTo>
                    <a:pt x="124" y="269"/>
                  </a:lnTo>
                  <a:lnTo>
                    <a:pt x="134" y="283"/>
                  </a:lnTo>
                  <a:lnTo>
                    <a:pt x="198" y="364"/>
                  </a:lnTo>
                  <a:lnTo>
                    <a:pt x="204" y="370"/>
                  </a:lnTo>
                  <a:lnTo>
                    <a:pt x="223" y="370"/>
                  </a:lnTo>
                  <a:lnTo>
                    <a:pt x="237" y="374"/>
                  </a:lnTo>
                  <a:lnTo>
                    <a:pt x="265" y="388"/>
                  </a:lnTo>
                  <a:lnTo>
                    <a:pt x="289" y="414"/>
                  </a:lnTo>
                  <a:lnTo>
                    <a:pt x="294" y="425"/>
                  </a:lnTo>
                  <a:lnTo>
                    <a:pt x="303" y="445"/>
                  </a:lnTo>
                  <a:lnTo>
                    <a:pt x="310" y="444"/>
                  </a:lnTo>
                  <a:lnTo>
                    <a:pt x="317" y="444"/>
                  </a:lnTo>
                  <a:lnTo>
                    <a:pt x="336" y="452"/>
                  </a:lnTo>
                  <a:lnTo>
                    <a:pt x="347" y="462"/>
                  </a:lnTo>
                  <a:lnTo>
                    <a:pt x="383" y="506"/>
                  </a:lnTo>
                  <a:lnTo>
                    <a:pt x="367" y="461"/>
                  </a:lnTo>
                  <a:lnTo>
                    <a:pt x="358" y="444"/>
                  </a:lnTo>
                  <a:lnTo>
                    <a:pt x="366" y="428"/>
                  </a:lnTo>
                  <a:lnTo>
                    <a:pt x="361" y="414"/>
                  </a:lnTo>
                  <a:lnTo>
                    <a:pt x="343" y="391"/>
                  </a:lnTo>
                  <a:lnTo>
                    <a:pt x="310" y="348"/>
                  </a:lnTo>
                  <a:lnTo>
                    <a:pt x="289" y="330"/>
                  </a:lnTo>
                  <a:lnTo>
                    <a:pt x="281" y="321"/>
                  </a:lnTo>
                  <a:lnTo>
                    <a:pt x="270" y="324"/>
                  </a:lnTo>
                  <a:lnTo>
                    <a:pt x="253" y="309"/>
                  </a:lnTo>
                  <a:lnTo>
                    <a:pt x="251" y="309"/>
                  </a:lnTo>
                  <a:lnTo>
                    <a:pt x="242" y="299"/>
                  </a:lnTo>
                  <a:lnTo>
                    <a:pt x="237" y="280"/>
                  </a:lnTo>
                  <a:lnTo>
                    <a:pt x="232" y="262"/>
                  </a:lnTo>
                  <a:lnTo>
                    <a:pt x="214" y="235"/>
                  </a:lnTo>
                  <a:lnTo>
                    <a:pt x="176" y="191"/>
                  </a:lnTo>
                  <a:lnTo>
                    <a:pt x="174" y="179"/>
                  </a:lnTo>
                  <a:lnTo>
                    <a:pt x="176" y="173"/>
                  </a:lnTo>
                  <a:lnTo>
                    <a:pt x="195" y="169"/>
                  </a:lnTo>
                  <a:lnTo>
                    <a:pt x="247" y="188"/>
                  </a:lnTo>
                  <a:lnTo>
                    <a:pt x="281" y="145"/>
                  </a:lnTo>
                  <a:lnTo>
                    <a:pt x="310" y="172"/>
                  </a:lnTo>
                  <a:lnTo>
                    <a:pt x="322" y="173"/>
                  </a:lnTo>
                  <a:lnTo>
                    <a:pt x="328" y="185"/>
                  </a:lnTo>
                  <a:lnTo>
                    <a:pt x="338" y="173"/>
                  </a:lnTo>
                  <a:lnTo>
                    <a:pt x="357" y="173"/>
                  </a:lnTo>
                  <a:lnTo>
                    <a:pt x="374" y="176"/>
                  </a:lnTo>
                  <a:lnTo>
                    <a:pt x="396" y="163"/>
                  </a:lnTo>
                  <a:lnTo>
                    <a:pt x="421" y="173"/>
                  </a:lnTo>
                  <a:lnTo>
                    <a:pt x="434" y="188"/>
                  </a:lnTo>
                  <a:lnTo>
                    <a:pt x="451" y="192"/>
                  </a:lnTo>
                  <a:lnTo>
                    <a:pt x="452" y="179"/>
                  </a:lnTo>
                  <a:lnTo>
                    <a:pt x="460" y="158"/>
                  </a:lnTo>
                  <a:lnTo>
                    <a:pt x="451" y="148"/>
                  </a:lnTo>
                  <a:lnTo>
                    <a:pt x="436" y="129"/>
                  </a:lnTo>
                  <a:lnTo>
                    <a:pt x="434" y="111"/>
                  </a:lnTo>
                  <a:lnTo>
                    <a:pt x="434" y="98"/>
                  </a:lnTo>
                  <a:lnTo>
                    <a:pt x="436" y="82"/>
                  </a:lnTo>
                  <a:lnTo>
                    <a:pt x="415" y="77"/>
                  </a:lnTo>
                  <a:lnTo>
                    <a:pt x="405" y="74"/>
                  </a:lnTo>
                  <a:lnTo>
                    <a:pt x="395" y="82"/>
                  </a:lnTo>
                  <a:lnTo>
                    <a:pt x="383" y="92"/>
                  </a:lnTo>
                  <a:lnTo>
                    <a:pt x="371" y="92"/>
                  </a:lnTo>
                  <a:lnTo>
                    <a:pt x="352" y="71"/>
                  </a:lnTo>
                  <a:lnTo>
                    <a:pt x="336" y="61"/>
                  </a:lnTo>
                  <a:lnTo>
                    <a:pt x="319" y="64"/>
                  </a:lnTo>
                  <a:lnTo>
                    <a:pt x="305" y="47"/>
                  </a:lnTo>
                  <a:lnTo>
                    <a:pt x="267" y="3"/>
                  </a:lnTo>
                  <a:lnTo>
                    <a:pt x="251" y="0"/>
                  </a:lnTo>
                  <a:lnTo>
                    <a:pt x="226" y="37"/>
                  </a:lnTo>
                  <a:lnTo>
                    <a:pt x="199" y="34"/>
                  </a:lnTo>
                  <a:lnTo>
                    <a:pt x="188" y="47"/>
                  </a:lnTo>
                  <a:lnTo>
                    <a:pt x="184" y="64"/>
                  </a:lnTo>
                  <a:lnTo>
                    <a:pt x="134" y="124"/>
                  </a:lnTo>
                  <a:lnTo>
                    <a:pt x="101" y="114"/>
                  </a:lnTo>
                  <a:lnTo>
                    <a:pt x="68" y="105"/>
                  </a:lnTo>
                  <a:lnTo>
                    <a:pt x="52" y="114"/>
                  </a:lnTo>
                  <a:lnTo>
                    <a:pt x="30" y="124"/>
                  </a:lnTo>
                  <a:lnTo>
                    <a:pt x="0" y="114"/>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nvGrpSpPr>
            <p:cNvPr id="23" name="FR"/>
            <p:cNvGrpSpPr>
              <a:grpSpLocks/>
            </p:cNvGrpSpPr>
            <p:nvPr/>
          </p:nvGrpSpPr>
          <p:grpSpPr bwMode="auto">
            <a:xfrm>
              <a:off x="4143297" y="3644915"/>
              <a:ext cx="1436689" cy="1531940"/>
              <a:chOff x="1095378" y="3963090"/>
              <a:chExt cx="659" cy="793"/>
            </a:xfrm>
            <a:solidFill>
              <a:schemeClr val="bg1">
                <a:lumMod val="95000"/>
              </a:schemeClr>
            </a:solidFill>
            <a:effectLst/>
          </p:grpSpPr>
          <p:sp>
            <p:nvSpPr>
              <p:cNvPr id="101" name="Freeform 573"/>
              <p:cNvSpPr>
                <a:spLocks noChangeAspect="1"/>
              </p:cNvSpPr>
              <p:nvPr/>
            </p:nvSpPr>
            <p:spPr bwMode="auto">
              <a:xfrm>
                <a:off x="1095980" y="3963778"/>
                <a:ext cx="57" cy="105"/>
              </a:xfrm>
              <a:custGeom>
                <a:avLst/>
                <a:gdLst>
                  <a:gd name="T0" fmla="*/ 85 w 85"/>
                  <a:gd name="T1" fmla="*/ 0 h 172"/>
                  <a:gd name="T2" fmla="*/ 57 w 85"/>
                  <a:gd name="T3" fmla="*/ 37 h 172"/>
                  <a:gd name="T4" fmla="*/ 24 w 85"/>
                  <a:gd name="T5" fmla="*/ 37 h 172"/>
                  <a:gd name="T6" fmla="*/ 0 w 85"/>
                  <a:gd name="T7" fmla="*/ 58 h 172"/>
                  <a:gd name="T8" fmla="*/ 5 w 85"/>
                  <a:gd name="T9" fmla="*/ 86 h 172"/>
                  <a:gd name="T10" fmla="*/ 5 w 85"/>
                  <a:gd name="T11" fmla="*/ 135 h 172"/>
                  <a:gd name="T12" fmla="*/ 24 w 85"/>
                  <a:gd name="T13" fmla="*/ 172 h 172"/>
                  <a:gd name="T14" fmla="*/ 47 w 85"/>
                  <a:gd name="T15" fmla="*/ 162 h 172"/>
                  <a:gd name="T16" fmla="*/ 52 w 85"/>
                  <a:gd name="T17" fmla="*/ 141 h 172"/>
                  <a:gd name="T18" fmla="*/ 76 w 85"/>
                  <a:gd name="T19" fmla="*/ 92 h 172"/>
                  <a:gd name="T20" fmla="*/ 76 w 85"/>
                  <a:gd name="T21" fmla="*/ 67 h 172"/>
                  <a:gd name="T22" fmla="*/ 85 w 85"/>
                  <a:gd name="T23"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172">
                    <a:moveTo>
                      <a:pt x="85" y="0"/>
                    </a:moveTo>
                    <a:lnTo>
                      <a:pt x="57" y="37"/>
                    </a:lnTo>
                    <a:lnTo>
                      <a:pt x="24" y="37"/>
                    </a:lnTo>
                    <a:lnTo>
                      <a:pt x="0" y="58"/>
                    </a:lnTo>
                    <a:lnTo>
                      <a:pt x="5" y="86"/>
                    </a:lnTo>
                    <a:lnTo>
                      <a:pt x="5" y="135"/>
                    </a:lnTo>
                    <a:lnTo>
                      <a:pt x="24" y="172"/>
                    </a:lnTo>
                    <a:lnTo>
                      <a:pt x="47" y="162"/>
                    </a:lnTo>
                    <a:lnTo>
                      <a:pt x="52" y="141"/>
                    </a:lnTo>
                    <a:lnTo>
                      <a:pt x="76" y="92"/>
                    </a:lnTo>
                    <a:lnTo>
                      <a:pt x="76" y="67"/>
                    </a:lnTo>
                    <a:lnTo>
                      <a:pt x="85" y="0"/>
                    </a:lnTo>
                    <a:close/>
                  </a:path>
                </a:pathLst>
              </a:custGeom>
              <a:solidFill>
                <a:schemeClr val="accent1">
                  <a:lumMod val="20000"/>
                  <a:lumOff val="80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02" name="Freeform 574"/>
              <p:cNvSpPr>
                <a:spLocks noChangeAspect="1"/>
              </p:cNvSpPr>
              <p:nvPr/>
            </p:nvSpPr>
            <p:spPr bwMode="auto">
              <a:xfrm>
                <a:off x="1095378" y="3963090"/>
                <a:ext cx="657" cy="655"/>
              </a:xfrm>
              <a:custGeom>
                <a:avLst/>
                <a:gdLst>
                  <a:gd name="T0" fmla="*/ 14 w 965"/>
                  <a:gd name="T1" fmla="*/ 206 h 1060"/>
                  <a:gd name="T2" fmla="*/ 16 w 965"/>
                  <a:gd name="T3" fmla="*/ 247 h 1060"/>
                  <a:gd name="T4" fmla="*/ 94 w 965"/>
                  <a:gd name="T5" fmla="*/ 314 h 1060"/>
                  <a:gd name="T6" fmla="*/ 154 w 965"/>
                  <a:gd name="T7" fmla="*/ 356 h 1060"/>
                  <a:gd name="T8" fmla="*/ 148 w 965"/>
                  <a:gd name="T9" fmla="*/ 411 h 1060"/>
                  <a:gd name="T10" fmla="*/ 183 w 965"/>
                  <a:gd name="T11" fmla="*/ 495 h 1060"/>
                  <a:gd name="T12" fmla="*/ 200 w 965"/>
                  <a:gd name="T13" fmla="*/ 609 h 1060"/>
                  <a:gd name="T14" fmla="*/ 167 w 965"/>
                  <a:gd name="T15" fmla="*/ 609 h 1060"/>
                  <a:gd name="T16" fmla="*/ 146 w 965"/>
                  <a:gd name="T17" fmla="*/ 667 h 1060"/>
                  <a:gd name="T18" fmla="*/ 124 w 965"/>
                  <a:gd name="T19" fmla="*/ 725 h 1060"/>
                  <a:gd name="T20" fmla="*/ 72 w 965"/>
                  <a:gd name="T21" fmla="*/ 828 h 1060"/>
                  <a:gd name="T22" fmla="*/ 75 w 965"/>
                  <a:gd name="T23" fmla="*/ 878 h 1060"/>
                  <a:gd name="T24" fmla="*/ 204 w 965"/>
                  <a:gd name="T25" fmla="*/ 973 h 1060"/>
                  <a:gd name="T26" fmla="*/ 314 w 965"/>
                  <a:gd name="T27" fmla="*/ 1031 h 1060"/>
                  <a:gd name="T28" fmla="*/ 410 w 965"/>
                  <a:gd name="T29" fmla="*/ 1060 h 1060"/>
                  <a:gd name="T30" fmla="*/ 446 w 965"/>
                  <a:gd name="T31" fmla="*/ 979 h 1060"/>
                  <a:gd name="T32" fmla="*/ 533 w 965"/>
                  <a:gd name="T33" fmla="*/ 943 h 1060"/>
                  <a:gd name="T34" fmla="*/ 596 w 965"/>
                  <a:gd name="T35" fmla="*/ 980 h 1060"/>
                  <a:gd name="T36" fmla="*/ 684 w 965"/>
                  <a:gd name="T37" fmla="*/ 1031 h 1060"/>
                  <a:gd name="T38" fmla="*/ 764 w 965"/>
                  <a:gd name="T39" fmla="*/ 1010 h 1060"/>
                  <a:gd name="T40" fmla="*/ 822 w 965"/>
                  <a:gd name="T41" fmla="*/ 942 h 1060"/>
                  <a:gd name="T42" fmla="*/ 786 w 965"/>
                  <a:gd name="T43" fmla="*/ 912 h 1060"/>
                  <a:gd name="T44" fmla="*/ 780 w 965"/>
                  <a:gd name="T45" fmla="*/ 815 h 1060"/>
                  <a:gd name="T46" fmla="*/ 803 w 965"/>
                  <a:gd name="T47" fmla="*/ 725 h 1060"/>
                  <a:gd name="T48" fmla="*/ 803 w 965"/>
                  <a:gd name="T49" fmla="*/ 643 h 1060"/>
                  <a:gd name="T50" fmla="*/ 761 w 965"/>
                  <a:gd name="T51" fmla="*/ 646 h 1060"/>
                  <a:gd name="T52" fmla="*/ 742 w 965"/>
                  <a:gd name="T53" fmla="*/ 633 h 1060"/>
                  <a:gd name="T54" fmla="*/ 786 w 965"/>
                  <a:gd name="T55" fmla="*/ 575 h 1060"/>
                  <a:gd name="T56" fmla="*/ 855 w 965"/>
                  <a:gd name="T57" fmla="*/ 501 h 1060"/>
                  <a:gd name="T58" fmla="*/ 890 w 965"/>
                  <a:gd name="T59" fmla="*/ 464 h 1060"/>
                  <a:gd name="T60" fmla="*/ 918 w 965"/>
                  <a:gd name="T61" fmla="*/ 393 h 1060"/>
                  <a:gd name="T62" fmla="*/ 965 w 965"/>
                  <a:gd name="T63" fmla="*/ 333 h 1060"/>
                  <a:gd name="T64" fmla="*/ 909 w 965"/>
                  <a:gd name="T65" fmla="*/ 303 h 1060"/>
                  <a:gd name="T66" fmla="*/ 843 w 965"/>
                  <a:gd name="T67" fmla="*/ 277 h 1060"/>
                  <a:gd name="T68" fmla="*/ 798 w 965"/>
                  <a:gd name="T69" fmla="*/ 232 h 1060"/>
                  <a:gd name="T70" fmla="*/ 734 w 965"/>
                  <a:gd name="T71" fmla="*/ 169 h 1060"/>
                  <a:gd name="T72" fmla="*/ 681 w 965"/>
                  <a:gd name="T73" fmla="*/ 108 h 1060"/>
                  <a:gd name="T74" fmla="*/ 643 w 965"/>
                  <a:gd name="T75" fmla="*/ 43 h 1060"/>
                  <a:gd name="T76" fmla="*/ 561 w 965"/>
                  <a:gd name="T77" fmla="*/ 3 h 1060"/>
                  <a:gd name="T78" fmla="*/ 525 w 965"/>
                  <a:gd name="T79" fmla="*/ 50 h 1060"/>
                  <a:gd name="T80" fmla="*/ 401 w 965"/>
                  <a:gd name="T81" fmla="*/ 124 h 1060"/>
                  <a:gd name="T82" fmla="*/ 335 w 965"/>
                  <a:gd name="T83" fmla="*/ 148 h 1060"/>
                  <a:gd name="T84" fmla="*/ 277 w 965"/>
                  <a:gd name="T85" fmla="*/ 111 h 1060"/>
                  <a:gd name="T86" fmla="*/ 251 w 965"/>
                  <a:gd name="T87" fmla="*/ 80 h 1060"/>
                  <a:gd name="T88" fmla="*/ 258 w 965"/>
                  <a:gd name="T89" fmla="*/ 118 h 1060"/>
                  <a:gd name="T90" fmla="*/ 249 w 965"/>
                  <a:gd name="T91" fmla="*/ 161 h 1060"/>
                  <a:gd name="T92" fmla="*/ 230 w 965"/>
                  <a:gd name="T93" fmla="*/ 195 h 1060"/>
                  <a:gd name="T94" fmla="*/ 178 w 965"/>
                  <a:gd name="T95" fmla="*/ 179 h 1060"/>
                  <a:gd name="T96" fmla="*/ 118 w 965"/>
                  <a:gd name="T97" fmla="*/ 136 h 1060"/>
                  <a:gd name="T98" fmla="*/ 75 w 965"/>
                  <a:gd name="T99" fmla="*/ 154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65" h="1060">
                    <a:moveTo>
                      <a:pt x="16" y="151"/>
                    </a:moveTo>
                    <a:lnTo>
                      <a:pt x="25" y="176"/>
                    </a:lnTo>
                    <a:lnTo>
                      <a:pt x="16" y="198"/>
                    </a:lnTo>
                    <a:lnTo>
                      <a:pt x="14" y="206"/>
                    </a:lnTo>
                    <a:lnTo>
                      <a:pt x="0" y="201"/>
                    </a:lnTo>
                    <a:lnTo>
                      <a:pt x="5" y="213"/>
                    </a:lnTo>
                    <a:lnTo>
                      <a:pt x="5" y="226"/>
                    </a:lnTo>
                    <a:lnTo>
                      <a:pt x="16" y="247"/>
                    </a:lnTo>
                    <a:lnTo>
                      <a:pt x="38" y="240"/>
                    </a:lnTo>
                    <a:lnTo>
                      <a:pt x="66" y="274"/>
                    </a:lnTo>
                    <a:lnTo>
                      <a:pt x="77" y="297"/>
                    </a:lnTo>
                    <a:lnTo>
                      <a:pt x="94" y="314"/>
                    </a:lnTo>
                    <a:lnTo>
                      <a:pt x="115" y="314"/>
                    </a:lnTo>
                    <a:lnTo>
                      <a:pt x="124" y="334"/>
                    </a:lnTo>
                    <a:lnTo>
                      <a:pt x="143" y="353"/>
                    </a:lnTo>
                    <a:lnTo>
                      <a:pt x="154" y="356"/>
                    </a:lnTo>
                    <a:lnTo>
                      <a:pt x="157" y="363"/>
                    </a:lnTo>
                    <a:lnTo>
                      <a:pt x="151" y="380"/>
                    </a:lnTo>
                    <a:lnTo>
                      <a:pt x="151" y="395"/>
                    </a:lnTo>
                    <a:lnTo>
                      <a:pt x="148" y="411"/>
                    </a:lnTo>
                    <a:lnTo>
                      <a:pt x="143" y="438"/>
                    </a:lnTo>
                    <a:lnTo>
                      <a:pt x="162" y="464"/>
                    </a:lnTo>
                    <a:lnTo>
                      <a:pt x="183" y="482"/>
                    </a:lnTo>
                    <a:lnTo>
                      <a:pt x="183" y="495"/>
                    </a:lnTo>
                    <a:lnTo>
                      <a:pt x="181" y="540"/>
                    </a:lnTo>
                    <a:lnTo>
                      <a:pt x="176" y="577"/>
                    </a:lnTo>
                    <a:lnTo>
                      <a:pt x="181" y="593"/>
                    </a:lnTo>
                    <a:lnTo>
                      <a:pt x="200" y="609"/>
                    </a:lnTo>
                    <a:lnTo>
                      <a:pt x="200" y="640"/>
                    </a:lnTo>
                    <a:lnTo>
                      <a:pt x="200" y="661"/>
                    </a:lnTo>
                    <a:lnTo>
                      <a:pt x="178" y="630"/>
                    </a:lnTo>
                    <a:lnTo>
                      <a:pt x="167" y="609"/>
                    </a:lnTo>
                    <a:lnTo>
                      <a:pt x="159" y="614"/>
                    </a:lnTo>
                    <a:lnTo>
                      <a:pt x="165" y="630"/>
                    </a:lnTo>
                    <a:lnTo>
                      <a:pt x="157" y="649"/>
                    </a:lnTo>
                    <a:lnTo>
                      <a:pt x="146" y="667"/>
                    </a:lnTo>
                    <a:lnTo>
                      <a:pt x="138" y="680"/>
                    </a:lnTo>
                    <a:lnTo>
                      <a:pt x="148" y="693"/>
                    </a:lnTo>
                    <a:lnTo>
                      <a:pt x="140" y="707"/>
                    </a:lnTo>
                    <a:lnTo>
                      <a:pt x="124" y="725"/>
                    </a:lnTo>
                    <a:lnTo>
                      <a:pt x="121" y="741"/>
                    </a:lnTo>
                    <a:lnTo>
                      <a:pt x="113" y="760"/>
                    </a:lnTo>
                    <a:lnTo>
                      <a:pt x="87" y="794"/>
                    </a:lnTo>
                    <a:lnTo>
                      <a:pt x="72" y="828"/>
                    </a:lnTo>
                    <a:lnTo>
                      <a:pt x="72" y="833"/>
                    </a:lnTo>
                    <a:lnTo>
                      <a:pt x="80" y="843"/>
                    </a:lnTo>
                    <a:lnTo>
                      <a:pt x="71" y="859"/>
                    </a:lnTo>
                    <a:lnTo>
                      <a:pt x="75" y="878"/>
                    </a:lnTo>
                    <a:lnTo>
                      <a:pt x="89" y="902"/>
                    </a:lnTo>
                    <a:lnTo>
                      <a:pt x="148" y="939"/>
                    </a:lnTo>
                    <a:lnTo>
                      <a:pt x="190" y="979"/>
                    </a:lnTo>
                    <a:lnTo>
                      <a:pt x="204" y="973"/>
                    </a:lnTo>
                    <a:lnTo>
                      <a:pt x="225" y="964"/>
                    </a:lnTo>
                    <a:lnTo>
                      <a:pt x="297" y="998"/>
                    </a:lnTo>
                    <a:lnTo>
                      <a:pt x="308" y="1010"/>
                    </a:lnTo>
                    <a:lnTo>
                      <a:pt x="314" y="1031"/>
                    </a:lnTo>
                    <a:lnTo>
                      <a:pt x="327" y="1038"/>
                    </a:lnTo>
                    <a:lnTo>
                      <a:pt x="343" y="1041"/>
                    </a:lnTo>
                    <a:lnTo>
                      <a:pt x="368" y="1057"/>
                    </a:lnTo>
                    <a:lnTo>
                      <a:pt x="410" y="1060"/>
                    </a:lnTo>
                    <a:lnTo>
                      <a:pt x="423" y="1041"/>
                    </a:lnTo>
                    <a:lnTo>
                      <a:pt x="427" y="1020"/>
                    </a:lnTo>
                    <a:lnTo>
                      <a:pt x="427" y="997"/>
                    </a:lnTo>
                    <a:lnTo>
                      <a:pt x="446" y="979"/>
                    </a:lnTo>
                    <a:lnTo>
                      <a:pt x="481" y="957"/>
                    </a:lnTo>
                    <a:lnTo>
                      <a:pt x="498" y="954"/>
                    </a:lnTo>
                    <a:lnTo>
                      <a:pt x="517" y="943"/>
                    </a:lnTo>
                    <a:lnTo>
                      <a:pt x="533" y="943"/>
                    </a:lnTo>
                    <a:lnTo>
                      <a:pt x="552" y="957"/>
                    </a:lnTo>
                    <a:lnTo>
                      <a:pt x="566" y="976"/>
                    </a:lnTo>
                    <a:lnTo>
                      <a:pt x="582" y="976"/>
                    </a:lnTo>
                    <a:lnTo>
                      <a:pt x="596" y="980"/>
                    </a:lnTo>
                    <a:lnTo>
                      <a:pt x="624" y="983"/>
                    </a:lnTo>
                    <a:lnTo>
                      <a:pt x="643" y="1010"/>
                    </a:lnTo>
                    <a:lnTo>
                      <a:pt x="660" y="1023"/>
                    </a:lnTo>
                    <a:lnTo>
                      <a:pt x="684" y="1031"/>
                    </a:lnTo>
                    <a:lnTo>
                      <a:pt x="704" y="1044"/>
                    </a:lnTo>
                    <a:lnTo>
                      <a:pt x="715" y="1047"/>
                    </a:lnTo>
                    <a:lnTo>
                      <a:pt x="745" y="1014"/>
                    </a:lnTo>
                    <a:lnTo>
                      <a:pt x="764" y="1010"/>
                    </a:lnTo>
                    <a:lnTo>
                      <a:pt x="777" y="997"/>
                    </a:lnTo>
                    <a:lnTo>
                      <a:pt x="798" y="980"/>
                    </a:lnTo>
                    <a:lnTo>
                      <a:pt x="824" y="979"/>
                    </a:lnTo>
                    <a:lnTo>
                      <a:pt x="822" y="942"/>
                    </a:lnTo>
                    <a:lnTo>
                      <a:pt x="817" y="930"/>
                    </a:lnTo>
                    <a:lnTo>
                      <a:pt x="805" y="912"/>
                    </a:lnTo>
                    <a:lnTo>
                      <a:pt x="796" y="915"/>
                    </a:lnTo>
                    <a:lnTo>
                      <a:pt x="786" y="912"/>
                    </a:lnTo>
                    <a:lnTo>
                      <a:pt x="777" y="896"/>
                    </a:lnTo>
                    <a:lnTo>
                      <a:pt x="775" y="859"/>
                    </a:lnTo>
                    <a:lnTo>
                      <a:pt x="794" y="835"/>
                    </a:lnTo>
                    <a:lnTo>
                      <a:pt x="780" y="815"/>
                    </a:lnTo>
                    <a:lnTo>
                      <a:pt x="780" y="806"/>
                    </a:lnTo>
                    <a:lnTo>
                      <a:pt x="808" y="775"/>
                    </a:lnTo>
                    <a:lnTo>
                      <a:pt x="808" y="764"/>
                    </a:lnTo>
                    <a:lnTo>
                      <a:pt x="803" y="725"/>
                    </a:lnTo>
                    <a:lnTo>
                      <a:pt x="819" y="707"/>
                    </a:lnTo>
                    <a:lnTo>
                      <a:pt x="805" y="686"/>
                    </a:lnTo>
                    <a:lnTo>
                      <a:pt x="805" y="670"/>
                    </a:lnTo>
                    <a:lnTo>
                      <a:pt x="803" y="643"/>
                    </a:lnTo>
                    <a:lnTo>
                      <a:pt x="796" y="636"/>
                    </a:lnTo>
                    <a:lnTo>
                      <a:pt x="780" y="636"/>
                    </a:lnTo>
                    <a:lnTo>
                      <a:pt x="765" y="640"/>
                    </a:lnTo>
                    <a:lnTo>
                      <a:pt x="761" y="646"/>
                    </a:lnTo>
                    <a:lnTo>
                      <a:pt x="751" y="656"/>
                    </a:lnTo>
                    <a:lnTo>
                      <a:pt x="737" y="661"/>
                    </a:lnTo>
                    <a:lnTo>
                      <a:pt x="732" y="646"/>
                    </a:lnTo>
                    <a:lnTo>
                      <a:pt x="742" y="633"/>
                    </a:lnTo>
                    <a:lnTo>
                      <a:pt x="747" y="622"/>
                    </a:lnTo>
                    <a:lnTo>
                      <a:pt x="747" y="609"/>
                    </a:lnTo>
                    <a:lnTo>
                      <a:pt x="772" y="580"/>
                    </a:lnTo>
                    <a:lnTo>
                      <a:pt x="786" y="575"/>
                    </a:lnTo>
                    <a:lnTo>
                      <a:pt x="789" y="553"/>
                    </a:lnTo>
                    <a:lnTo>
                      <a:pt x="803" y="535"/>
                    </a:lnTo>
                    <a:lnTo>
                      <a:pt x="843" y="501"/>
                    </a:lnTo>
                    <a:lnTo>
                      <a:pt x="855" y="501"/>
                    </a:lnTo>
                    <a:lnTo>
                      <a:pt x="860" y="488"/>
                    </a:lnTo>
                    <a:lnTo>
                      <a:pt x="874" y="472"/>
                    </a:lnTo>
                    <a:lnTo>
                      <a:pt x="885" y="472"/>
                    </a:lnTo>
                    <a:lnTo>
                      <a:pt x="890" y="464"/>
                    </a:lnTo>
                    <a:lnTo>
                      <a:pt x="897" y="458"/>
                    </a:lnTo>
                    <a:lnTo>
                      <a:pt x="907" y="439"/>
                    </a:lnTo>
                    <a:lnTo>
                      <a:pt x="915" y="411"/>
                    </a:lnTo>
                    <a:lnTo>
                      <a:pt x="918" y="393"/>
                    </a:lnTo>
                    <a:lnTo>
                      <a:pt x="918" y="377"/>
                    </a:lnTo>
                    <a:lnTo>
                      <a:pt x="932" y="358"/>
                    </a:lnTo>
                    <a:lnTo>
                      <a:pt x="953" y="346"/>
                    </a:lnTo>
                    <a:lnTo>
                      <a:pt x="965" y="333"/>
                    </a:lnTo>
                    <a:lnTo>
                      <a:pt x="965" y="327"/>
                    </a:lnTo>
                    <a:lnTo>
                      <a:pt x="946" y="311"/>
                    </a:lnTo>
                    <a:lnTo>
                      <a:pt x="937" y="306"/>
                    </a:lnTo>
                    <a:lnTo>
                      <a:pt x="909" y="303"/>
                    </a:lnTo>
                    <a:lnTo>
                      <a:pt x="878" y="297"/>
                    </a:lnTo>
                    <a:lnTo>
                      <a:pt x="866" y="296"/>
                    </a:lnTo>
                    <a:lnTo>
                      <a:pt x="855" y="290"/>
                    </a:lnTo>
                    <a:lnTo>
                      <a:pt x="843" y="277"/>
                    </a:lnTo>
                    <a:lnTo>
                      <a:pt x="833" y="256"/>
                    </a:lnTo>
                    <a:lnTo>
                      <a:pt x="824" y="243"/>
                    </a:lnTo>
                    <a:lnTo>
                      <a:pt x="812" y="237"/>
                    </a:lnTo>
                    <a:lnTo>
                      <a:pt x="798" y="232"/>
                    </a:lnTo>
                    <a:lnTo>
                      <a:pt x="791" y="229"/>
                    </a:lnTo>
                    <a:lnTo>
                      <a:pt x="772" y="210"/>
                    </a:lnTo>
                    <a:lnTo>
                      <a:pt x="748" y="189"/>
                    </a:lnTo>
                    <a:lnTo>
                      <a:pt x="734" y="169"/>
                    </a:lnTo>
                    <a:lnTo>
                      <a:pt x="718" y="164"/>
                    </a:lnTo>
                    <a:lnTo>
                      <a:pt x="709" y="155"/>
                    </a:lnTo>
                    <a:lnTo>
                      <a:pt x="701" y="135"/>
                    </a:lnTo>
                    <a:lnTo>
                      <a:pt x="681" y="108"/>
                    </a:lnTo>
                    <a:lnTo>
                      <a:pt x="676" y="90"/>
                    </a:lnTo>
                    <a:lnTo>
                      <a:pt x="660" y="71"/>
                    </a:lnTo>
                    <a:lnTo>
                      <a:pt x="652" y="55"/>
                    </a:lnTo>
                    <a:lnTo>
                      <a:pt x="643" y="43"/>
                    </a:lnTo>
                    <a:lnTo>
                      <a:pt x="627" y="28"/>
                    </a:lnTo>
                    <a:lnTo>
                      <a:pt x="610" y="8"/>
                    </a:lnTo>
                    <a:lnTo>
                      <a:pt x="596" y="0"/>
                    </a:lnTo>
                    <a:lnTo>
                      <a:pt x="561" y="3"/>
                    </a:lnTo>
                    <a:lnTo>
                      <a:pt x="547" y="3"/>
                    </a:lnTo>
                    <a:lnTo>
                      <a:pt x="528" y="18"/>
                    </a:lnTo>
                    <a:lnTo>
                      <a:pt x="539" y="31"/>
                    </a:lnTo>
                    <a:lnTo>
                      <a:pt x="525" y="50"/>
                    </a:lnTo>
                    <a:lnTo>
                      <a:pt x="490" y="100"/>
                    </a:lnTo>
                    <a:lnTo>
                      <a:pt x="472" y="111"/>
                    </a:lnTo>
                    <a:lnTo>
                      <a:pt x="423" y="117"/>
                    </a:lnTo>
                    <a:lnTo>
                      <a:pt x="401" y="124"/>
                    </a:lnTo>
                    <a:lnTo>
                      <a:pt x="390" y="136"/>
                    </a:lnTo>
                    <a:lnTo>
                      <a:pt x="385" y="148"/>
                    </a:lnTo>
                    <a:lnTo>
                      <a:pt x="366" y="142"/>
                    </a:lnTo>
                    <a:lnTo>
                      <a:pt x="335" y="148"/>
                    </a:lnTo>
                    <a:lnTo>
                      <a:pt x="316" y="145"/>
                    </a:lnTo>
                    <a:lnTo>
                      <a:pt x="300" y="132"/>
                    </a:lnTo>
                    <a:lnTo>
                      <a:pt x="289" y="117"/>
                    </a:lnTo>
                    <a:lnTo>
                      <a:pt x="277" y="111"/>
                    </a:lnTo>
                    <a:lnTo>
                      <a:pt x="286" y="98"/>
                    </a:lnTo>
                    <a:lnTo>
                      <a:pt x="272" y="84"/>
                    </a:lnTo>
                    <a:lnTo>
                      <a:pt x="261" y="81"/>
                    </a:lnTo>
                    <a:lnTo>
                      <a:pt x="251" y="80"/>
                    </a:lnTo>
                    <a:lnTo>
                      <a:pt x="249" y="84"/>
                    </a:lnTo>
                    <a:lnTo>
                      <a:pt x="258" y="95"/>
                    </a:lnTo>
                    <a:lnTo>
                      <a:pt x="253" y="102"/>
                    </a:lnTo>
                    <a:lnTo>
                      <a:pt x="258" y="118"/>
                    </a:lnTo>
                    <a:lnTo>
                      <a:pt x="261" y="136"/>
                    </a:lnTo>
                    <a:lnTo>
                      <a:pt x="261" y="151"/>
                    </a:lnTo>
                    <a:lnTo>
                      <a:pt x="258" y="154"/>
                    </a:lnTo>
                    <a:lnTo>
                      <a:pt x="249" y="161"/>
                    </a:lnTo>
                    <a:lnTo>
                      <a:pt x="247" y="173"/>
                    </a:lnTo>
                    <a:lnTo>
                      <a:pt x="247" y="188"/>
                    </a:lnTo>
                    <a:lnTo>
                      <a:pt x="244" y="198"/>
                    </a:lnTo>
                    <a:lnTo>
                      <a:pt x="230" y="195"/>
                    </a:lnTo>
                    <a:lnTo>
                      <a:pt x="214" y="185"/>
                    </a:lnTo>
                    <a:lnTo>
                      <a:pt x="204" y="195"/>
                    </a:lnTo>
                    <a:lnTo>
                      <a:pt x="187" y="182"/>
                    </a:lnTo>
                    <a:lnTo>
                      <a:pt x="178" y="179"/>
                    </a:lnTo>
                    <a:lnTo>
                      <a:pt x="167" y="189"/>
                    </a:lnTo>
                    <a:lnTo>
                      <a:pt x="157" y="188"/>
                    </a:lnTo>
                    <a:lnTo>
                      <a:pt x="157" y="179"/>
                    </a:lnTo>
                    <a:lnTo>
                      <a:pt x="118" y="136"/>
                    </a:lnTo>
                    <a:lnTo>
                      <a:pt x="108" y="135"/>
                    </a:lnTo>
                    <a:lnTo>
                      <a:pt x="101" y="142"/>
                    </a:lnTo>
                    <a:lnTo>
                      <a:pt x="85" y="151"/>
                    </a:lnTo>
                    <a:lnTo>
                      <a:pt x="75" y="154"/>
                    </a:lnTo>
                    <a:lnTo>
                      <a:pt x="63" y="139"/>
                    </a:lnTo>
                    <a:lnTo>
                      <a:pt x="35" y="139"/>
                    </a:lnTo>
                    <a:lnTo>
                      <a:pt x="16" y="151"/>
                    </a:lnTo>
                    <a:close/>
                  </a:path>
                </a:pathLst>
              </a:custGeom>
              <a:solidFill>
                <a:schemeClr val="accent1">
                  <a:lumMod val="20000"/>
                  <a:lumOff val="80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grpSp>
          <p:nvGrpSpPr>
            <p:cNvPr id="24" name="GB"/>
            <p:cNvGrpSpPr/>
            <p:nvPr/>
          </p:nvGrpSpPr>
          <p:grpSpPr>
            <a:xfrm>
              <a:off x="4144882" y="2354268"/>
              <a:ext cx="849313" cy="1277938"/>
              <a:chOff x="1096963" y="2672443"/>
              <a:chExt cx="849312" cy="1277938"/>
            </a:xfrm>
            <a:solidFill>
              <a:schemeClr val="bg1">
                <a:lumMod val="95000"/>
              </a:schemeClr>
            </a:solidFill>
            <a:effectLst/>
          </p:grpSpPr>
          <p:sp>
            <p:nvSpPr>
              <p:cNvPr id="96" name="Freeform 568"/>
              <p:cNvSpPr>
                <a:spLocks noChangeAspect="1"/>
              </p:cNvSpPr>
              <p:nvPr/>
            </p:nvSpPr>
            <p:spPr bwMode="auto">
              <a:xfrm>
                <a:off x="1096963" y="2689817"/>
                <a:ext cx="849312" cy="1260564"/>
              </a:xfrm>
              <a:custGeom>
                <a:avLst/>
                <a:gdLst>
                  <a:gd name="T0" fmla="*/ 186 w 571"/>
                  <a:gd name="T1" fmla="*/ 731 h 1058"/>
                  <a:gd name="T2" fmla="*/ 123 w 571"/>
                  <a:gd name="T3" fmla="*/ 779 h 1058"/>
                  <a:gd name="T4" fmla="*/ 106 w 571"/>
                  <a:gd name="T5" fmla="*/ 823 h 1058"/>
                  <a:gd name="T6" fmla="*/ 143 w 571"/>
                  <a:gd name="T7" fmla="*/ 847 h 1058"/>
                  <a:gd name="T8" fmla="*/ 173 w 571"/>
                  <a:gd name="T9" fmla="*/ 863 h 1058"/>
                  <a:gd name="T10" fmla="*/ 228 w 571"/>
                  <a:gd name="T11" fmla="*/ 876 h 1058"/>
                  <a:gd name="T12" fmla="*/ 192 w 571"/>
                  <a:gd name="T13" fmla="*/ 924 h 1058"/>
                  <a:gd name="T14" fmla="*/ 110 w 571"/>
                  <a:gd name="T15" fmla="*/ 897 h 1058"/>
                  <a:gd name="T16" fmla="*/ 52 w 571"/>
                  <a:gd name="T17" fmla="*/ 953 h 1058"/>
                  <a:gd name="T18" fmla="*/ 3 w 571"/>
                  <a:gd name="T19" fmla="*/ 981 h 1058"/>
                  <a:gd name="T20" fmla="*/ 28 w 571"/>
                  <a:gd name="T21" fmla="*/ 1005 h 1058"/>
                  <a:gd name="T22" fmla="*/ 75 w 571"/>
                  <a:gd name="T23" fmla="*/ 997 h 1058"/>
                  <a:gd name="T24" fmla="*/ 139 w 571"/>
                  <a:gd name="T25" fmla="*/ 1027 h 1058"/>
                  <a:gd name="T26" fmla="*/ 187 w 571"/>
                  <a:gd name="T27" fmla="*/ 978 h 1058"/>
                  <a:gd name="T28" fmla="*/ 230 w 571"/>
                  <a:gd name="T29" fmla="*/ 1008 h 1058"/>
                  <a:gd name="T30" fmla="*/ 291 w 571"/>
                  <a:gd name="T31" fmla="*/ 1018 h 1058"/>
                  <a:gd name="T32" fmla="*/ 336 w 571"/>
                  <a:gd name="T33" fmla="*/ 1014 h 1058"/>
                  <a:gd name="T34" fmla="*/ 398 w 571"/>
                  <a:gd name="T35" fmla="*/ 1042 h 1058"/>
                  <a:gd name="T36" fmla="*/ 451 w 571"/>
                  <a:gd name="T37" fmla="*/ 1048 h 1058"/>
                  <a:gd name="T38" fmla="*/ 503 w 571"/>
                  <a:gd name="T39" fmla="*/ 1027 h 1058"/>
                  <a:gd name="T40" fmla="*/ 481 w 571"/>
                  <a:gd name="T41" fmla="*/ 978 h 1058"/>
                  <a:gd name="T42" fmla="*/ 484 w 571"/>
                  <a:gd name="T43" fmla="*/ 947 h 1058"/>
                  <a:gd name="T44" fmla="*/ 552 w 571"/>
                  <a:gd name="T45" fmla="*/ 897 h 1058"/>
                  <a:gd name="T46" fmla="*/ 571 w 571"/>
                  <a:gd name="T47" fmla="*/ 829 h 1058"/>
                  <a:gd name="T48" fmla="*/ 522 w 571"/>
                  <a:gd name="T49" fmla="*/ 792 h 1058"/>
                  <a:gd name="T50" fmla="*/ 486 w 571"/>
                  <a:gd name="T51" fmla="*/ 789 h 1058"/>
                  <a:gd name="T52" fmla="*/ 498 w 571"/>
                  <a:gd name="T53" fmla="*/ 724 h 1058"/>
                  <a:gd name="T54" fmla="*/ 498 w 571"/>
                  <a:gd name="T55" fmla="*/ 634 h 1058"/>
                  <a:gd name="T56" fmla="*/ 447 w 571"/>
                  <a:gd name="T57" fmla="*/ 532 h 1058"/>
                  <a:gd name="T58" fmla="*/ 447 w 571"/>
                  <a:gd name="T59" fmla="*/ 451 h 1058"/>
                  <a:gd name="T60" fmla="*/ 431 w 571"/>
                  <a:gd name="T61" fmla="*/ 387 h 1058"/>
                  <a:gd name="T62" fmla="*/ 376 w 571"/>
                  <a:gd name="T63" fmla="*/ 352 h 1058"/>
                  <a:gd name="T64" fmla="*/ 371 w 571"/>
                  <a:gd name="T65" fmla="*/ 327 h 1058"/>
                  <a:gd name="T66" fmla="*/ 418 w 571"/>
                  <a:gd name="T67" fmla="*/ 334 h 1058"/>
                  <a:gd name="T68" fmla="*/ 491 w 571"/>
                  <a:gd name="T69" fmla="*/ 234 h 1058"/>
                  <a:gd name="T70" fmla="*/ 486 w 571"/>
                  <a:gd name="T71" fmla="*/ 170 h 1058"/>
                  <a:gd name="T72" fmla="*/ 418 w 571"/>
                  <a:gd name="T73" fmla="*/ 139 h 1058"/>
                  <a:gd name="T74" fmla="*/ 381 w 571"/>
                  <a:gd name="T75" fmla="*/ 142 h 1058"/>
                  <a:gd name="T76" fmla="*/ 401 w 571"/>
                  <a:gd name="T77" fmla="*/ 102 h 1058"/>
                  <a:gd name="T78" fmla="*/ 475 w 571"/>
                  <a:gd name="T79" fmla="*/ 52 h 1058"/>
                  <a:gd name="T80" fmla="*/ 428 w 571"/>
                  <a:gd name="T81" fmla="*/ 18 h 1058"/>
                  <a:gd name="T82" fmla="*/ 351 w 571"/>
                  <a:gd name="T83" fmla="*/ 31 h 1058"/>
                  <a:gd name="T84" fmla="*/ 315 w 571"/>
                  <a:gd name="T85" fmla="*/ 68 h 1058"/>
                  <a:gd name="T86" fmla="*/ 291 w 571"/>
                  <a:gd name="T87" fmla="*/ 118 h 1058"/>
                  <a:gd name="T88" fmla="*/ 230 w 571"/>
                  <a:gd name="T89" fmla="*/ 203 h 1058"/>
                  <a:gd name="T90" fmla="*/ 270 w 571"/>
                  <a:gd name="T91" fmla="*/ 220 h 1058"/>
                  <a:gd name="T92" fmla="*/ 214 w 571"/>
                  <a:gd name="T93" fmla="*/ 327 h 1058"/>
                  <a:gd name="T94" fmla="*/ 233 w 571"/>
                  <a:gd name="T95" fmla="*/ 343 h 1058"/>
                  <a:gd name="T96" fmla="*/ 268 w 571"/>
                  <a:gd name="T97" fmla="*/ 365 h 1058"/>
                  <a:gd name="T98" fmla="*/ 228 w 571"/>
                  <a:gd name="T99" fmla="*/ 429 h 1058"/>
                  <a:gd name="T100" fmla="*/ 285 w 571"/>
                  <a:gd name="T101" fmla="*/ 471 h 1058"/>
                  <a:gd name="T102" fmla="*/ 319 w 571"/>
                  <a:gd name="T103" fmla="*/ 485 h 1058"/>
                  <a:gd name="T104" fmla="*/ 308 w 571"/>
                  <a:gd name="T105" fmla="*/ 576 h 1058"/>
                  <a:gd name="T106" fmla="*/ 305 w 571"/>
                  <a:gd name="T107" fmla="*/ 637 h 1058"/>
                  <a:gd name="T108" fmla="*/ 280 w 571"/>
                  <a:gd name="T109" fmla="*/ 665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1" h="1058">
                    <a:moveTo>
                      <a:pt x="171" y="678"/>
                    </a:moveTo>
                    <a:lnTo>
                      <a:pt x="198" y="705"/>
                    </a:lnTo>
                    <a:lnTo>
                      <a:pt x="186" y="731"/>
                    </a:lnTo>
                    <a:lnTo>
                      <a:pt x="170" y="752"/>
                    </a:lnTo>
                    <a:lnTo>
                      <a:pt x="143" y="766"/>
                    </a:lnTo>
                    <a:lnTo>
                      <a:pt x="123" y="779"/>
                    </a:lnTo>
                    <a:lnTo>
                      <a:pt x="101" y="782"/>
                    </a:lnTo>
                    <a:lnTo>
                      <a:pt x="90" y="792"/>
                    </a:lnTo>
                    <a:lnTo>
                      <a:pt x="106" y="823"/>
                    </a:lnTo>
                    <a:lnTo>
                      <a:pt x="132" y="823"/>
                    </a:lnTo>
                    <a:lnTo>
                      <a:pt x="143" y="826"/>
                    </a:lnTo>
                    <a:lnTo>
                      <a:pt x="143" y="847"/>
                    </a:lnTo>
                    <a:lnTo>
                      <a:pt x="157" y="847"/>
                    </a:lnTo>
                    <a:lnTo>
                      <a:pt x="167" y="842"/>
                    </a:lnTo>
                    <a:lnTo>
                      <a:pt x="173" y="863"/>
                    </a:lnTo>
                    <a:lnTo>
                      <a:pt x="187" y="882"/>
                    </a:lnTo>
                    <a:lnTo>
                      <a:pt x="211" y="882"/>
                    </a:lnTo>
                    <a:lnTo>
                      <a:pt x="228" y="876"/>
                    </a:lnTo>
                    <a:lnTo>
                      <a:pt x="242" y="882"/>
                    </a:lnTo>
                    <a:lnTo>
                      <a:pt x="206" y="916"/>
                    </a:lnTo>
                    <a:lnTo>
                      <a:pt x="192" y="924"/>
                    </a:lnTo>
                    <a:lnTo>
                      <a:pt x="173" y="916"/>
                    </a:lnTo>
                    <a:lnTo>
                      <a:pt x="132" y="897"/>
                    </a:lnTo>
                    <a:lnTo>
                      <a:pt x="110" y="897"/>
                    </a:lnTo>
                    <a:lnTo>
                      <a:pt x="91" y="916"/>
                    </a:lnTo>
                    <a:lnTo>
                      <a:pt x="66" y="940"/>
                    </a:lnTo>
                    <a:lnTo>
                      <a:pt x="52" y="953"/>
                    </a:lnTo>
                    <a:lnTo>
                      <a:pt x="35" y="958"/>
                    </a:lnTo>
                    <a:lnTo>
                      <a:pt x="16" y="968"/>
                    </a:lnTo>
                    <a:lnTo>
                      <a:pt x="3" y="981"/>
                    </a:lnTo>
                    <a:lnTo>
                      <a:pt x="0" y="990"/>
                    </a:lnTo>
                    <a:lnTo>
                      <a:pt x="16" y="993"/>
                    </a:lnTo>
                    <a:lnTo>
                      <a:pt x="28" y="1005"/>
                    </a:lnTo>
                    <a:lnTo>
                      <a:pt x="44" y="1014"/>
                    </a:lnTo>
                    <a:lnTo>
                      <a:pt x="61" y="1005"/>
                    </a:lnTo>
                    <a:lnTo>
                      <a:pt x="75" y="997"/>
                    </a:lnTo>
                    <a:lnTo>
                      <a:pt x="91" y="1000"/>
                    </a:lnTo>
                    <a:lnTo>
                      <a:pt x="115" y="1015"/>
                    </a:lnTo>
                    <a:lnTo>
                      <a:pt x="139" y="1027"/>
                    </a:lnTo>
                    <a:lnTo>
                      <a:pt x="155" y="1015"/>
                    </a:lnTo>
                    <a:lnTo>
                      <a:pt x="162" y="995"/>
                    </a:lnTo>
                    <a:lnTo>
                      <a:pt x="187" y="978"/>
                    </a:lnTo>
                    <a:lnTo>
                      <a:pt x="204" y="978"/>
                    </a:lnTo>
                    <a:lnTo>
                      <a:pt x="219" y="997"/>
                    </a:lnTo>
                    <a:lnTo>
                      <a:pt x="230" y="1008"/>
                    </a:lnTo>
                    <a:lnTo>
                      <a:pt x="249" y="1008"/>
                    </a:lnTo>
                    <a:lnTo>
                      <a:pt x="275" y="1011"/>
                    </a:lnTo>
                    <a:lnTo>
                      <a:pt x="291" y="1018"/>
                    </a:lnTo>
                    <a:lnTo>
                      <a:pt x="308" y="1005"/>
                    </a:lnTo>
                    <a:lnTo>
                      <a:pt x="322" y="1005"/>
                    </a:lnTo>
                    <a:lnTo>
                      <a:pt x="336" y="1014"/>
                    </a:lnTo>
                    <a:lnTo>
                      <a:pt x="352" y="1034"/>
                    </a:lnTo>
                    <a:lnTo>
                      <a:pt x="374" y="1037"/>
                    </a:lnTo>
                    <a:lnTo>
                      <a:pt x="398" y="1042"/>
                    </a:lnTo>
                    <a:lnTo>
                      <a:pt x="414" y="1052"/>
                    </a:lnTo>
                    <a:lnTo>
                      <a:pt x="434" y="1058"/>
                    </a:lnTo>
                    <a:lnTo>
                      <a:pt x="451" y="1048"/>
                    </a:lnTo>
                    <a:lnTo>
                      <a:pt x="472" y="1034"/>
                    </a:lnTo>
                    <a:lnTo>
                      <a:pt x="486" y="1031"/>
                    </a:lnTo>
                    <a:lnTo>
                      <a:pt x="503" y="1027"/>
                    </a:lnTo>
                    <a:lnTo>
                      <a:pt x="519" y="1011"/>
                    </a:lnTo>
                    <a:lnTo>
                      <a:pt x="508" y="995"/>
                    </a:lnTo>
                    <a:lnTo>
                      <a:pt x="481" y="978"/>
                    </a:lnTo>
                    <a:lnTo>
                      <a:pt x="472" y="968"/>
                    </a:lnTo>
                    <a:lnTo>
                      <a:pt x="472" y="958"/>
                    </a:lnTo>
                    <a:lnTo>
                      <a:pt x="484" y="947"/>
                    </a:lnTo>
                    <a:lnTo>
                      <a:pt x="503" y="944"/>
                    </a:lnTo>
                    <a:lnTo>
                      <a:pt x="522" y="934"/>
                    </a:lnTo>
                    <a:lnTo>
                      <a:pt x="552" y="897"/>
                    </a:lnTo>
                    <a:lnTo>
                      <a:pt x="566" y="879"/>
                    </a:lnTo>
                    <a:lnTo>
                      <a:pt x="571" y="847"/>
                    </a:lnTo>
                    <a:lnTo>
                      <a:pt x="571" y="829"/>
                    </a:lnTo>
                    <a:lnTo>
                      <a:pt x="557" y="816"/>
                    </a:lnTo>
                    <a:lnTo>
                      <a:pt x="538" y="801"/>
                    </a:lnTo>
                    <a:lnTo>
                      <a:pt x="522" y="792"/>
                    </a:lnTo>
                    <a:lnTo>
                      <a:pt x="503" y="795"/>
                    </a:lnTo>
                    <a:lnTo>
                      <a:pt x="491" y="802"/>
                    </a:lnTo>
                    <a:lnTo>
                      <a:pt x="486" y="789"/>
                    </a:lnTo>
                    <a:lnTo>
                      <a:pt x="496" y="768"/>
                    </a:lnTo>
                    <a:lnTo>
                      <a:pt x="500" y="752"/>
                    </a:lnTo>
                    <a:lnTo>
                      <a:pt x="498" y="724"/>
                    </a:lnTo>
                    <a:lnTo>
                      <a:pt x="496" y="684"/>
                    </a:lnTo>
                    <a:lnTo>
                      <a:pt x="503" y="653"/>
                    </a:lnTo>
                    <a:lnTo>
                      <a:pt x="498" y="634"/>
                    </a:lnTo>
                    <a:lnTo>
                      <a:pt x="486" y="613"/>
                    </a:lnTo>
                    <a:lnTo>
                      <a:pt x="458" y="557"/>
                    </a:lnTo>
                    <a:lnTo>
                      <a:pt x="447" y="532"/>
                    </a:lnTo>
                    <a:lnTo>
                      <a:pt x="442" y="500"/>
                    </a:lnTo>
                    <a:lnTo>
                      <a:pt x="439" y="482"/>
                    </a:lnTo>
                    <a:lnTo>
                      <a:pt x="447" y="451"/>
                    </a:lnTo>
                    <a:lnTo>
                      <a:pt x="447" y="426"/>
                    </a:lnTo>
                    <a:lnTo>
                      <a:pt x="442" y="399"/>
                    </a:lnTo>
                    <a:lnTo>
                      <a:pt x="431" y="387"/>
                    </a:lnTo>
                    <a:lnTo>
                      <a:pt x="409" y="362"/>
                    </a:lnTo>
                    <a:lnTo>
                      <a:pt x="393" y="355"/>
                    </a:lnTo>
                    <a:lnTo>
                      <a:pt x="376" y="352"/>
                    </a:lnTo>
                    <a:lnTo>
                      <a:pt x="365" y="350"/>
                    </a:lnTo>
                    <a:lnTo>
                      <a:pt x="365" y="337"/>
                    </a:lnTo>
                    <a:lnTo>
                      <a:pt x="371" y="327"/>
                    </a:lnTo>
                    <a:lnTo>
                      <a:pt x="390" y="324"/>
                    </a:lnTo>
                    <a:lnTo>
                      <a:pt x="407" y="331"/>
                    </a:lnTo>
                    <a:lnTo>
                      <a:pt x="418" y="334"/>
                    </a:lnTo>
                    <a:lnTo>
                      <a:pt x="426" y="321"/>
                    </a:lnTo>
                    <a:lnTo>
                      <a:pt x="423" y="306"/>
                    </a:lnTo>
                    <a:lnTo>
                      <a:pt x="491" y="234"/>
                    </a:lnTo>
                    <a:lnTo>
                      <a:pt x="503" y="219"/>
                    </a:lnTo>
                    <a:lnTo>
                      <a:pt x="503" y="186"/>
                    </a:lnTo>
                    <a:lnTo>
                      <a:pt x="486" y="170"/>
                    </a:lnTo>
                    <a:lnTo>
                      <a:pt x="467" y="168"/>
                    </a:lnTo>
                    <a:lnTo>
                      <a:pt x="451" y="139"/>
                    </a:lnTo>
                    <a:lnTo>
                      <a:pt x="418" y="139"/>
                    </a:lnTo>
                    <a:lnTo>
                      <a:pt x="418" y="139"/>
                    </a:lnTo>
                    <a:lnTo>
                      <a:pt x="388" y="145"/>
                    </a:lnTo>
                    <a:lnTo>
                      <a:pt x="381" y="142"/>
                    </a:lnTo>
                    <a:lnTo>
                      <a:pt x="374" y="129"/>
                    </a:lnTo>
                    <a:lnTo>
                      <a:pt x="388" y="118"/>
                    </a:lnTo>
                    <a:lnTo>
                      <a:pt x="401" y="102"/>
                    </a:lnTo>
                    <a:lnTo>
                      <a:pt x="431" y="74"/>
                    </a:lnTo>
                    <a:lnTo>
                      <a:pt x="453" y="71"/>
                    </a:lnTo>
                    <a:lnTo>
                      <a:pt x="475" y="52"/>
                    </a:lnTo>
                    <a:lnTo>
                      <a:pt x="496" y="34"/>
                    </a:lnTo>
                    <a:lnTo>
                      <a:pt x="448" y="21"/>
                    </a:lnTo>
                    <a:lnTo>
                      <a:pt x="428" y="18"/>
                    </a:lnTo>
                    <a:lnTo>
                      <a:pt x="404" y="15"/>
                    </a:lnTo>
                    <a:lnTo>
                      <a:pt x="376" y="0"/>
                    </a:lnTo>
                    <a:lnTo>
                      <a:pt x="351" y="31"/>
                    </a:lnTo>
                    <a:lnTo>
                      <a:pt x="352" y="47"/>
                    </a:lnTo>
                    <a:lnTo>
                      <a:pt x="338" y="52"/>
                    </a:lnTo>
                    <a:lnTo>
                      <a:pt x="315" y="68"/>
                    </a:lnTo>
                    <a:lnTo>
                      <a:pt x="294" y="77"/>
                    </a:lnTo>
                    <a:lnTo>
                      <a:pt x="294" y="99"/>
                    </a:lnTo>
                    <a:lnTo>
                      <a:pt x="291" y="118"/>
                    </a:lnTo>
                    <a:lnTo>
                      <a:pt x="272" y="148"/>
                    </a:lnTo>
                    <a:lnTo>
                      <a:pt x="242" y="185"/>
                    </a:lnTo>
                    <a:lnTo>
                      <a:pt x="230" y="203"/>
                    </a:lnTo>
                    <a:lnTo>
                      <a:pt x="237" y="216"/>
                    </a:lnTo>
                    <a:lnTo>
                      <a:pt x="268" y="213"/>
                    </a:lnTo>
                    <a:lnTo>
                      <a:pt x="270" y="220"/>
                    </a:lnTo>
                    <a:lnTo>
                      <a:pt x="270" y="234"/>
                    </a:lnTo>
                    <a:lnTo>
                      <a:pt x="228" y="294"/>
                    </a:lnTo>
                    <a:lnTo>
                      <a:pt x="214" y="327"/>
                    </a:lnTo>
                    <a:lnTo>
                      <a:pt x="204" y="355"/>
                    </a:lnTo>
                    <a:lnTo>
                      <a:pt x="214" y="368"/>
                    </a:lnTo>
                    <a:lnTo>
                      <a:pt x="233" y="343"/>
                    </a:lnTo>
                    <a:lnTo>
                      <a:pt x="252" y="313"/>
                    </a:lnTo>
                    <a:lnTo>
                      <a:pt x="266" y="321"/>
                    </a:lnTo>
                    <a:lnTo>
                      <a:pt x="268" y="365"/>
                    </a:lnTo>
                    <a:lnTo>
                      <a:pt x="270" y="395"/>
                    </a:lnTo>
                    <a:lnTo>
                      <a:pt x="244" y="411"/>
                    </a:lnTo>
                    <a:lnTo>
                      <a:pt x="228" y="429"/>
                    </a:lnTo>
                    <a:lnTo>
                      <a:pt x="223" y="445"/>
                    </a:lnTo>
                    <a:lnTo>
                      <a:pt x="256" y="476"/>
                    </a:lnTo>
                    <a:lnTo>
                      <a:pt x="285" y="471"/>
                    </a:lnTo>
                    <a:lnTo>
                      <a:pt x="291" y="489"/>
                    </a:lnTo>
                    <a:lnTo>
                      <a:pt x="322" y="468"/>
                    </a:lnTo>
                    <a:lnTo>
                      <a:pt x="319" y="485"/>
                    </a:lnTo>
                    <a:lnTo>
                      <a:pt x="294" y="519"/>
                    </a:lnTo>
                    <a:lnTo>
                      <a:pt x="305" y="556"/>
                    </a:lnTo>
                    <a:lnTo>
                      <a:pt x="308" y="576"/>
                    </a:lnTo>
                    <a:lnTo>
                      <a:pt x="334" y="579"/>
                    </a:lnTo>
                    <a:lnTo>
                      <a:pt x="336" y="597"/>
                    </a:lnTo>
                    <a:lnTo>
                      <a:pt x="305" y="637"/>
                    </a:lnTo>
                    <a:lnTo>
                      <a:pt x="294" y="631"/>
                    </a:lnTo>
                    <a:lnTo>
                      <a:pt x="282" y="644"/>
                    </a:lnTo>
                    <a:lnTo>
                      <a:pt x="280" y="665"/>
                    </a:lnTo>
                    <a:lnTo>
                      <a:pt x="249" y="647"/>
                    </a:lnTo>
                    <a:lnTo>
                      <a:pt x="171" y="678"/>
                    </a:lnTo>
                    <a:close/>
                  </a:path>
                </a:pathLst>
              </a:custGeom>
              <a:solidFill>
                <a:srgbClr val="F2F2F2"/>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7" name="Freeform 569"/>
              <p:cNvSpPr>
                <a:spLocks noChangeAspect="1"/>
              </p:cNvSpPr>
              <p:nvPr/>
            </p:nvSpPr>
            <p:spPr bwMode="auto">
              <a:xfrm>
                <a:off x="1406995" y="3301760"/>
                <a:ext cx="67683" cy="42469"/>
              </a:xfrm>
              <a:custGeom>
                <a:avLst/>
                <a:gdLst>
                  <a:gd name="T0" fmla="*/ 24 w 47"/>
                  <a:gd name="T1" fmla="*/ 0 h 39"/>
                  <a:gd name="T2" fmla="*/ 45 w 47"/>
                  <a:gd name="T3" fmla="*/ 3 h 39"/>
                  <a:gd name="T4" fmla="*/ 47 w 47"/>
                  <a:gd name="T5" fmla="*/ 17 h 39"/>
                  <a:gd name="T6" fmla="*/ 26 w 47"/>
                  <a:gd name="T7" fmla="*/ 33 h 39"/>
                  <a:gd name="T8" fmla="*/ 3 w 47"/>
                  <a:gd name="T9" fmla="*/ 39 h 39"/>
                  <a:gd name="T10" fmla="*/ 0 w 47"/>
                  <a:gd name="T11" fmla="*/ 22 h 39"/>
                  <a:gd name="T12" fmla="*/ 24 w 4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47" h="39">
                    <a:moveTo>
                      <a:pt x="24" y="0"/>
                    </a:moveTo>
                    <a:lnTo>
                      <a:pt x="45" y="3"/>
                    </a:lnTo>
                    <a:lnTo>
                      <a:pt x="47" y="17"/>
                    </a:lnTo>
                    <a:lnTo>
                      <a:pt x="26" y="33"/>
                    </a:lnTo>
                    <a:lnTo>
                      <a:pt x="3" y="39"/>
                    </a:lnTo>
                    <a:lnTo>
                      <a:pt x="0" y="22"/>
                    </a:lnTo>
                    <a:lnTo>
                      <a:pt x="24"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8" name="Freeform 570"/>
              <p:cNvSpPr>
                <a:spLocks noChangeAspect="1"/>
              </p:cNvSpPr>
              <p:nvPr/>
            </p:nvSpPr>
            <p:spPr bwMode="auto">
              <a:xfrm>
                <a:off x="1358962" y="3006406"/>
                <a:ext cx="67683" cy="42469"/>
              </a:xfrm>
              <a:custGeom>
                <a:avLst/>
                <a:gdLst>
                  <a:gd name="T0" fmla="*/ 40 w 47"/>
                  <a:gd name="T1" fmla="*/ 0 h 39"/>
                  <a:gd name="T2" fmla="*/ 47 w 47"/>
                  <a:gd name="T3" fmla="*/ 19 h 39"/>
                  <a:gd name="T4" fmla="*/ 25 w 47"/>
                  <a:gd name="T5" fmla="*/ 33 h 39"/>
                  <a:gd name="T6" fmla="*/ 6 w 47"/>
                  <a:gd name="T7" fmla="*/ 39 h 39"/>
                  <a:gd name="T8" fmla="*/ 0 w 47"/>
                  <a:gd name="T9" fmla="*/ 20 h 39"/>
                  <a:gd name="T10" fmla="*/ 9 w 47"/>
                  <a:gd name="T11" fmla="*/ 7 h 39"/>
                  <a:gd name="T12" fmla="*/ 40 w 4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47" h="39">
                    <a:moveTo>
                      <a:pt x="40" y="0"/>
                    </a:moveTo>
                    <a:lnTo>
                      <a:pt x="47" y="19"/>
                    </a:lnTo>
                    <a:lnTo>
                      <a:pt x="25" y="33"/>
                    </a:lnTo>
                    <a:lnTo>
                      <a:pt x="6" y="39"/>
                    </a:lnTo>
                    <a:lnTo>
                      <a:pt x="0" y="20"/>
                    </a:lnTo>
                    <a:lnTo>
                      <a:pt x="9" y="7"/>
                    </a:lnTo>
                    <a:lnTo>
                      <a:pt x="40"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9" name="Freeform 571"/>
              <p:cNvSpPr>
                <a:spLocks noChangeAspect="1"/>
              </p:cNvSpPr>
              <p:nvPr/>
            </p:nvSpPr>
            <p:spPr bwMode="auto">
              <a:xfrm>
                <a:off x="1459394" y="2772825"/>
                <a:ext cx="37116" cy="88799"/>
              </a:xfrm>
              <a:custGeom>
                <a:avLst/>
                <a:gdLst>
                  <a:gd name="T0" fmla="*/ 11 w 25"/>
                  <a:gd name="T1" fmla="*/ 74 h 74"/>
                  <a:gd name="T2" fmla="*/ 25 w 25"/>
                  <a:gd name="T3" fmla="*/ 55 h 74"/>
                  <a:gd name="T4" fmla="*/ 20 w 25"/>
                  <a:gd name="T5" fmla="*/ 31 h 74"/>
                  <a:gd name="T6" fmla="*/ 16 w 25"/>
                  <a:gd name="T7" fmla="*/ 18 h 74"/>
                  <a:gd name="T8" fmla="*/ 11 w 25"/>
                  <a:gd name="T9" fmla="*/ 0 h 74"/>
                  <a:gd name="T10" fmla="*/ 0 w 25"/>
                  <a:gd name="T11" fmla="*/ 8 h 74"/>
                  <a:gd name="T12" fmla="*/ 6 w 25"/>
                  <a:gd name="T13" fmla="*/ 34 h 74"/>
                  <a:gd name="T14" fmla="*/ 11 w 25"/>
                  <a:gd name="T15" fmla="*/ 7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74">
                    <a:moveTo>
                      <a:pt x="11" y="74"/>
                    </a:moveTo>
                    <a:lnTo>
                      <a:pt x="25" y="55"/>
                    </a:lnTo>
                    <a:lnTo>
                      <a:pt x="20" y="31"/>
                    </a:lnTo>
                    <a:lnTo>
                      <a:pt x="16" y="18"/>
                    </a:lnTo>
                    <a:lnTo>
                      <a:pt x="11" y="0"/>
                    </a:lnTo>
                    <a:lnTo>
                      <a:pt x="0" y="8"/>
                    </a:lnTo>
                    <a:lnTo>
                      <a:pt x="6" y="34"/>
                    </a:lnTo>
                    <a:lnTo>
                      <a:pt x="11" y="74"/>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00" name="Freeform 572"/>
              <p:cNvSpPr>
                <a:spLocks noChangeAspect="1"/>
              </p:cNvSpPr>
              <p:nvPr/>
            </p:nvSpPr>
            <p:spPr bwMode="auto">
              <a:xfrm>
                <a:off x="1452844" y="2672443"/>
                <a:ext cx="96066" cy="63704"/>
              </a:xfrm>
              <a:custGeom>
                <a:avLst/>
                <a:gdLst>
                  <a:gd name="T0" fmla="*/ 56 w 63"/>
                  <a:gd name="T1" fmla="*/ 0 h 53"/>
                  <a:gd name="T2" fmla="*/ 63 w 63"/>
                  <a:gd name="T3" fmla="*/ 13 h 53"/>
                  <a:gd name="T4" fmla="*/ 39 w 63"/>
                  <a:gd name="T5" fmla="*/ 28 h 53"/>
                  <a:gd name="T6" fmla="*/ 16 w 63"/>
                  <a:gd name="T7" fmla="*/ 53 h 53"/>
                  <a:gd name="T8" fmla="*/ 2 w 63"/>
                  <a:gd name="T9" fmla="*/ 47 h 53"/>
                  <a:gd name="T10" fmla="*/ 0 w 63"/>
                  <a:gd name="T11" fmla="*/ 18 h 53"/>
                  <a:gd name="T12" fmla="*/ 0 w 63"/>
                  <a:gd name="T13" fmla="*/ 8 h 53"/>
                  <a:gd name="T14" fmla="*/ 38 w 63"/>
                  <a:gd name="T15" fmla="*/ 0 h 53"/>
                  <a:gd name="T16" fmla="*/ 56 w 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53">
                    <a:moveTo>
                      <a:pt x="56" y="0"/>
                    </a:moveTo>
                    <a:lnTo>
                      <a:pt x="63" y="13"/>
                    </a:lnTo>
                    <a:lnTo>
                      <a:pt x="39" y="28"/>
                    </a:lnTo>
                    <a:lnTo>
                      <a:pt x="16" y="53"/>
                    </a:lnTo>
                    <a:lnTo>
                      <a:pt x="2" y="47"/>
                    </a:lnTo>
                    <a:lnTo>
                      <a:pt x="0" y="18"/>
                    </a:lnTo>
                    <a:lnTo>
                      <a:pt x="0" y="8"/>
                    </a:lnTo>
                    <a:lnTo>
                      <a:pt x="38" y="0"/>
                    </a:lnTo>
                    <a:lnTo>
                      <a:pt x="56" y="0"/>
                    </a:lnTo>
                    <a:close/>
                  </a:path>
                </a:pathLst>
              </a:custGeom>
              <a:solidFill>
                <a:srgbClr val="F2F2F2"/>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sp>
          <p:nvSpPr>
            <p:cNvPr id="25" name="PL"/>
            <p:cNvSpPr>
              <a:spLocks noChangeAspect="1"/>
            </p:cNvSpPr>
            <p:nvPr/>
          </p:nvSpPr>
          <p:spPr bwMode="auto">
            <a:xfrm>
              <a:off x="6248400" y="3259138"/>
              <a:ext cx="1028700" cy="876300"/>
            </a:xfrm>
            <a:custGeom>
              <a:avLst/>
              <a:gdLst>
                <a:gd name="T0" fmla="*/ 14 w 697"/>
                <a:gd name="T1" fmla="*/ 185 h 735"/>
                <a:gd name="T2" fmla="*/ 0 w 697"/>
                <a:gd name="T3" fmla="*/ 235 h 735"/>
                <a:gd name="T4" fmla="*/ 31 w 697"/>
                <a:gd name="T5" fmla="*/ 282 h 735"/>
                <a:gd name="T6" fmla="*/ 25 w 697"/>
                <a:gd name="T7" fmla="*/ 322 h 735"/>
                <a:gd name="T8" fmla="*/ 38 w 697"/>
                <a:gd name="T9" fmla="*/ 356 h 735"/>
                <a:gd name="T10" fmla="*/ 47 w 697"/>
                <a:gd name="T11" fmla="*/ 423 h 735"/>
                <a:gd name="T12" fmla="*/ 50 w 697"/>
                <a:gd name="T13" fmla="*/ 448 h 735"/>
                <a:gd name="T14" fmla="*/ 42 w 697"/>
                <a:gd name="T15" fmla="*/ 472 h 735"/>
                <a:gd name="T16" fmla="*/ 61 w 697"/>
                <a:gd name="T17" fmla="*/ 485 h 735"/>
                <a:gd name="T18" fmla="*/ 80 w 697"/>
                <a:gd name="T19" fmla="*/ 501 h 735"/>
                <a:gd name="T20" fmla="*/ 99 w 697"/>
                <a:gd name="T21" fmla="*/ 541 h 735"/>
                <a:gd name="T22" fmla="*/ 119 w 697"/>
                <a:gd name="T23" fmla="*/ 568 h 735"/>
                <a:gd name="T24" fmla="*/ 160 w 697"/>
                <a:gd name="T25" fmla="*/ 580 h 735"/>
                <a:gd name="T26" fmla="*/ 188 w 697"/>
                <a:gd name="T27" fmla="*/ 578 h 735"/>
                <a:gd name="T28" fmla="*/ 228 w 697"/>
                <a:gd name="T29" fmla="*/ 620 h 735"/>
                <a:gd name="T30" fmla="*/ 276 w 697"/>
                <a:gd name="T31" fmla="*/ 643 h 735"/>
                <a:gd name="T32" fmla="*/ 312 w 697"/>
                <a:gd name="T33" fmla="*/ 636 h 735"/>
                <a:gd name="T34" fmla="*/ 350 w 697"/>
                <a:gd name="T35" fmla="*/ 664 h 735"/>
                <a:gd name="T36" fmla="*/ 369 w 697"/>
                <a:gd name="T37" fmla="*/ 667 h 735"/>
                <a:gd name="T38" fmla="*/ 397 w 697"/>
                <a:gd name="T39" fmla="*/ 680 h 735"/>
                <a:gd name="T40" fmla="*/ 429 w 697"/>
                <a:gd name="T41" fmla="*/ 707 h 735"/>
                <a:gd name="T42" fmla="*/ 457 w 697"/>
                <a:gd name="T43" fmla="*/ 711 h 735"/>
                <a:gd name="T44" fmla="*/ 479 w 697"/>
                <a:gd name="T45" fmla="*/ 696 h 735"/>
                <a:gd name="T46" fmla="*/ 609 w 697"/>
                <a:gd name="T47" fmla="*/ 735 h 735"/>
                <a:gd name="T48" fmla="*/ 614 w 697"/>
                <a:gd name="T49" fmla="*/ 696 h 735"/>
                <a:gd name="T50" fmla="*/ 678 w 697"/>
                <a:gd name="T51" fmla="*/ 580 h 735"/>
                <a:gd name="T52" fmla="*/ 697 w 697"/>
                <a:gd name="T53" fmla="*/ 532 h 735"/>
                <a:gd name="T54" fmla="*/ 673 w 697"/>
                <a:gd name="T55" fmla="*/ 461 h 735"/>
                <a:gd name="T56" fmla="*/ 638 w 697"/>
                <a:gd name="T57" fmla="*/ 408 h 735"/>
                <a:gd name="T58" fmla="*/ 638 w 697"/>
                <a:gd name="T59" fmla="*/ 361 h 735"/>
                <a:gd name="T60" fmla="*/ 636 w 697"/>
                <a:gd name="T61" fmla="*/ 322 h 735"/>
                <a:gd name="T62" fmla="*/ 636 w 697"/>
                <a:gd name="T63" fmla="*/ 296 h 735"/>
                <a:gd name="T64" fmla="*/ 661 w 697"/>
                <a:gd name="T65" fmla="*/ 259 h 735"/>
                <a:gd name="T66" fmla="*/ 650 w 697"/>
                <a:gd name="T67" fmla="*/ 182 h 735"/>
                <a:gd name="T68" fmla="*/ 642 w 697"/>
                <a:gd name="T69" fmla="*/ 129 h 735"/>
                <a:gd name="T70" fmla="*/ 609 w 697"/>
                <a:gd name="T71" fmla="*/ 84 h 735"/>
                <a:gd name="T72" fmla="*/ 528 w 697"/>
                <a:gd name="T73" fmla="*/ 80 h 735"/>
                <a:gd name="T74" fmla="*/ 435 w 697"/>
                <a:gd name="T75" fmla="*/ 71 h 735"/>
                <a:gd name="T76" fmla="*/ 385 w 697"/>
                <a:gd name="T77" fmla="*/ 56 h 735"/>
                <a:gd name="T78" fmla="*/ 355 w 697"/>
                <a:gd name="T79" fmla="*/ 74 h 735"/>
                <a:gd name="T80" fmla="*/ 326 w 697"/>
                <a:gd name="T81" fmla="*/ 53 h 735"/>
                <a:gd name="T82" fmla="*/ 303 w 697"/>
                <a:gd name="T83" fmla="*/ 46 h 735"/>
                <a:gd name="T84" fmla="*/ 276 w 697"/>
                <a:gd name="T85" fmla="*/ 3 h 735"/>
                <a:gd name="T86" fmla="*/ 232 w 697"/>
                <a:gd name="T87" fmla="*/ 9 h 735"/>
                <a:gd name="T88" fmla="*/ 190 w 697"/>
                <a:gd name="T89" fmla="*/ 28 h 735"/>
                <a:gd name="T90" fmla="*/ 124 w 697"/>
                <a:gd name="T91" fmla="*/ 61 h 735"/>
                <a:gd name="T92" fmla="*/ 66 w 697"/>
                <a:gd name="T93" fmla="*/ 90 h 735"/>
                <a:gd name="T94" fmla="*/ 31 w 697"/>
                <a:gd name="T95" fmla="*/ 129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97" h="735">
                  <a:moveTo>
                    <a:pt x="17" y="139"/>
                  </a:moveTo>
                  <a:lnTo>
                    <a:pt x="14" y="185"/>
                  </a:lnTo>
                  <a:lnTo>
                    <a:pt x="14" y="213"/>
                  </a:lnTo>
                  <a:lnTo>
                    <a:pt x="0" y="235"/>
                  </a:lnTo>
                  <a:lnTo>
                    <a:pt x="28" y="272"/>
                  </a:lnTo>
                  <a:lnTo>
                    <a:pt x="31" y="282"/>
                  </a:lnTo>
                  <a:lnTo>
                    <a:pt x="24" y="306"/>
                  </a:lnTo>
                  <a:lnTo>
                    <a:pt x="25" y="322"/>
                  </a:lnTo>
                  <a:lnTo>
                    <a:pt x="39" y="343"/>
                  </a:lnTo>
                  <a:lnTo>
                    <a:pt x="38" y="356"/>
                  </a:lnTo>
                  <a:lnTo>
                    <a:pt x="36" y="395"/>
                  </a:lnTo>
                  <a:lnTo>
                    <a:pt x="47" y="423"/>
                  </a:lnTo>
                  <a:lnTo>
                    <a:pt x="56" y="438"/>
                  </a:lnTo>
                  <a:lnTo>
                    <a:pt x="50" y="448"/>
                  </a:lnTo>
                  <a:lnTo>
                    <a:pt x="50" y="464"/>
                  </a:lnTo>
                  <a:lnTo>
                    <a:pt x="42" y="472"/>
                  </a:lnTo>
                  <a:lnTo>
                    <a:pt x="42" y="482"/>
                  </a:lnTo>
                  <a:lnTo>
                    <a:pt x="61" y="485"/>
                  </a:lnTo>
                  <a:lnTo>
                    <a:pt x="75" y="491"/>
                  </a:lnTo>
                  <a:lnTo>
                    <a:pt x="80" y="501"/>
                  </a:lnTo>
                  <a:lnTo>
                    <a:pt x="80" y="519"/>
                  </a:lnTo>
                  <a:lnTo>
                    <a:pt x="99" y="541"/>
                  </a:lnTo>
                  <a:lnTo>
                    <a:pt x="115" y="549"/>
                  </a:lnTo>
                  <a:lnTo>
                    <a:pt x="119" y="568"/>
                  </a:lnTo>
                  <a:lnTo>
                    <a:pt x="141" y="599"/>
                  </a:lnTo>
                  <a:lnTo>
                    <a:pt x="160" y="580"/>
                  </a:lnTo>
                  <a:lnTo>
                    <a:pt x="176" y="575"/>
                  </a:lnTo>
                  <a:lnTo>
                    <a:pt x="188" y="578"/>
                  </a:lnTo>
                  <a:lnTo>
                    <a:pt x="220" y="617"/>
                  </a:lnTo>
                  <a:lnTo>
                    <a:pt x="228" y="620"/>
                  </a:lnTo>
                  <a:lnTo>
                    <a:pt x="267" y="640"/>
                  </a:lnTo>
                  <a:lnTo>
                    <a:pt x="276" y="643"/>
                  </a:lnTo>
                  <a:lnTo>
                    <a:pt x="293" y="639"/>
                  </a:lnTo>
                  <a:lnTo>
                    <a:pt x="312" y="636"/>
                  </a:lnTo>
                  <a:lnTo>
                    <a:pt x="328" y="643"/>
                  </a:lnTo>
                  <a:lnTo>
                    <a:pt x="350" y="664"/>
                  </a:lnTo>
                  <a:lnTo>
                    <a:pt x="359" y="676"/>
                  </a:lnTo>
                  <a:lnTo>
                    <a:pt x="369" y="667"/>
                  </a:lnTo>
                  <a:lnTo>
                    <a:pt x="380" y="664"/>
                  </a:lnTo>
                  <a:lnTo>
                    <a:pt x="397" y="680"/>
                  </a:lnTo>
                  <a:lnTo>
                    <a:pt x="416" y="696"/>
                  </a:lnTo>
                  <a:lnTo>
                    <a:pt x="429" y="707"/>
                  </a:lnTo>
                  <a:lnTo>
                    <a:pt x="448" y="714"/>
                  </a:lnTo>
                  <a:lnTo>
                    <a:pt x="457" y="711"/>
                  </a:lnTo>
                  <a:lnTo>
                    <a:pt x="466" y="701"/>
                  </a:lnTo>
                  <a:lnTo>
                    <a:pt x="479" y="696"/>
                  </a:lnTo>
                  <a:lnTo>
                    <a:pt x="502" y="704"/>
                  </a:lnTo>
                  <a:lnTo>
                    <a:pt x="609" y="735"/>
                  </a:lnTo>
                  <a:lnTo>
                    <a:pt x="626" y="720"/>
                  </a:lnTo>
                  <a:lnTo>
                    <a:pt x="614" y="696"/>
                  </a:lnTo>
                  <a:lnTo>
                    <a:pt x="603" y="657"/>
                  </a:lnTo>
                  <a:lnTo>
                    <a:pt x="678" y="580"/>
                  </a:lnTo>
                  <a:lnTo>
                    <a:pt x="692" y="562"/>
                  </a:lnTo>
                  <a:lnTo>
                    <a:pt x="697" y="532"/>
                  </a:lnTo>
                  <a:lnTo>
                    <a:pt x="685" y="494"/>
                  </a:lnTo>
                  <a:lnTo>
                    <a:pt x="673" y="461"/>
                  </a:lnTo>
                  <a:lnTo>
                    <a:pt x="652" y="424"/>
                  </a:lnTo>
                  <a:lnTo>
                    <a:pt x="638" y="408"/>
                  </a:lnTo>
                  <a:lnTo>
                    <a:pt x="636" y="386"/>
                  </a:lnTo>
                  <a:lnTo>
                    <a:pt x="638" y="361"/>
                  </a:lnTo>
                  <a:lnTo>
                    <a:pt x="645" y="337"/>
                  </a:lnTo>
                  <a:lnTo>
                    <a:pt x="636" y="322"/>
                  </a:lnTo>
                  <a:lnTo>
                    <a:pt x="624" y="312"/>
                  </a:lnTo>
                  <a:lnTo>
                    <a:pt x="636" y="296"/>
                  </a:lnTo>
                  <a:lnTo>
                    <a:pt x="655" y="266"/>
                  </a:lnTo>
                  <a:lnTo>
                    <a:pt x="661" y="259"/>
                  </a:lnTo>
                  <a:lnTo>
                    <a:pt x="657" y="208"/>
                  </a:lnTo>
                  <a:lnTo>
                    <a:pt x="650" y="182"/>
                  </a:lnTo>
                  <a:lnTo>
                    <a:pt x="642" y="155"/>
                  </a:lnTo>
                  <a:lnTo>
                    <a:pt x="642" y="129"/>
                  </a:lnTo>
                  <a:lnTo>
                    <a:pt x="628" y="105"/>
                  </a:lnTo>
                  <a:lnTo>
                    <a:pt x="609" y="84"/>
                  </a:lnTo>
                  <a:lnTo>
                    <a:pt x="589" y="81"/>
                  </a:lnTo>
                  <a:lnTo>
                    <a:pt x="528" y="80"/>
                  </a:lnTo>
                  <a:lnTo>
                    <a:pt x="495" y="77"/>
                  </a:lnTo>
                  <a:lnTo>
                    <a:pt x="435" y="71"/>
                  </a:lnTo>
                  <a:lnTo>
                    <a:pt x="410" y="58"/>
                  </a:lnTo>
                  <a:lnTo>
                    <a:pt x="385" y="56"/>
                  </a:lnTo>
                  <a:lnTo>
                    <a:pt x="371" y="61"/>
                  </a:lnTo>
                  <a:lnTo>
                    <a:pt x="355" y="74"/>
                  </a:lnTo>
                  <a:lnTo>
                    <a:pt x="340" y="68"/>
                  </a:lnTo>
                  <a:lnTo>
                    <a:pt x="326" y="53"/>
                  </a:lnTo>
                  <a:lnTo>
                    <a:pt x="309" y="53"/>
                  </a:lnTo>
                  <a:lnTo>
                    <a:pt x="303" y="46"/>
                  </a:lnTo>
                  <a:lnTo>
                    <a:pt x="298" y="21"/>
                  </a:lnTo>
                  <a:lnTo>
                    <a:pt x="276" y="3"/>
                  </a:lnTo>
                  <a:lnTo>
                    <a:pt x="261" y="0"/>
                  </a:lnTo>
                  <a:lnTo>
                    <a:pt x="232" y="9"/>
                  </a:lnTo>
                  <a:lnTo>
                    <a:pt x="209" y="16"/>
                  </a:lnTo>
                  <a:lnTo>
                    <a:pt x="190" y="28"/>
                  </a:lnTo>
                  <a:lnTo>
                    <a:pt x="157" y="50"/>
                  </a:lnTo>
                  <a:lnTo>
                    <a:pt x="124" y="61"/>
                  </a:lnTo>
                  <a:lnTo>
                    <a:pt x="96" y="74"/>
                  </a:lnTo>
                  <a:lnTo>
                    <a:pt x="66" y="90"/>
                  </a:lnTo>
                  <a:lnTo>
                    <a:pt x="50" y="111"/>
                  </a:lnTo>
                  <a:lnTo>
                    <a:pt x="31" y="129"/>
                  </a:lnTo>
                  <a:lnTo>
                    <a:pt x="17" y="139"/>
                  </a:lnTo>
                  <a:close/>
                </a:path>
              </a:pathLst>
            </a:custGeom>
            <a:solidFill>
              <a:srgbClr val="DCE6F2"/>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nvGrpSpPr>
            <p:cNvPr id="26" name="FI"/>
            <p:cNvGrpSpPr>
              <a:grpSpLocks/>
            </p:cNvGrpSpPr>
            <p:nvPr/>
          </p:nvGrpSpPr>
          <p:grpSpPr bwMode="auto">
            <a:xfrm>
              <a:off x="6795831" y="990600"/>
              <a:ext cx="873127" cy="1531932"/>
              <a:chOff x="3757282" y="1308775"/>
              <a:chExt cx="401" cy="793"/>
            </a:xfrm>
            <a:solidFill>
              <a:schemeClr val="bg1">
                <a:lumMod val="95000"/>
              </a:schemeClr>
            </a:solidFill>
            <a:effectLst/>
          </p:grpSpPr>
          <p:sp>
            <p:nvSpPr>
              <p:cNvPr id="94" name="Freeform 566"/>
              <p:cNvSpPr>
                <a:spLocks noChangeAspect="1"/>
              </p:cNvSpPr>
              <p:nvPr/>
            </p:nvSpPr>
            <p:spPr bwMode="auto">
              <a:xfrm>
                <a:off x="3757282" y="1309520"/>
                <a:ext cx="24" cy="22"/>
              </a:xfrm>
              <a:custGeom>
                <a:avLst/>
                <a:gdLst>
                  <a:gd name="T0" fmla="*/ 30 w 35"/>
                  <a:gd name="T1" fmla="*/ 0 h 37"/>
                  <a:gd name="T2" fmla="*/ 16 w 35"/>
                  <a:gd name="T3" fmla="*/ 9 h 37"/>
                  <a:gd name="T4" fmla="*/ 0 w 35"/>
                  <a:gd name="T5" fmla="*/ 24 h 37"/>
                  <a:gd name="T6" fmla="*/ 2 w 35"/>
                  <a:gd name="T7" fmla="*/ 37 h 37"/>
                  <a:gd name="T8" fmla="*/ 11 w 35"/>
                  <a:gd name="T9" fmla="*/ 37 h 37"/>
                  <a:gd name="T10" fmla="*/ 35 w 35"/>
                  <a:gd name="T11" fmla="*/ 19 h 37"/>
                  <a:gd name="T12" fmla="*/ 30 w 35"/>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35" h="37">
                    <a:moveTo>
                      <a:pt x="30" y="0"/>
                    </a:moveTo>
                    <a:lnTo>
                      <a:pt x="16" y="9"/>
                    </a:lnTo>
                    <a:lnTo>
                      <a:pt x="0" y="24"/>
                    </a:lnTo>
                    <a:lnTo>
                      <a:pt x="2" y="37"/>
                    </a:lnTo>
                    <a:lnTo>
                      <a:pt x="11" y="37"/>
                    </a:lnTo>
                    <a:lnTo>
                      <a:pt x="35" y="19"/>
                    </a:lnTo>
                    <a:lnTo>
                      <a:pt x="30"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5" name="Freeform 567"/>
              <p:cNvSpPr>
                <a:spLocks noChangeAspect="1"/>
              </p:cNvSpPr>
              <p:nvPr/>
            </p:nvSpPr>
            <p:spPr bwMode="auto">
              <a:xfrm>
                <a:off x="3757306" y="1308775"/>
                <a:ext cx="377" cy="793"/>
              </a:xfrm>
              <a:custGeom>
                <a:avLst/>
                <a:gdLst>
                  <a:gd name="T0" fmla="*/ 151 w 553"/>
                  <a:gd name="T1" fmla="*/ 1239 h 1281"/>
                  <a:gd name="T2" fmla="*/ 118 w 553"/>
                  <a:gd name="T3" fmla="*/ 1207 h 1281"/>
                  <a:gd name="T4" fmla="*/ 75 w 553"/>
                  <a:gd name="T5" fmla="*/ 1197 h 1281"/>
                  <a:gd name="T6" fmla="*/ 75 w 553"/>
                  <a:gd name="T7" fmla="*/ 1096 h 1281"/>
                  <a:gd name="T8" fmla="*/ 56 w 553"/>
                  <a:gd name="T9" fmla="*/ 1028 h 1281"/>
                  <a:gd name="T10" fmla="*/ 52 w 553"/>
                  <a:gd name="T11" fmla="*/ 975 h 1281"/>
                  <a:gd name="T12" fmla="*/ 38 w 553"/>
                  <a:gd name="T13" fmla="*/ 930 h 1281"/>
                  <a:gd name="T14" fmla="*/ 66 w 553"/>
                  <a:gd name="T15" fmla="*/ 883 h 1281"/>
                  <a:gd name="T16" fmla="*/ 80 w 553"/>
                  <a:gd name="T17" fmla="*/ 840 h 1281"/>
                  <a:gd name="T18" fmla="*/ 136 w 553"/>
                  <a:gd name="T19" fmla="*/ 788 h 1281"/>
                  <a:gd name="T20" fmla="*/ 174 w 553"/>
                  <a:gd name="T21" fmla="*/ 725 h 1281"/>
                  <a:gd name="T22" fmla="*/ 201 w 553"/>
                  <a:gd name="T23" fmla="*/ 672 h 1281"/>
                  <a:gd name="T24" fmla="*/ 225 w 553"/>
                  <a:gd name="T25" fmla="*/ 636 h 1281"/>
                  <a:gd name="T26" fmla="*/ 229 w 553"/>
                  <a:gd name="T27" fmla="*/ 599 h 1281"/>
                  <a:gd name="T28" fmla="*/ 220 w 553"/>
                  <a:gd name="T29" fmla="*/ 562 h 1281"/>
                  <a:gd name="T30" fmla="*/ 193 w 553"/>
                  <a:gd name="T31" fmla="*/ 546 h 1281"/>
                  <a:gd name="T32" fmla="*/ 151 w 553"/>
                  <a:gd name="T33" fmla="*/ 445 h 1281"/>
                  <a:gd name="T34" fmla="*/ 155 w 553"/>
                  <a:gd name="T35" fmla="*/ 361 h 1281"/>
                  <a:gd name="T36" fmla="*/ 136 w 553"/>
                  <a:gd name="T37" fmla="*/ 277 h 1281"/>
                  <a:gd name="T38" fmla="*/ 103 w 553"/>
                  <a:gd name="T39" fmla="*/ 223 h 1281"/>
                  <a:gd name="T40" fmla="*/ 38 w 553"/>
                  <a:gd name="T41" fmla="*/ 182 h 1281"/>
                  <a:gd name="T42" fmla="*/ 14 w 553"/>
                  <a:gd name="T43" fmla="*/ 139 h 1281"/>
                  <a:gd name="T44" fmla="*/ 19 w 553"/>
                  <a:gd name="T45" fmla="*/ 111 h 1281"/>
                  <a:gd name="T46" fmla="*/ 61 w 553"/>
                  <a:gd name="T47" fmla="*/ 135 h 1281"/>
                  <a:gd name="T48" fmla="*/ 136 w 553"/>
                  <a:gd name="T49" fmla="*/ 155 h 1281"/>
                  <a:gd name="T50" fmla="*/ 165 w 553"/>
                  <a:gd name="T51" fmla="*/ 176 h 1281"/>
                  <a:gd name="T52" fmla="*/ 201 w 553"/>
                  <a:gd name="T53" fmla="*/ 139 h 1281"/>
                  <a:gd name="T54" fmla="*/ 225 w 553"/>
                  <a:gd name="T55" fmla="*/ 111 h 1281"/>
                  <a:gd name="T56" fmla="*/ 220 w 553"/>
                  <a:gd name="T57" fmla="*/ 52 h 1281"/>
                  <a:gd name="T58" fmla="*/ 258 w 553"/>
                  <a:gd name="T59" fmla="*/ 27 h 1281"/>
                  <a:gd name="T60" fmla="*/ 309 w 553"/>
                  <a:gd name="T61" fmla="*/ 37 h 1281"/>
                  <a:gd name="T62" fmla="*/ 309 w 553"/>
                  <a:gd name="T63" fmla="*/ 84 h 1281"/>
                  <a:gd name="T64" fmla="*/ 267 w 553"/>
                  <a:gd name="T65" fmla="*/ 131 h 1281"/>
                  <a:gd name="T66" fmla="*/ 314 w 553"/>
                  <a:gd name="T67" fmla="*/ 121 h 1281"/>
                  <a:gd name="T68" fmla="*/ 319 w 553"/>
                  <a:gd name="T69" fmla="*/ 42 h 1281"/>
                  <a:gd name="T70" fmla="*/ 347 w 553"/>
                  <a:gd name="T71" fmla="*/ 89 h 1281"/>
                  <a:gd name="T72" fmla="*/ 338 w 553"/>
                  <a:gd name="T73" fmla="*/ 160 h 1281"/>
                  <a:gd name="T74" fmla="*/ 375 w 553"/>
                  <a:gd name="T75" fmla="*/ 223 h 1281"/>
                  <a:gd name="T76" fmla="*/ 399 w 553"/>
                  <a:gd name="T77" fmla="*/ 281 h 1281"/>
                  <a:gd name="T78" fmla="*/ 403 w 553"/>
                  <a:gd name="T79" fmla="*/ 371 h 1281"/>
                  <a:gd name="T80" fmla="*/ 441 w 553"/>
                  <a:gd name="T81" fmla="*/ 498 h 1281"/>
                  <a:gd name="T82" fmla="*/ 455 w 553"/>
                  <a:gd name="T83" fmla="*/ 636 h 1281"/>
                  <a:gd name="T84" fmla="*/ 474 w 553"/>
                  <a:gd name="T85" fmla="*/ 735 h 1281"/>
                  <a:gd name="T86" fmla="*/ 529 w 553"/>
                  <a:gd name="T87" fmla="*/ 803 h 1281"/>
                  <a:gd name="T88" fmla="*/ 553 w 553"/>
                  <a:gd name="T89" fmla="*/ 857 h 1281"/>
                  <a:gd name="T90" fmla="*/ 526 w 553"/>
                  <a:gd name="T91" fmla="*/ 964 h 1281"/>
                  <a:gd name="T92" fmla="*/ 512 w 553"/>
                  <a:gd name="T93" fmla="*/ 1022 h 1281"/>
                  <a:gd name="T94" fmla="*/ 483 w 553"/>
                  <a:gd name="T95" fmla="*/ 1055 h 1281"/>
                  <a:gd name="T96" fmla="*/ 413 w 553"/>
                  <a:gd name="T97" fmla="*/ 1133 h 1281"/>
                  <a:gd name="T98" fmla="*/ 380 w 553"/>
                  <a:gd name="T99" fmla="*/ 1170 h 1281"/>
                  <a:gd name="T100" fmla="*/ 338 w 553"/>
                  <a:gd name="T101" fmla="*/ 1192 h 1281"/>
                  <a:gd name="T102" fmla="*/ 272 w 553"/>
                  <a:gd name="T103" fmla="*/ 1213 h 1281"/>
                  <a:gd name="T104" fmla="*/ 206 w 553"/>
                  <a:gd name="T105" fmla="*/ 1244 h 1281"/>
                  <a:gd name="T106" fmla="*/ 155 w 553"/>
                  <a:gd name="T107" fmla="*/ 1281 h 1281"/>
                  <a:gd name="connsiteX0" fmla="*/ 2803 w 10000"/>
                  <a:gd name="connsiteY0" fmla="*/ 10000 h 10000"/>
                  <a:gd name="connsiteX1" fmla="*/ 2731 w 10000"/>
                  <a:gd name="connsiteY1" fmla="*/ 9672 h 10000"/>
                  <a:gd name="connsiteX2" fmla="*/ 2387 w 10000"/>
                  <a:gd name="connsiteY2" fmla="*/ 9500 h 10000"/>
                  <a:gd name="connsiteX3" fmla="*/ 2134 w 10000"/>
                  <a:gd name="connsiteY3" fmla="*/ 9422 h 10000"/>
                  <a:gd name="connsiteX4" fmla="*/ 1700 w 10000"/>
                  <a:gd name="connsiteY4" fmla="*/ 9344 h 10000"/>
                  <a:gd name="connsiteX5" fmla="*/ 1356 w 10000"/>
                  <a:gd name="connsiteY5" fmla="*/ 9344 h 10000"/>
                  <a:gd name="connsiteX6" fmla="*/ 1193 w 10000"/>
                  <a:gd name="connsiteY6" fmla="*/ 9180 h 10000"/>
                  <a:gd name="connsiteX7" fmla="*/ 1356 w 10000"/>
                  <a:gd name="connsiteY7" fmla="*/ 8556 h 10000"/>
                  <a:gd name="connsiteX8" fmla="*/ 1284 w 10000"/>
                  <a:gd name="connsiteY8" fmla="*/ 8189 h 10000"/>
                  <a:gd name="connsiteX9" fmla="*/ 1013 w 10000"/>
                  <a:gd name="connsiteY9" fmla="*/ 8025 h 10000"/>
                  <a:gd name="connsiteX10" fmla="*/ 850 w 10000"/>
                  <a:gd name="connsiteY10" fmla="*/ 7947 h 10000"/>
                  <a:gd name="connsiteX11" fmla="*/ 940 w 10000"/>
                  <a:gd name="connsiteY11" fmla="*/ 7611 h 10000"/>
                  <a:gd name="connsiteX12" fmla="*/ 850 w 10000"/>
                  <a:gd name="connsiteY12" fmla="*/ 7416 h 10000"/>
                  <a:gd name="connsiteX13" fmla="*/ 687 w 10000"/>
                  <a:gd name="connsiteY13" fmla="*/ 7260 h 10000"/>
                  <a:gd name="connsiteX14" fmla="*/ 940 w 10000"/>
                  <a:gd name="connsiteY14" fmla="*/ 6893 h 10000"/>
                  <a:gd name="connsiteX15" fmla="*/ 1193 w 10000"/>
                  <a:gd name="connsiteY15" fmla="*/ 6893 h 10000"/>
                  <a:gd name="connsiteX16" fmla="*/ 1356 w 10000"/>
                  <a:gd name="connsiteY16" fmla="*/ 6815 h 10000"/>
                  <a:gd name="connsiteX17" fmla="*/ 1447 w 10000"/>
                  <a:gd name="connsiteY17" fmla="*/ 6557 h 10000"/>
                  <a:gd name="connsiteX18" fmla="*/ 1953 w 10000"/>
                  <a:gd name="connsiteY18" fmla="*/ 6362 h 10000"/>
                  <a:gd name="connsiteX19" fmla="*/ 2459 w 10000"/>
                  <a:gd name="connsiteY19" fmla="*/ 6151 h 10000"/>
                  <a:gd name="connsiteX20" fmla="*/ 2550 w 10000"/>
                  <a:gd name="connsiteY20" fmla="*/ 5902 h 10000"/>
                  <a:gd name="connsiteX21" fmla="*/ 3146 w 10000"/>
                  <a:gd name="connsiteY21" fmla="*/ 5660 h 10000"/>
                  <a:gd name="connsiteX22" fmla="*/ 3725 w 10000"/>
                  <a:gd name="connsiteY22" fmla="*/ 5371 h 10000"/>
                  <a:gd name="connsiteX23" fmla="*/ 3635 w 10000"/>
                  <a:gd name="connsiteY23" fmla="*/ 5246 h 10000"/>
                  <a:gd name="connsiteX24" fmla="*/ 3635 w 10000"/>
                  <a:gd name="connsiteY24" fmla="*/ 5082 h 10000"/>
                  <a:gd name="connsiteX25" fmla="*/ 4069 w 10000"/>
                  <a:gd name="connsiteY25" fmla="*/ 4965 h 10000"/>
                  <a:gd name="connsiteX26" fmla="*/ 4231 w 10000"/>
                  <a:gd name="connsiteY26" fmla="*/ 4918 h 10000"/>
                  <a:gd name="connsiteX27" fmla="*/ 4141 w 10000"/>
                  <a:gd name="connsiteY27" fmla="*/ 4676 h 10000"/>
                  <a:gd name="connsiteX28" fmla="*/ 4141 w 10000"/>
                  <a:gd name="connsiteY28" fmla="*/ 4426 h 10000"/>
                  <a:gd name="connsiteX29" fmla="*/ 3978 w 10000"/>
                  <a:gd name="connsiteY29" fmla="*/ 4387 h 10000"/>
                  <a:gd name="connsiteX30" fmla="*/ 3725 w 10000"/>
                  <a:gd name="connsiteY30" fmla="*/ 4426 h 10000"/>
                  <a:gd name="connsiteX31" fmla="*/ 3490 w 10000"/>
                  <a:gd name="connsiteY31" fmla="*/ 4262 h 10000"/>
                  <a:gd name="connsiteX32" fmla="*/ 3237 w 10000"/>
                  <a:gd name="connsiteY32" fmla="*/ 3810 h 10000"/>
                  <a:gd name="connsiteX33" fmla="*/ 2731 w 10000"/>
                  <a:gd name="connsiteY33" fmla="*/ 3474 h 10000"/>
                  <a:gd name="connsiteX34" fmla="*/ 2893 w 10000"/>
                  <a:gd name="connsiteY34" fmla="*/ 3021 h 10000"/>
                  <a:gd name="connsiteX35" fmla="*/ 2803 w 10000"/>
                  <a:gd name="connsiteY35" fmla="*/ 2818 h 10000"/>
                  <a:gd name="connsiteX36" fmla="*/ 2206 w 10000"/>
                  <a:gd name="connsiteY36" fmla="*/ 2529 h 10000"/>
                  <a:gd name="connsiteX37" fmla="*/ 2459 w 10000"/>
                  <a:gd name="connsiteY37" fmla="*/ 2162 h 10000"/>
                  <a:gd name="connsiteX38" fmla="*/ 2297 w 10000"/>
                  <a:gd name="connsiteY38" fmla="*/ 1952 h 10000"/>
                  <a:gd name="connsiteX39" fmla="*/ 1863 w 10000"/>
                  <a:gd name="connsiteY39" fmla="*/ 1741 h 10000"/>
                  <a:gd name="connsiteX40" fmla="*/ 1609 w 10000"/>
                  <a:gd name="connsiteY40" fmla="*/ 1874 h 10000"/>
                  <a:gd name="connsiteX41" fmla="*/ 687 w 10000"/>
                  <a:gd name="connsiteY41" fmla="*/ 1421 h 10000"/>
                  <a:gd name="connsiteX42" fmla="*/ 434 w 10000"/>
                  <a:gd name="connsiteY42" fmla="*/ 1249 h 10000"/>
                  <a:gd name="connsiteX43" fmla="*/ 253 w 10000"/>
                  <a:gd name="connsiteY43" fmla="*/ 1085 h 10000"/>
                  <a:gd name="connsiteX44" fmla="*/ 0 w 10000"/>
                  <a:gd name="connsiteY44" fmla="*/ 1023 h 10000"/>
                  <a:gd name="connsiteX45" fmla="*/ 344 w 10000"/>
                  <a:gd name="connsiteY45" fmla="*/ 867 h 10000"/>
                  <a:gd name="connsiteX46" fmla="*/ 850 w 10000"/>
                  <a:gd name="connsiteY46" fmla="*/ 867 h 10000"/>
                  <a:gd name="connsiteX47" fmla="*/ 1103 w 10000"/>
                  <a:gd name="connsiteY47" fmla="*/ 1054 h 10000"/>
                  <a:gd name="connsiteX48" fmla="*/ 1790 w 10000"/>
                  <a:gd name="connsiteY48" fmla="*/ 1421 h 10000"/>
                  <a:gd name="connsiteX49" fmla="*/ 2459 w 10000"/>
                  <a:gd name="connsiteY49" fmla="*/ 1210 h 10000"/>
                  <a:gd name="connsiteX50" fmla="*/ 2893 w 10000"/>
                  <a:gd name="connsiteY50" fmla="*/ 1249 h 10000"/>
                  <a:gd name="connsiteX51" fmla="*/ 2984 w 10000"/>
                  <a:gd name="connsiteY51" fmla="*/ 1374 h 10000"/>
                  <a:gd name="connsiteX52" fmla="*/ 3490 w 10000"/>
                  <a:gd name="connsiteY52" fmla="*/ 1421 h 10000"/>
                  <a:gd name="connsiteX53" fmla="*/ 3635 w 10000"/>
                  <a:gd name="connsiteY53" fmla="*/ 1085 h 10000"/>
                  <a:gd name="connsiteX54" fmla="*/ 3888 w 10000"/>
                  <a:gd name="connsiteY54" fmla="*/ 984 h 10000"/>
                  <a:gd name="connsiteX55" fmla="*/ 4069 w 10000"/>
                  <a:gd name="connsiteY55" fmla="*/ 867 h 10000"/>
                  <a:gd name="connsiteX56" fmla="*/ 4069 w 10000"/>
                  <a:gd name="connsiteY56" fmla="*/ 742 h 10000"/>
                  <a:gd name="connsiteX57" fmla="*/ 3978 w 10000"/>
                  <a:gd name="connsiteY57" fmla="*/ 406 h 10000"/>
                  <a:gd name="connsiteX58" fmla="*/ 4412 w 10000"/>
                  <a:gd name="connsiteY58" fmla="*/ 211 h 10000"/>
                  <a:gd name="connsiteX59" fmla="*/ 4665 w 10000"/>
                  <a:gd name="connsiteY59" fmla="*/ 211 h 10000"/>
                  <a:gd name="connsiteX60" fmla="*/ 5081 w 10000"/>
                  <a:gd name="connsiteY60" fmla="*/ 0 h 10000"/>
                  <a:gd name="connsiteX61" fmla="*/ 5588 w 10000"/>
                  <a:gd name="connsiteY61" fmla="*/ 289 h 10000"/>
                  <a:gd name="connsiteX62" fmla="*/ 5769 w 10000"/>
                  <a:gd name="connsiteY62" fmla="*/ 406 h 10000"/>
                  <a:gd name="connsiteX63" fmla="*/ 5588 w 10000"/>
                  <a:gd name="connsiteY63" fmla="*/ 656 h 10000"/>
                  <a:gd name="connsiteX64" fmla="*/ 5172 w 10000"/>
                  <a:gd name="connsiteY64" fmla="*/ 820 h 10000"/>
                  <a:gd name="connsiteX65" fmla="*/ 4828 w 10000"/>
                  <a:gd name="connsiteY65" fmla="*/ 1023 h 10000"/>
                  <a:gd name="connsiteX66" fmla="*/ 5604 w 10000"/>
                  <a:gd name="connsiteY66" fmla="*/ 755 h 10000"/>
                  <a:gd name="connsiteX67" fmla="*/ 5678 w 10000"/>
                  <a:gd name="connsiteY67" fmla="*/ 945 h 10000"/>
                  <a:gd name="connsiteX68" fmla="*/ 5678 w 10000"/>
                  <a:gd name="connsiteY68" fmla="*/ 695 h 10000"/>
                  <a:gd name="connsiteX69" fmla="*/ 5769 w 10000"/>
                  <a:gd name="connsiteY69" fmla="*/ 328 h 10000"/>
                  <a:gd name="connsiteX70" fmla="*/ 6022 w 10000"/>
                  <a:gd name="connsiteY70" fmla="*/ 242 h 10000"/>
                  <a:gd name="connsiteX71" fmla="*/ 6275 w 10000"/>
                  <a:gd name="connsiteY71" fmla="*/ 695 h 10000"/>
                  <a:gd name="connsiteX72" fmla="*/ 6275 w 10000"/>
                  <a:gd name="connsiteY72" fmla="*/ 1085 h 10000"/>
                  <a:gd name="connsiteX73" fmla="*/ 6112 w 10000"/>
                  <a:gd name="connsiteY73" fmla="*/ 1249 h 10000"/>
                  <a:gd name="connsiteX74" fmla="*/ 6112 w 10000"/>
                  <a:gd name="connsiteY74" fmla="*/ 1499 h 10000"/>
                  <a:gd name="connsiteX75" fmla="*/ 6781 w 10000"/>
                  <a:gd name="connsiteY75" fmla="*/ 1741 h 10000"/>
                  <a:gd name="connsiteX76" fmla="*/ 6781 w 10000"/>
                  <a:gd name="connsiteY76" fmla="*/ 1905 h 10000"/>
                  <a:gd name="connsiteX77" fmla="*/ 7215 w 10000"/>
                  <a:gd name="connsiteY77" fmla="*/ 2194 h 10000"/>
                  <a:gd name="connsiteX78" fmla="*/ 7378 w 10000"/>
                  <a:gd name="connsiteY78" fmla="*/ 2404 h 10000"/>
                  <a:gd name="connsiteX79" fmla="*/ 7288 w 10000"/>
                  <a:gd name="connsiteY79" fmla="*/ 2896 h 10000"/>
                  <a:gd name="connsiteX80" fmla="*/ 7559 w 10000"/>
                  <a:gd name="connsiteY80" fmla="*/ 3443 h 10000"/>
                  <a:gd name="connsiteX81" fmla="*/ 7975 w 10000"/>
                  <a:gd name="connsiteY81" fmla="*/ 3888 h 10000"/>
                  <a:gd name="connsiteX82" fmla="*/ 7884 w 10000"/>
                  <a:gd name="connsiteY82" fmla="*/ 4551 h 10000"/>
                  <a:gd name="connsiteX83" fmla="*/ 8228 w 10000"/>
                  <a:gd name="connsiteY83" fmla="*/ 4965 h 10000"/>
                  <a:gd name="connsiteX84" fmla="*/ 8409 w 10000"/>
                  <a:gd name="connsiteY84" fmla="*/ 5129 h 10000"/>
                  <a:gd name="connsiteX85" fmla="*/ 8571 w 10000"/>
                  <a:gd name="connsiteY85" fmla="*/ 5738 h 10000"/>
                  <a:gd name="connsiteX86" fmla="*/ 8734 w 10000"/>
                  <a:gd name="connsiteY86" fmla="*/ 5995 h 10000"/>
                  <a:gd name="connsiteX87" fmla="*/ 9566 w 10000"/>
                  <a:gd name="connsiteY87" fmla="*/ 6269 h 10000"/>
                  <a:gd name="connsiteX88" fmla="*/ 10000 w 10000"/>
                  <a:gd name="connsiteY88" fmla="*/ 6526 h 10000"/>
                  <a:gd name="connsiteX89" fmla="*/ 10000 w 10000"/>
                  <a:gd name="connsiteY89" fmla="*/ 6690 h 10000"/>
                  <a:gd name="connsiteX90" fmla="*/ 9656 w 10000"/>
                  <a:gd name="connsiteY90" fmla="*/ 7447 h 10000"/>
                  <a:gd name="connsiteX91" fmla="*/ 9512 w 10000"/>
                  <a:gd name="connsiteY91" fmla="*/ 7525 h 10000"/>
                  <a:gd name="connsiteX92" fmla="*/ 9656 w 10000"/>
                  <a:gd name="connsiteY92" fmla="*/ 7689 h 10000"/>
                  <a:gd name="connsiteX93" fmla="*/ 9259 w 10000"/>
                  <a:gd name="connsiteY93" fmla="*/ 7978 h 10000"/>
                  <a:gd name="connsiteX94" fmla="*/ 8734 w 10000"/>
                  <a:gd name="connsiteY94" fmla="*/ 8103 h 10000"/>
                  <a:gd name="connsiteX95" fmla="*/ 8734 w 10000"/>
                  <a:gd name="connsiteY95" fmla="*/ 8236 h 10000"/>
                  <a:gd name="connsiteX96" fmla="*/ 7975 w 10000"/>
                  <a:gd name="connsiteY96" fmla="*/ 8728 h 10000"/>
                  <a:gd name="connsiteX97" fmla="*/ 7468 w 10000"/>
                  <a:gd name="connsiteY97" fmla="*/ 8845 h 10000"/>
                  <a:gd name="connsiteX98" fmla="*/ 7378 w 10000"/>
                  <a:gd name="connsiteY98" fmla="*/ 9133 h 10000"/>
                  <a:gd name="connsiteX99" fmla="*/ 6872 w 10000"/>
                  <a:gd name="connsiteY99" fmla="*/ 9133 h 10000"/>
                  <a:gd name="connsiteX100" fmla="*/ 6618 w 10000"/>
                  <a:gd name="connsiteY100" fmla="*/ 9227 h 10000"/>
                  <a:gd name="connsiteX101" fmla="*/ 6112 w 10000"/>
                  <a:gd name="connsiteY101" fmla="*/ 9305 h 10000"/>
                  <a:gd name="connsiteX102" fmla="*/ 5425 w 10000"/>
                  <a:gd name="connsiteY102" fmla="*/ 9258 h 10000"/>
                  <a:gd name="connsiteX103" fmla="*/ 4919 w 10000"/>
                  <a:gd name="connsiteY103" fmla="*/ 9469 h 10000"/>
                  <a:gd name="connsiteX104" fmla="*/ 4322 w 10000"/>
                  <a:gd name="connsiteY104" fmla="*/ 9633 h 10000"/>
                  <a:gd name="connsiteX105" fmla="*/ 3725 w 10000"/>
                  <a:gd name="connsiteY105" fmla="*/ 9711 h 10000"/>
                  <a:gd name="connsiteX106" fmla="*/ 3291 w 10000"/>
                  <a:gd name="connsiteY106" fmla="*/ 9883 h 10000"/>
                  <a:gd name="connsiteX107" fmla="*/ 2803 w 10000"/>
                  <a:gd name="connsiteY107" fmla="*/ 10000 h 10000"/>
                  <a:gd name="connsiteX0" fmla="*/ 2803 w 10000"/>
                  <a:gd name="connsiteY0" fmla="*/ 10000 h 10000"/>
                  <a:gd name="connsiteX1" fmla="*/ 2731 w 10000"/>
                  <a:gd name="connsiteY1" fmla="*/ 9672 h 10000"/>
                  <a:gd name="connsiteX2" fmla="*/ 2387 w 10000"/>
                  <a:gd name="connsiteY2" fmla="*/ 9500 h 10000"/>
                  <a:gd name="connsiteX3" fmla="*/ 2134 w 10000"/>
                  <a:gd name="connsiteY3" fmla="*/ 9422 h 10000"/>
                  <a:gd name="connsiteX4" fmla="*/ 1700 w 10000"/>
                  <a:gd name="connsiteY4" fmla="*/ 9344 h 10000"/>
                  <a:gd name="connsiteX5" fmla="*/ 1356 w 10000"/>
                  <a:gd name="connsiteY5" fmla="*/ 9344 h 10000"/>
                  <a:gd name="connsiteX6" fmla="*/ 1193 w 10000"/>
                  <a:gd name="connsiteY6" fmla="*/ 9180 h 10000"/>
                  <a:gd name="connsiteX7" fmla="*/ 1356 w 10000"/>
                  <a:gd name="connsiteY7" fmla="*/ 8556 h 10000"/>
                  <a:gd name="connsiteX8" fmla="*/ 1284 w 10000"/>
                  <a:gd name="connsiteY8" fmla="*/ 8189 h 10000"/>
                  <a:gd name="connsiteX9" fmla="*/ 1013 w 10000"/>
                  <a:gd name="connsiteY9" fmla="*/ 8025 h 10000"/>
                  <a:gd name="connsiteX10" fmla="*/ 850 w 10000"/>
                  <a:gd name="connsiteY10" fmla="*/ 7947 h 10000"/>
                  <a:gd name="connsiteX11" fmla="*/ 940 w 10000"/>
                  <a:gd name="connsiteY11" fmla="*/ 7611 h 10000"/>
                  <a:gd name="connsiteX12" fmla="*/ 850 w 10000"/>
                  <a:gd name="connsiteY12" fmla="*/ 7416 h 10000"/>
                  <a:gd name="connsiteX13" fmla="*/ 687 w 10000"/>
                  <a:gd name="connsiteY13" fmla="*/ 7260 h 10000"/>
                  <a:gd name="connsiteX14" fmla="*/ 940 w 10000"/>
                  <a:gd name="connsiteY14" fmla="*/ 6893 h 10000"/>
                  <a:gd name="connsiteX15" fmla="*/ 1193 w 10000"/>
                  <a:gd name="connsiteY15" fmla="*/ 6893 h 10000"/>
                  <a:gd name="connsiteX16" fmla="*/ 1356 w 10000"/>
                  <a:gd name="connsiteY16" fmla="*/ 6815 h 10000"/>
                  <a:gd name="connsiteX17" fmla="*/ 1447 w 10000"/>
                  <a:gd name="connsiteY17" fmla="*/ 6557 h 10000"/>
                  <a:gd name="connsiteX18" fmla="*/ 1953 w 10000"/>
                  <a:gd name="connsiteY18" fmla="*/ 6362 h 10000"/>
                  <a:gd name="connsiteX19" fmla="*/ 2459 w 10000"/>
                  <a:gd name="connsiteY19" fmla="*/ 6151 h 10000"/>
                  <a:gd name="connsiteX20" fmla="*/ 2550 w 10000"/>
                  <a:gd name="connsiteY20" fmla="*/ 5902 h 10000"/>
                  <a:gd name="connsiteX21" fmla="*/ 3146 w 10000"/>
                  <a:gd name="connsiteY21" fmla="*/ 5660 h 10000"/>
                  <a:gd name="connsiteX22" fmla="*/ 3725 w 10000"/>
                  <a:gd name="connsiteY22" fmla="*/ 5371 h 10000"/>
                  <a:gd name="connsiteX23" fmla="*/ 3635 w 10000"/>
                  <a:gd name="connsiteY23" fmla="*/ 5246 h 10000"/>
                  <a:gd name="connsiteX24" fmla="*/ 3635 w 10000"/>
                  <a:gd name="connsiteY24" fmla="*/ 5082 h 10000"/>
                  <a:gd name="connsiteX25" fmla="*/ 4069 w 10000"/>
                  <a:gd name="connsiteY25" fmla="*/ 4965 h 10000"/>
                  <a:gd name="connsiteX26" fmla="*/ 4231 w 10000"/>
                  <a:gd name="connsiteY26" fmla="*/ 4918 h 10000"/>
                  <a:gd name="connsiteX27" fmla="*/ 4141 w 10000"/>
                  <a:gd name="connsiteY27" fmla="*/ 4676 h 10000"/>
                  <a:gd name="connsiteX28" fmla="*/ 4141 w 10000"/>
                  <a:gd name="connsiteY28" fmla="*/ 4426 h 10000"/>
                  <a:gd name="connsiteX29" fmla="*/ 3978 w 10000"/>
                  <a:gd name="connsiteY29" fmla="*/ 4387 h 10000"/>
                  <a:gd name="connsiteX30" fmla="*/ 3725 w 10000"/>
                  <a:gd name="connsiteY30" fmla="*/ 4426 h 10000"/>
                  <a:gd name="connsiteX31" fmla="*/ 3490 w 10000"/>
                  <a:gd name="connsiteY31" fmla="*/ 4262 h 10000"/>
                  <a:gd name="connsiteX32" fmla="*/ 3237 w 10000"/>
                  <a:gd name="connsiteY32" fmla="*/ 3810 h 10000"/>
                  <a:gd name="connsiteX33" fmla="*/ 2731 w 10000"/>
                  <a:gd name="connsiteY33" fmla="*/ 3474 h 10000"/>
                  <a:gd name="connsiteX34" fmla="*/ 2893 w 10000"/>
                  <a:gd name="connsiteY34" fmla="*/ 3021 h 10000"/>
                  <a:gd name="connsiteX35" fmla="*/ 2803 w 10000"/>
                  <a:gd name="connsiteY35" fmla="*/ 2818 h 10000"/>
                  <a:gd name="connsiteX36" fmla="*/ 2206 w 10000"/>
                  <a:gd name="connsiteY36" fmla="*/ 2529 h 10000"/>
                  <a:gd name="connsiteX37" fmla="*/ 2459 w 10000"/>
                  <a:gd name="connsiteY37" fmla="*/ 2162 h 10000"/>
                  <a:gd name="connsiteX38" fmla="*/ 2297 w 10000"/>
                  <a:gd name="connsiteY38" fmla="*/ 1952 h 10000"/>
                  <a:gd name="connsiteX39" fmla="*/ 1863 w 10000"/>
                  <a:gd name="connsiteY39" fmla="*/ 1741 h 10000"/>
                  <a:gd name="connsiteX40" fmla="*/ 1609 w 10000"/>
                  <a:gd name="connsiteY40" fmla="*/ 1874 h 10000"/>
                  <a:gd name="connsiteX41" fmla="*/ 687 w 10000"/>
                  <a:gd name="connsiteY41" fmla="*/ 1421 h 10000"/>
                  <a:gd name="connsiteX42" fmla="*/ 434 w 10000"/>
                  <a:gd name="connsiteY42" fmla="*/ 1249 h 10000"/>
                  <a:gd name="connsiteX43" fmla="*/ 253 w 10000"/>
                  <a:gd name="connsiteY43" fmla="*/ 1085 h 10000"/>
                  <a:gd name="connsiteX44" fmla="*/ 0 w 10000"/>
                  <a:gd name="connsiteY44" fmla="*/ 1023 h 10000"/>
                  <a:gd name="connsiteX45" fmla="*/ 344 w 10000"/>
                  <a:gd name="connsiteY45" fmla="*/ 867 h 10000"/>
                  <a:gd name="connsiteX46" fmla="*/ 850 w 10000"/>
                  <a:gd name="connsiteY46" fmla="*/ 867 h 10000"/>
                  <a:gd name="connsiteX47" fmla="*/ 1103 w 10000"/>
                  <a:gd name="connsiteY47" fmla="*/ 1054 h 10000"/>
                  <a:gd name="connsiteX48" fmla="*/ 1790 w 10000"/>
                  <a:gd name="connsiteY48" fmla="*/ 1421 h 10000"/>
                  <a:gd name="connsiteX49" fmla="*/ 2459 w 10000"/>
                  <a:gd name="connsiteY49" fmla="*/ 1210 h 10000"/>
                  <a:gd name="connsiteX50" fmla="*/ 2893 w 10000"/>
                  <a:gd name="connsiteY50" fmla="*/ 1249 h 10000"/>
                  <a:gd name="connsiteX51" fmla="*/ 2984 w 10000"/>
                  <a:gd name="connsiteY51" fmla="*/ 1374 h 10000"/>
                  <a:gd name="connsiteX52" fmla="*/ 3490 w 10000"/>
                  <a:gd name="connsiteY52" fmla="*/ 1421 h 10000"/>
                  <a:gd name="connsiteX53" fmla="*/ 3635 w 10000"/>
                  <a:gd name="connsiteY53" fmla="*/ 1085 h 10000"/>
                  <a:gd name="connsiteX54" fmla="*/ 3888 w 10000"/>
                  <a:gd name="connsiteY54" fmla="*/ 984 h 10000"/>
                  <a:gd name="connsiteX55" fmla="*/ 4069 w 10000"/>
                  <a:gd name="connsiteY55" fmla="*/ 867 h 10000"/>
                  <a:gd name="connsiteX56" fmla="*/ 4069 w 10000"/>
                  <a:gd name="connsiteY56" fmla="*/ 742 h 10000"/>
                  <a:gd name="connsiteX57" fmla="*/ 3978 w 10000"/>
                  <a:gd name="connsiteY57" fmla="*/ 406 h 10000"/>
                  <a:gd name="connsiteX58" fmla="*/ 4412 w 10000"/>
                  <a:gd name="connsiteY58" fmla="*/ 211 h 10000"/>
                  <a:gd name="connsiteX59" fmla="*/ 4665 w 10000"/>
                  <a:gd name="connsiteY59" fmla="*/ 211 h 10000"/>
                  <a:gd name="connsiteX60" fmla="*/ 5081 w 10000"/>
                  <a:gd name="connsiteY60" fmla="*/ 0 h 10000"/>
                  <a:gd name="connsiteX61" fmla="*/ 5588 w 10000"/>
                  <a:gd name="connsiteY61" fmla="*/ 289 h 10000"/>
                  <a:gd name="connsiteX62" fmla="*/ 5769 w 10000"/>
                  <a:gd name="connsiteY62" fmla="*/ 406 h 10000"/>
                  <a:gd name="connsiteX63" fmla="*/ 5588 w 10000"/>
                  <a:gd name="connsiteY63" fmla="*/ 656 h 10000"/>
                  <a:gd name="connsiteX64" fmla="*/ 5172 w 10000"/>
                  <a:gd name="connsiteY64" fmla="*/ 820 h 10000"/>
                  <a:gd name="connsiteX65" fmla="*/ 5741 w 10000"/>
                  <a:gd name="connsiteY65" fmla="*/ 659 h 10000"/>
                  <a:gd name="connsiteX66" fmla="*/ 5604 w 10000"/>
                  <a:gd name="connsiteY66" fmla="*/ 755 h 10000"/>
                  <a:gd name="connsiteX67" fmla="*/ 5678 w 10000"/>
                  <a:gd name="connsiteY67" fmla="*/ 945 h 10000"/>
                  <a:gd name="connsiteX68" fmla="*/ 5678 w 10000"/>
                  <a:gd name="connsiteY68" fmla="*/ 695 h 10000"/>
                  <a:gd name="connsiteX69" fmla="*/ 5769 w 10000"/>
                  <a:gd name="connsiteY69" fmla="*/ 328 h 10000"/>
                  <a:gd name="connsiteX70" fmla="*/ 6022 w 10000"/>
                  <a:gd name="connsiteY70" fmla="*/ 242 h 10000"/>
                  <a:gd name="connsiteX71" fmla="*/ 6275 w 10000"/>
                  <a:gd name="connsiteY71" fmla="*/ 695 h 10000"/>
                  <a:gd name="connsiteX72" fmla="*/ 6275 w 10000"/>
                  <a:gd name="connsiteY72" fmla="*/ 1085 h 10000"/>
                  <a:gd name="connsiteX73" fmla="*/ 6112 w 10000"/>
                  <a:gd name="connsiteY73" fmla="*/ 1249 h 10000"/>
                  <a:gd name="connsiteX74" fmla="*/ 6112 w 10000"/>
                  <a:gd name="connsiteY74" fmla="*/ 1499 h 10000"/>
                  <a:gd name="connsiteX75" fmla="*/ 6781 w 10000"/>
                  <a:gd name="connsiteY75" fmla="*/ 1741 h 10000"/>
                  <a:gd name="connsiteX76" fmla="*/ 6781 w 10000"/>
                  <a:gd name="connsiteY76" fmla="*/ 1905 h 10000"/>
                  <a:gd name="connsiteX77" fmla="*/ 7215 w 10000"/>
                  <a:gd name="connsiteY77" fmla="*/ 2194 h 10000"/>
                  <a:gd name="connsiteX78" fmla="*/ 7378 w 10000"/>
                  <a:gd name="connsiteY78" fmla="*/ 2404 h 10000"/>
                  <a:gd name="connsiteX79" fmla="*/ 7288 w 10000"/>
                  <a:gd name="connsiteY79" fmla="*/ 2896 h 10000"/>
                  <a:gd name="connsiteX80" fmla="*/ 7559 w 10000"/>
                  <a:gd name="connsiteY80" fmla="*/ 3443 h 10000"/>
                  <a:gd name="connsiteX81" fmla="*/ 7975 w 10000"/>
                  <a:gd name="connsiteY81" fmla="*/ 3888 h 10000"/>
                  <a:gd name="connsiteX82" fmla="*/ 7884 w 10000"/>
                  <a:gd name="connsiteY82" fmla="*/ 4551 h 10000"/>
                  <a:gd name="connsiteX83" fmla="*/ 8228 w 10000"/>
                  <a:gd name="connsiteY83" fmla="*/ 4965 h 10000"/>
                  <a:gd name="connsiteX84" fmla="*/ 8409 w 10000"/>
                  <a:gd name="connsiteY84" fmla="*/ 5129 h 10000"/>
                  <a:gd name="connsiteX85" fmla="*/ 8571 w 10000"/>
                  <a:gd name="connsiteY85" fmla="*/ 5738 h 10000"/>
                  <a:gd name="connsiteX86" fmla="*/ 8734 w 10000"/>
                  <a:gd name="connsiteY86" fmla="*/ 5995 h 10000"/>
                  <a:gd name="connsiteX87" fmla="*/ 9566 w 10000"/>
                  <a:gd name="connsiteY87" fmla="*/ 6269 h 10000"/>
                  <a:gd name="connsiteX88" fmla="*/ 10000 w 10000"/>
                  <a:gd name="connsiteY88" fmla="*/ 6526 h 10000"/>
                  <a:gd name="connsiteX89" fmla="*/ 10000 w 10000"/>
                  <a:gd name="connsiteY89" fmla="*/ 6690 h 10000"/>
                  <a:gd name="connsiteX90" fmla="*/ 9656 w 10000"/>
                  <a:gd name="connsiteY90" fmla="*/ 7447 h 10000"/>
                  <a:gd name="connsiteX91" fmla="*/ 9512 w 10000"/>
                  <a:gd name="connsiteY91" fmla="*/ 7525 h 10000"/>
                  <a:gd name="connsiteX92" fmla="*/ 9656 w 10000"/>
                  <a:gd name="connsiteY92" fmla="*/ 7689 h 10000"/>
                  <a:gd name="connsiteX93" fmla="*/ 9259 w 10000"/>
                  <a:gd name="connsiteY93" fmla="*/ 7978 h 10000"/>
                  <a:gd name="connsiteX94" fmla="*/ 8734 w 10000"/>
                  <a:gd name="connsiteY94" fmla="*/ 8103 h 10000"/>
                  <a:gd name="connsiteX95" fmla="*/ 8734 w 10000"/>
                  <a:gd name="connsiteY95" fmla="*/ 8236 h 10000"/>
                  <a:gd name="connsiteX96" fmla="*/ 7975 w 10000"/>
                  <a:gd name="connsiteY96" fmla="*/ 8728 h 10000"/>
                  <a:gd name="connsiteX97" fmla="*/ 7468 w 10000"/>
                  <a:gd name="connsiteY97" fmla="*/ 8845 h 10000"/>
                  <a:gd name="connsiteX98" fmla="*/ 7378 w 10000"/>
                  <a:gd name="connsiteY98" fmla="*/ 9133 h 10000"/>
                  <a:gd name="connsiteX99" fmla="*/ 6872 w 10000"/>
                  <a:gd name="connsiteY99" fmla="*/ 9133 h 10000"/>
                  <a:gd name="connsiteX100" fmla="*/ 6618 w 10000"/>
                  <a:gd name="connsiteY100" fmla="*/ 9227 h 10000"/>
                  <a:gd name="connsiteX101" fmla="*/ 6112 w 10000"/>
                  <a:gd name="connsiteY101" fmla="*/ 9305 h 10000"/>
                  <a:gd name="connsiteX102" fmla="*/ 5425 w 10000"/>
                  <a:gd name="connsiteY102" fmla="*/ 9258 h 10000"/>
                  <a:gd name="connsiteX103" fmla="*/ 4919 w 10000"/>
                  <a:gd name="connsiteY103" fmla="*/ 9469 h 10000"/>
                  <a:gd name="connsiteX104" fmla="*/ 4322 w 10000"/>
                  <a:gd name="connsiteY104" fmla="*/ 9633 h 10000"/>
                  <a:gd name="connsiteX105" fmla="*/ 3725 w 10000"/>
                  <a:gd name="connsiteY105" fmla="*/ 9711 h 10000"/>
                  <a:gd name="connsiteX106" fmla="*/ 3291 w 10000"/>
                  <a:gd name="connsiteY106" fmla="*/ 9883 h 10000"/>
                  <a:gd name="connsiteX107" fmla="*/ 2803 w 10000"/>
                  <a:gd name="connsiteY107" fmla="*/ 10000 h 10000"/>
                  <a:gd name="connsiteX0" fmla="*/ 2803 w 10000"/>
                  <a:gd name="connsiteY0" fmla="*/ 10000 h 10000"/>
                  <a:gd name="connsiteX1" fmla="*/ 2731 w 10000"/>
                  <a:gd name="connsiteY1" fmla="*/ 9672 h 10000"/>
                  <a:gd name="connsiteX2" fmla="*/ 2387 w 10000"/>
                  <a:gd name="connsiteY2" fmla="*/ 9500 h 10000"/>
                  <a:gd name="connsiteX3" fmla="*/ 2134 w 10000"/>
                  <a:gd name="connsiteY3" fmla="*/ 9422 h 10000"/>
                  <a:gd name="connsiteX4" fmla="*/ 1700 w 10000"/>
                  <a:gd name="connsiteY4" fmla="*/ 9344 h 10000"/>
                  <a:gd name="connsiteX5" fmla="*/ 1356 w 10000"/>
                  <a:gd name="connsiteY5" fmla="*/ 9344 h 10000"/>
                  <a:gd name="connsiteX6" fmla="*/ 1193 w 10000"/>
                  <a:gd name="connsiteY6" fmla="*/ 9180 h 10000"/>
                  <a:gd name="connsiteX7" fmla="*/ 1356 w 10000"/>
                  <a:gd name="connsiteY7" fmla="*/ 8556 h 10000"/>
                  <a:gd name="connsiteX8" fmla="*/ 1284 w 10000"/>
                  <a:gd name="connsiteY8" fmla="*/ 8189 h 10000"/>
                  <a:gd name="connsiteX9" fmla="*/ 1013 w 10000"/>
                  <a:gd name="connsiteY9" fmla="*/ 8025 h 10000"/>
                  <a:gd name="connsiteX10" fmla="*/ 850 w 10000"/>
                  <a:gd name="connsiteY10" fmla="*/ 7947 h 10000"/>
                  <a:gd name="connsiteX11" fmla="*/ 940 w 10000"/>
                  <a:gd name="connsiteY11" fmla="*/ 7611 h 10000"/>
                  <a:gd name="connsiteX12" fmla="*/ 850 w 10000"/>
                  <a:gd name="connsiteY12" fmla="*/ 7416 h 10000"/>
                  <a:gd name="connsiteX13" fmla="*/ 687 w 10000"/>
                  <a:gd name="connsiteY13" fmla="*/ 7260 h 10000"/>
                  <a:gd name="connsiteX14" fmla="*/ 940 w 10000"/>
                  <a:gd name="connsiteY14" fmla="*/ 6893 h 10000"/>
                  <a:gd name="connsiteX15" fmla="*/ 1193 w 10000"/>
                  <a:gd name="connsiteY15" fmla="*/ 6893 h 10000"/>
                  <a:gd name="connsiteX16" fmla="*/ 1356 w 10000"/>
                  <a:gd name="connsiteY16" fmla="*/ 6815 h 10000"/>
                  <a:gd name="connsiteX17" fmla="*/ 1447 w 10000"/>
                  <a:gd name="connsiteY17" fmla="*/ 6557 h 10000"/>
                  <a:gd name="connsiteX18" fmla="*/ 1953 w 10000"/>
                  <a:gd name="connsiteY18" fmla="*/ 6362 h 10000"/>
                  <a:gd name="connsiteX19" fmla="*/ 2459 w 10000"/>
                  <a:gd name="connsiteY19" fmla="*/ 6151 h 10000"/>
                  <a:gd name="connsiteX20" fmla="*/ 2550 w 10000"/>
                  <a:gd name="connsiteY20" fmla="*/ 5902 h 10000"/>
                  <a:gd name="connsiteX21" fmla="*/ 3146 w 10000"/>
                  <a:gd name="connsiteY21" fmla="*/ 5660 h 10000"/>
                  <a:gd name="connsiteX22" fmla="*/ 3725 w 10000"/>
                  <a:gd name="connsiteY22" fmla="*/ 5371 h 10000"/>
                  <a:gd name="connsiteX23" fmla="*/ 3635 w 10000"/>
                  <a:gd name="connsiteY23" fmla="*/ 5246 h 10000"/>
                  <a:gd name="connsiteX24" fmla="*/ 3635 w 10000"/>
                  <a:gd name="connsiteY24" fmla="*/ 5082 h 10000"/>
                  <a:gd name="connsiteX25" fmla="*/ 4069 w 10000"/>
                  <a:gd name="connsiteY25" fmla="*/ 4965 h 10000"/>
                  <a:gd name="connsiteX26" fmla="*/ 4231 w 10000"/>
                  <a:gd name="connsiteY26" fmla="*/ 4918 h 10000"/>
                  <a:gd name="connsiteX27" fmla="*/ 4141 w 10000"/>
                  <a:gd name="connsiteY27" fmla="*/ 4676 h 10000"/>
                  <a:gd name="connsiteX28" fmla="*/ 4141 w 10000"/>
                  <a:gd name="connsiteY28" fmla="*/ 4426 h 10000"/>
                  <a:gd name="connsiteX29" fmla="*/ 3978 w 10000"/>
                  <a:gd name="connsiteY29" fmla="*/ 4387 h 10000"/>
                  <a:gd name="connsiteX30" fmla="*/ 3725 w 10000"/>
                  <a:gd name="connsiteY30" fmla="*/ 4426 h 10000"/>
                  <a:gd name="connsiteX31" fmla="*/ 3490 w 10000"/>
                  <a:gd name="connsiteY31" fmla="*/ 4262 h 10000"/>
                  <a:gd name="connsiteX32" fmla="*/ 3237 w 10000"/>
                  <a:gd name="connsiteY32" fmla="*/ 3810 h 10000"/>
                  <a:gd name="connsiteX33" fmla="*/ 2731 w 10000"/>
                  <a:gd name="connsiteY33" fmla="*/ 3474 h 10000"/>
                  <a:gd name="connsiteX34" fmla="*/ 2893 w 10000"/>
                  <a:gd name="connsiteY34" fmla="*/ 3021 h 10000"/>
                  <a:gd name="connsiteX35" fmla="*/ 2803 w 10000"/>
                  <a:gd name="connsiteY35" fmla="*/ 2818 h 10000"/>
                  <a:gd name="connsiteX36" fmla="*/ 2206 w 10000"/>
                  <a:gd name="connsiteY36" fmla="*/ 2529 h 10000"/>
                  <a:gd name="connsiteX37" fmla="*/ 2459 w 10000"/>
                  <a:gd name="connsiteY37" fmla="*/ 2162 h 10000"/>
                  <a:gd name="connsiteX38" fmla="*/ 2297 w 10000"/>
                  <a:gd name="connsiteY38" fmla="*/ 1952 h 10000"/>
                  <a:gd name="connsiteX39" fmla="*/ 1863 w 10000"/>
                  <a:gd name="connsiteY39" fmla="*/ 1741 h 10000"/>
                  <a:gd name="connsiteX40" fmla="*/ 1609 w 10000"/>
                  <a:gd name="connsiteY40" fmla="*/ 1874 h 10000"/>
                  <a:gd name="connsiteX41" fmla="*/ 687 w 10000"/>
                  <a:gd name="connsiteY41" fmla="*/ 1421 h 10000"/>
                  <a:gd name="connsiteX42" fmla="*/ 434 w 10000"/>
                  <a:gd name="connsiteY42" fmla="*/ 1249 h 10000"/>
                  <a:gd name="connsiteX43" fmla="*/ 253 w 10000"/>
                  <a:gd name="connsiteY43" fmla="*/ 1085 h 10000"/>
                  <a:gd name="connsiteX44" fmla="*/ 0 w 10000"/>
                  <a:gd name="connsiteY44" fmla="*/ 1023 h 10000"/>
                  <a:gd name="connsiteX45" fmla="*/ 344 w 10000"/>
                  <a:gd name="connsiteY45" fmla="*/ 867 h 10000"/>
                  <a:gd name="connsiteX46" fmla="*/ 850 w 10000"/>
                  <a:gd name="connsiteY46" fmla="*/ 867 h 10000"/>
                  <a:gd name="connsiteX47" fmla="*/ 1103 w 10000"/>
                  <a:gd name="connsiteY47" fmla="*/ 1054 h 10000"/>
                  <a:gd name="connsiteX48" fmla="*/ 1790 w 10000"/>
                  <a:gd name="connsiteY48" fmla="*/ 1421 h 10000"/>
                  <a:gd name="connsiteX49" fmla="*/ 2459 w 10000"/>
                  <a:gd name="connsiteY49" fmla="*/ 1210 h 10000"/>
                  <a:gd name="connsiteX50" fmla="*/ 2893 w 10000"/>
                  <a:gd name="connsiteY50" fmla="*/ 1249 h 10000"/>
                  <a:gd name="connsiteX51" fmla="*/ 2984 w 10000"/>
                  <a:gd name="connsiteY51" fmla="*/ 1374 h 10000"/>
                  <a:gd name="connsiteX52" fmla="*/ 3490 w 10000"/>
                  <a:gd name="connsiteY52" fmla="*/ 1421 h 10000"/>
                  <a:gd name="connsiteX53" fmla="*/ 3635 w 10000"/>
                  <a:gd name="connsiteY53" fmla="*/ 1085 h 10000"/>
                  <a:gd name="connsiteX54" fmla="*/ 3888 w 10000"/>
                  <a:gd name="connsiteY54" fmla="*/ 984 h 10000"/>
                  <a:gd name="connsiteX55" fmla="*/ 4069 w 10000"/>
                  <a:gd name="connsiteY55" fmla="*/ 867 h 10000"/>
                  <a:gd name="connsiteX56" fmla="*/ 4069 w 10000"/>
                  <a:gd name="connsiteY56" fmla="*/ 742 h 10000"/>
                  <a:gd name="connsiteX57" fmla="*/ 3978 w 10000"/>
                  <a:gd name="connsiteY57" fmla="*/ 406 h 10000"/>
                  <a:gd name="connsiteX58" fmla="*/ 4412 w 10000"/>
                  <a:gd name="connsiteY58" fmla="*/ 211 h 10000"/>
                  <a:gd name="connsiteX59" fmla="*/ 4665 w 10000"/>
                  <a:gd name="connsiteY59" fmla="*/ 211 h 10000"/>
                  <a:gd name="connsiteX60" fmla="*/ 5081 w 10000"/>
                  <a:gd name="connsiteY60" fmla="*/ 0 h 10000"/>
                  <a:gd name="connsiteX61" fmla="*/ 5588 w 10000"/>
                  <a:gd name="connsiteY61" fmla="*/ 289 h 10000"/>
                  <a:gd name="connsiteX62" fmla="*/ 5769 w 10000"/>
                  <a:gd name="connsiteY62" fmla="*/ 406 h 10000"/>
                  <a:gd name="connsiteX63" fmla="*/ 5588 w 10000"/>
                  <a:gd name="connsiteY63" fmla="*/ 656 h 10000"/>
                  <a:gd name="connsiteX64" fmla="*/ 5572 w 10000"/>
                  <a:gd name="connsiteY64" fmla="*/ 577 h 10000"/>
                  <a:gd name="connsiteX65" fmla="*/ 5741 w 10000"/>
                  <a:gd name="connsiteY65" fmla="*/ 659 h 10000"/>
                  <a:gd name="connsiteX66" fmla="*/ 5604 w 10000"/>
                  <a:gd name="connsiteY66" fmla="*/ 755 h 10000"/>
                  <a:gd name="connsiteX67" fmla="*/ 5678 w 10000"/>
                  <a:gd name="connsiteY67" fmla="*/ 945 h 10000"/>
                  <a:gd name="connsiteX68" fmla="*/ 5678 w 10000"/>
                  <a:gd name="connsiteY68" fmla="*/ 695 h 10000"/>
                  <a:gd name="connsiteX69" fmla="*/ 5769 w 10000"/>
                  <a:gd name="connsiteY69" fmla="*/ 328 h 10000"/>
                  <a:gd name="connsiteX70" fmla="*/ 6022 w 10000"/>
                  <a:gd name="connsiteY70" fmla="*/ 242 h 10000"/>
                  <a:gd name="connsiteX71" fmla="*/ 6275 w 10000"/>
                  <a:gd name="connsiteY71" fmla="*/ 695 h 10000"/>
                  <a:gd name="connsiteX72" fmla="*/ 6275 w 10000"/>
                  <a:gd name="connsiteY72" fmla="*/ 1085 h 10000"/>
                  <a:gd name="connsiteX73" fmla="*/ 6112 w 10000"/>
                  <a:gd name="connsiteY73" fmla="*/ 1249 h 10000"/>
                  <a:gd name="connsiteX74" fmla="*/ 6112 w 10000"/>
                  <a:gd name="connsiteY74" fmla="*/ 1499 h 10000"/>
                  <a:gd name="connsiteX75" fmla="*/ 6781 w 10000"/>
                  <a:gd name="connsiteY75" fmla="*/ 1741 h 10000"/>
                  <a:gd name="connsiteX76" fmla="*/ 6781 w 10000"/>
                  <a:gd name="connsiteY76" fmla="*/ 1905 h 10000"/>
                  <a:gd name="connsiteX77" fmla="*/ 7215 w 10000"/>
                  <a:gd name="connsiteY77" fmla="*/ 2194 h 10000"/>
                  <a:gd name="connsiteX78" fmla="*/ 7378 w 10000"/>
                  <a:gd name="connsiteY78" fmla="*/ 2404 h 10000"/>
                  <a:gd name="connsiteX79" fmla="*/ 7288 w 10000"/>
                  <a:gd name="connsiteY79" fmla="*/ 2896 h 10000"/>
                  <a:gd name="connsiteX80" fmla="*/ 7559 w 10000"/>
                  <a:gd name="connsiteY80" fmla="*/ 3443 h 10000"/>
                  <a:gd name="connsiteX81" fmla="*/ 7975 w 10000"/>
                  <a:gd name="connsiteY81" fmla="*/ 3888 h 10000"/>
                  <a:gd name="connsiteX82" fmla="*/ 7884 w 10000"/>
                  <a:gd name="connsiteY82" fmla="*/ 4551 h 10000"/>
                  <a:gd name="connsiteX83" fmla="*/ 8228 w 10000"/>
                  <a:gd name="connsiteY83" fmla="*/ 4965 h 10000"/>
                  <a:gd name="connsiteX84" fmla="*/ 8409 w 10000"/>
                  <a:gd name="connsiteY84" fmla="*/ 5129 h 10000"/>
                  <a:gd name="connsiteX85" fmla="*/ 8571 w 10000"/>
                  <a:gd name="connsiteY85" fmla="*/ 5738 h 10000"/>
                  <a:gd name="connsiteX86" fmla="*/ 8734 w 10000"/>
                  <a:gd name="connsiteY86" fmla="*/ 5995 h 10000"/>
                  <a:gd name="connsiteX87" fmla="*/ 9566 w 10000"/>
                  <a:gd name="connsiteY87" fmla="*/ 6269 h 10000"/>
                  <a:gd name="connsiteX88" fmla="*/ 10000 w 10000"/>
                  <a:gd name="connsiteY88" fmla="*/ 6526 h 10000"/>
                  <a:gd name="connsiteX89" fmla="*/ 10000 w 10000"/>
                  <a:gd name="connsiteY89" fmla="*/ 6690 h 10000"/>
                  <a:gd name="connsiteX90" fmla="*/ 9656 w 10000"/>
                  <a:gd name="connsiteY90" fmla="*/ 7447 h 10000"/>
                  <a:gd name="connsiteX91" fmla="*/ 9512 w 10000"/>
                  <a:gd name="connsiteY91" fmla="*/ 7525 h 10000"/>
                  <a:gd name="connsiteX92" fmla="*/ 9656 w 10000"/>
                  <a:gd name="connsiteY92" fmla="*/ 7689 h 10000"/>
                  <a:gd name="connsiteX93" fmla="*/ 9259 w 10000"/>
                  <a:gd name="connsiteY93" fmla="*/ 7978 h 10000"/>
                  <a:gd name="connsiteX94" fmla="*/ 8734 w 10000"/>
                  <a:gd name="connsiteY94" fmla="*/ 8103 h 10000"/>
                  <a:gd name="connsiteX95" fmla="*/ 8734 w 10000"/>
                  <a:gd name="connsiteY95" fmla="*/ 8236 h 10000"/>
                  <a:gd name="connsiteX96" fmla="*/ 7975 w 10000"/>
                  <a:gd name="connsiteY96" fmla="*/ 8728 h 10000"/>
                  <a:gd name="connsiteX97" fmla="*/ 7468 w 10000"/>
                  <a:gd name="connsiteY97" fmla="*/ 8845 h 10000"/>
                  <a:gd name="connsiteX98" fmla="*/ 7378 w 10000"/>
                  <a:gd name="connsiteY98" fmla="*/ 9133 h 10000"/>
                  <a:gd name="connsiteX99" fmla="*/ 6872 w 10000"/>
                  <a:gd name="connsiteY99" fmla="*/ 9133 h 10000"/>
                  <a:gd name="connsiteX100" fmla="*/ 6618 w 10000"/>
                  <a:gd name="connsiteY100" fmla="*/ 9227 h 10000"/>
                  <a:gd name="connsiteX101" fmla="*/ 6112 w 10000"/>
                  <a:gd name="connsiteY101" fmla="*/ 9305 h 10000"/>
                  <a:gd name="connsiteX102" fmla="*/ 5425 w 10000"/>
                  <a:gd name="connsiteY102" fmla="*/ 9258 h 10000"/>
                  <a:gd name="connsiteX103" fmla="*/ 4919 w 10000"/>
                  <a:gd name="connsiteY103" fmla="*/ 9469 h 10000"/>
                  <a:gd name="connsiteX104" fmla="*/ 4322 w 10000"/>
                  <a:gd name="connsiteY104" fmla="*/ 9633 h 10000"/>
                  <a:gd name="connsiteX105" fmla="*/ 3725 w 10000"/>
                  <a:gd name="connsiteY105" fmla="*/ 9711 h 10000"/>
                  <a:gd name="connsiteX106" fmla="*/ 3291 w 10000"/>
                  <a:gd name="connsiteY106" fmla="*/ 9883 h 10000"/>
                  <a:gd name="connsiteX107" fmla="*/ 2803 w 10000"/>
                  <a:gd name="connsiteY107" fmla="*/ 10000 h 10000"/>
                  <a:gd name="connsiteX0" fmla="*/ 2803 w 10000"/>
                  <a:gd name="connsiteY0" fmla="*/ 10000 h 10000"/>
                  <a:gd name="connsiteX1" fmla="*/ 2731 w 10000"/>
                  <a:gd name="connsiteY1" fmla="*/ 9672 h 10000"/>
                  <a:gd name="connsiteX2" fmla="*/ 2387 w 10000"/>
                  <a:gd name="connsiteY2" fmla="*/ 9500 h 10000"/>
                  <a:gd name="connsiteX3" fmla="*/ 2134 w 10000"/>
                  <a:gd name="connsiteY3" fmla="*/ 9422 h 10000"/>
                  <a:gd name="connsiteX4" fmla="*/ 1700 w 10000"/>
                  <a:gd name="connsiteY4" fmla="*/ 9344 h 10000"/>
                  <a:gd name="connsiteX5" fmla="*/ 1356 w 10000"/>
                  <a:gd name="connsiteY5" fmla="*/ 9344 h 10000"/>
                  <a:gd name="connsiteX6" fmla="*/ 1193 w 10000"/>
                  <a:gd name="connsiteY6" fmla="*/ 9180 h 10000"/>
                  <a:gd name="connsiteX7" fmla="*/ 1356 w 10000"/>
                  <a:gd name="connsiteY7" fmla="*/ 8556 h 10000"/>
                  <a:gd name="connsiteX8" fmla="*/ 1284 w 10000"/>
                  <a:gd name="connsiteY8" fmla="*/ 8189 h 10000"/>
                  <a:gd name="connsiteX9" fmla="*/ 1013 w 10000"/>
                  <a:gd name="connsiteY9" fmla="*/ 8025 h 10000"/>
                  <a:gd name="connsiteX10" fmla="*/ 850 w 10000"/>
                  <a:gd name="connsiteY10" fmla="*/ 7947 h 10000"/>
                  <a:gd name="connsiteX11" fmla="*/ 940 w 10000"/>
                  <a:gd name="connsiteY11" fmla="*/ 7611 h 10000"/>
                  <a:gd name="connsiteX12" fmla="*/ 850 w 10000"/>
                  <a:gd name="connsiteY12" fmla="*/ 7416 h 10000"/>
                  <a:gd name="connsiteX13" fmla="*/ 687 w 10000"/>
                  <a:gd name="connsiteY13" fmla="*/ 7260 h 10000"/>
                  <a:gd name="connsiteX14" fmla="*/ 940 w 10000"/>
                  <a:gd name="connsiteY14" fmla="*/ 6893 h 10000"/>
                  <a:gd name="connsiteX15" fmla="*/ 1193 w 10000"/>
                  <a:gd name="connsiteY15" fmla="*/ 6893 h 10000"/>
                  <a:gd name="connsiteX16" fmla="*/ 1356 w 10000"/>
                  <a:gd name="connsiteY16" fmla="*/ 6815 h 10000"/>
                  <a:gd name="connsiteX17" fmla="*/ 1447 w 10000"/>
                  <a:gd name="connsiteY17" fmla="*/ 6557 h 10000"/>
                  <a:gd name="connsiteX18" fmla="*/ 1953 w 10000"/>
                  <a:gd name="connsiteY18" fmla="*/ 6362 h 10000"/>
                  <a:gd name="connsiteX19" fmla="*/ 2459 w 10000"/>
                  <a:gd name="connsiteY19" fmla="*/ 6151 h 10000"/>
                  <a:gd name="connsiteX20" fmla="*/ 2550 w 10000"/>
                  <a:gd name="connsiteY20" fmla="*/ 5902 h 10000"/>
                  <a:gd name="connsiteX21" fmla="*/ 3146 w 10000"/>
                  <a:gd name="connsiteY21" fmla="*/ 5660 h 10000"/>
                  <a:gd name="connsiteX22" fmla="*/ 3725 w 10000"/>
                  <a:gd name="connsiteY22" fmla="*/ 5371 h 10000"/>
                  <a:gd name="connsiteX23" fmla="*/ 3635 w 10000"/>
                  <a:gd name="connsiteY23" fmla="*/ 5246 h 10000"/>
                  <a:gd name="connsiteX24" fmla="*/ 3635 w 10000"/>
                  <a:gd name="connsiteY24" fmla="*/ 5082 h 10000"/>
                  <a:gd name="connsiteX25" fmla="*/ 4069 w 10000"/>
                  <a:gd name="connsiteY25" fmla="*/ 4965 h 10000"/>
                  <a:gd name="connsiteX26" fmla="*/ 4231 w 10000"/>
                  <a:gd name="connsiteY26" fmla="*/ 4918 h 10000"/>
                  <a:gd name="connsiteX27" fmla="*/ 4141 w 10000"/>
                  <a:gd name="connsiteY27" fmla="*/ 4676 h 10000"/>
                  <a:gd name="connsiteX28" fmla="*/ 4141 w 10000"/>
                  <a:gd name="connsiteY28" fmla="*/ 4426 h 10000"/>
                  <a:gd name="connsiteX29" fmla="*/ 3978 w 10000"/>
                  <a:gd name="connsiteY29" fmla="*/ 4387 h 10000"/>
                  <a:gd name="connsiteX30" fmla="*/ 3725 w 10000"/>
                  <a:gd name="connsiteY30" fmla="*/ 4426 h 10000"/>
                  <a:gd name="connsiteX31" fmla="*/ 3490 w 10000"/>
                  <a:gd name="connsiteY31" fmla="*/ 4262 h 10000"/>
                  <a:gd name="connsiteX32" fmla="*/ 3237 w 10000"/>
                  <a:gd name="connsiteY32" fmla="*/ 3810 h 10000"/>
                  <a:gd name="connsiteX33" fmla="*/ 2731 w 10000"/>
                  <a:gd name="connsiteY33" fmla="*/ 3474 h 10000"/>
                  <a:gd name="connsiteX34" fmla="*/ 2893 w 10000"/>
                  <a:gd name="connsiteY34" fmla="*/ 3021 h 10000"/>
                  <a:gd name="connsiteX35" fmla="*/ 2803 w 10000"/>
                  <a:gd name="connsiteY35" fmla="*/ 2818 h 10000"/>
                  <a:gd name="connsiteX36" fmla="*/ 2206 w 10000"/>
                  <a:gd name="connsiteY36" fmla="*/ 2529 h 10000"/>
                  <a:gd name="connsiteX37" fmla="*/ 2459 w 10000"/>
                  <a:gd name="connsiteY37" fmla="*/ 2162 h 10000"/>
                  <a:gd name="connsiteX38" fmla="*/ 2297 w 10000"/>
                  <a:gd name="connsiteY38" fmla="*/ 1952 h 10000"/>
                  <a:gd name="connsiteX39" fmla="*/ 1863 w 10000"/>
                  <a:gd name="connsiteY39" fmla="*/ 1741 h 10000"/>
                  <a:gd name="connsiteX40" fmla="*/ 1609 w 10000"/>
                  <a:gd name="connsiteY40" fmla="*/ 1874 h 10000"/>
                  <a:gd name="connsiteX41" fmla="*/ 687 w 10000"/>
                  <a:gd name="connsiteY41" fmla="*/ 1421 h 10000"/>
                  <a:gd name="connsiteX42" fmla="*/ 434 w 10000"/>
                  <a:gd name="connsiteY42" fmla="*/ 1249 h 10000"/>
                  <a:gd name="connsiteX43" fmla="*/ 253 w 10000"/>
                  <a:gd name="connsiteY43" fmla="*/ 1085 h 10000"/>
                  <a:gd name="connsiteX44" fmla="*/ 0 w 10000"/>
                  <a:gd name="connsiteY44" fmla="*/ 1023 h 10000"/>
                  <a:gd name="connsiteX45" fmla="*/ 344 w 10000"/>
                  <a:gd name="connsiteY45" fmla="*/ 867 h 10000"/>
                  <a:gd name="connsiteX46" fmla="*/ 850 w 10000"/>
                  <a:gd name="connsiteY46" fmla="*/ 867 h 10000"/>
                  <a:gd name="connsiteX47" fmla="*/ 1103 w 10000"/>
                  <a:gd name="connsiteY47" fmla="*/ 1054 h 10000"/>
                  <a:gd name="connsiteX48" fmla="*/ 1790 w 10000"/>
                  <a:gd name="connsiteY48" fmla="*/ 1421 h 10000"/>
                  <a:gd name="connsiteX49" fmla="*/ 2459 w 10000"/>
                  <a:gd name="connsiteY49" fmla="*/ 1210 h 10000"/>
                  <a:gd name="connsiteX50" fmla="*/ 2893 w 10000"/>
                  <a:gd name="connsiteY50" fmla="*/ 1249 h 10000"/>
                  <a:gd name="connsiteX51" fmla="*/ 2984 w 10000"/>
                  <a:gd name="connsiteY51" fmla="*/ 1374 h 10000"/>
                  <a:gd name="connsiteX52" fmla="*/ 3490 w 10000"/>
                  <a:gd name="connsiteY52" fmla="*/ 1421 h 10000"/>
                  <a:gd name="connsiteX53" fmla="*/ 3635 w 10000"/>
                  <a:gd name="connsiteY53" fmla="*/ 1085 h 10000"/>
                  <a:gd name="connsiteX54" fmla="*/ 3888 w 10000"/>
                  <a:gd name="connsiteY54" fmla="*/ 984 h 10000"/>
                  <a:gd name="connsiteX55" fmla="*/ 4069 w 10000"/>
                  <a:gd name="connsiteY55" fmla="*/ 867 h 10000"/>
                  <a:gd name="connsiteX56" fmla="*/ 4069 w 10000"/>
                  <a:gd name="connsiteY56" fmla="*/ 742 h 10000"/>
                  <a:gd name="connsiteX57" fmla="*/ 3978 w 10000"/>
                  <a:gd name="connsiteY57" fmla="*/ 406 h 10000"/>
                  <a:gd name="connsiteX58" fmla="*/ 4412 w 10000"/>
                  <a:gd name="connsiteY58" fmla="*/ 211 h 10000"/>
                  <a:gd name="connsiteX59" fmla="*/ 4665 w 10000"/>
                  <a:gd name="connsiteY59" fmla="*/ 211 h 10000"/>
                  <a:gd name="connsiteX60" fmla="*/ 5081 w 10000"/>
                  <a:gd name="connsiteY60" fmla="*/ 0 h 10000"/>
                  <a:gd name="connsiteX61" fmla="*/ 5588 w 10000"/>
                  <a:gd name="connsiteY61" fmla="*/ 289 h 10000"/>
                  <a:gd name="connsiteX62" fmla="*/ 5769 w 10000"/>
                  <a:gd name="connsiteY62" fmla="*/ 406 h 10000"/>
                  <a:gd name="connsiteX63" fmla="*/ 5588 w 10000"/>
                  <a:gd name="connsiteY63" fmla="*/ 656 h 10000"/>
                  <a:gd name="connsiteX64" fmla="*/ 5572 w 10000"/>
                  <a:gd name="connsiteY64" fmla="*/ 577 h 10000"/>
                  <a:gd name="connsiteX65" fmla="*/ 5741 w 10000"/>
                  <a:gd name="connsiteY65" fmla="*/ 659 h 10000"/>
                  <a:gd name="connsiteX66" fmla="*/ 5604 w 10000"/>
                  <a:gd name="connsiteY66" fmla="*/ 755 h 10000"/>
                  <a:gd name="connsiteX67" fmla="*/ 5678 w 10000"/>
                  <a:gd name="connsiteY67" fmla="*/ 945 h 10000"/>
                  <a:gd name="connsiteX68" fmla="*/ 5792 w 10000"/>
                  <a:gd name="connsiteY68" fmla="*/ 574 h 10000"/>
                  <a:gd name="connsiteX69" fmla="*/ 5769 w 10000"/>
                  <a:gd name="connsiteY69" fmla="*/ 328 h 10000"/>
                  <a:gd name="connsiteX70" fmla="*/ 6022 w 10000"/>
                  <a:gd name="connsiteY70" fmla="*/ 242 h 10000"/>
                  <a:gd name="connsiteX71" fmla="*/ 6275 w 10000"/>
                  <a:gd name="connsiteY71" fmla="*/ 695 h 10000"/>
                  <a:gd name="connsiteX72" fmla="*/ 6275 w 10000"/>
                  <a:gd name="connsiteY72" fmla="*/ 1085 h 10000"/>
                  <a:gd name="connsiteX73" fmla="*/ 6112 w 10000"/>
                  <a:gd name="connsiteY73" fmla="*/ 1249 h 10000"/>
                  <a:gd name="connsiteX74" fmla="*/ 6112 w 10000"/>
                  <a:gd name="connsiteY74" fmla="*/ 1499 h 10000"/>
                  <a:gd name="connsiteX75" fmla="*/ 6781 w 10000"/>
                  <a:gd name="connsiteY75" fmla="*/ 1741 h 10000"/>
                  <a:gd name="connsiteX76" fmla="*/ 6781 w 10000"/>
                  <a:gd name="connsiteY76" fmla="*/ 1905 h 10000"/>
                  <a:gd name="connsiteX77" fmla="*/ 7215 w 10000"/>
                  <a:gd name="connsiteY77" fmla="*/ 2194 h 10000"/>
                  <a:gd name="connsiteX78" fmla="*/ 7378 w 10000"/>
                  <a:gd name="connsiteY78" fmla="*/ 2404 h 10000"/>
                  <a:gd name="connsiteX79" fmla="*/ 7288 w 10000"/>
                  <a:gd name="connsiteY79" fmla="*/ 2896 h 10000"/>
                  <a:gd name="connsiteX80" fmla="*/ 7559 w 10000"/>
                  <a:gd name="connsiteY80" fmla="*/ 3443 h 10000"/>
                  <a:gd name="connsiteX81" fmla="*/ 7975 w 10000"/>
                  <a:gd name="connsiteY81" fmla="*/ 3888 h 10000"/>
                  <a:gd name="connsiteX82" fmla="*/ 7884 w 10000"/>
                  <a:gd name="connsiteY82" fmla="*/ 4551 h 10000"/>
                  <a:gd name="connsiteX83" fmla="*/ 8228 w 10000"/>
                  <a:gd name="connsiteY83" fmla="*/ 4965 h 10000"/>
                  <a:gd name="connsiteX84" fmla="*/ 8409 w 10000"/>
                  <a:gd name="connsiteY84" fmla="*/ 5129 h 10000"/>
                  <a:gd name="connsiteX85" fmla="*/ 8571 w 10000"/>
                  <a:gd name="connsiteY85" fmla="*/ 5738 h 10000"/>
                  <a:gd name="connsiteX86" fmla="*/ 8734 w 10000"/>
                  <a:gd name="connsiteY86" fmla="*/ 5995 h 10000"/>
                  <a:gd name="connsiteX87" fmla="*/ 9566 w 10000"/>
                  <a:gd name="connsiteY87" fmla="*/ 6269 h 10000"/>
                  <a:gd name="connsiteX88" fmla="*/ 10000 w 10000"/>
                  <a:gd name="connsiteY88" fmla="*/ 6526 h 10000"/>
                  <a:gd name="connsiteX89" fmla="*/ 10000 w 10000"/>
                  <a:gd name="connsiteY89" fmla="*/ 6690 h 10000"/>
                  <a:gd name="connsiteX90" fmla="*/ 9656 w 10000"/>
                  <a:gd name="connsiteY90" fmla="*/ 7447 h 10000"/>
                  <a:gd name="connsiteX91" fmla="*/ 9512 w 10000"/>
                  <a:gd name="connsiteY91" fmla="*/ 7525 h 10000"/>
                  <a:gd name="connsiteX92" fmla="*/ 9656 w 10000"/>
                  <a:gd name="connsiteY92" fmla="*/ 7689 h 10000"/>
                  <a:gd name="connsiteX93" fmla="*/ 9259 w 10000"/>
                  <a:gd name="connsiteY93" fmla="*/ 7978 h 10000"/>
                  <a:gd name="connsiteX94" fmla="*/ 8734 w 10000"/>
                  <a:gd name="connsiteY94" fmla="*/ 8103 h 10000"/>
                  <a:gd name="connsiteX95" fmla="*/ 8734 w 10000"/>
                  <a:gd name="connsiteY95" fmla="*/ 8236 h 10000"/>
                  <a:gd name="connsiteX96" fmla="*/ 7975 w 10000"/>
                  <a:gd name="connsiteY96" fmla="*/ 8728 h 10000"/>
                  <a:gd name="connsiteX97" fmla="*/ 7468 w 10000"/>
                  <a:gd name="connsiteY97" fmla="*/ 8845 h 10000"/>
                  <a:gd name="connsiteX98" fmla="*/ 7378 w 10000"/>
                  <a:gd name="connsiteY98" fmla="*/ 9133 h 10000"/>
                  <a:gd name="connsiteX99" fmla="*/ 6872 w 10000"/>
                  <a:gd name="connsiteY99" fmla="*/ 9133 h 10000"/>
                  <a:gd name="connsiteX100" fmla="*/ 6618 w 10000"/>
                  <a:gd name="connsiteY100" fmla="*/ 9227 h 10000"/>
                  <a:gd name="connsiteX101" fmla="*/ 6112 w 10000"/>
                  <a:gd name="connsiteY101" fmla="*/ 9305 h 10000"/>
                  <a:gd name="connsiteX102" fmla="*/ 5425 w 10000"/>
                  <a:gd name="connsiteY102" fmla="*/ 9258 h 10000"/>
                  <a:gd name="connsiteX103" fmla="*/ 4919 w 10000"/>
                  <a:gd name="connsiteY103" fmla="*/ 9469 h 10000"/>
                  <a:gd name="connsiteX104" fmla="*/ 4322 w 10000"/>
                  <a:gd name="connsiteY104" fmla="*/ 9633 h 10000"/>
                  <a:gd name="connsiteX105" fmla="*/ 3725 w 10000"/>
                  <a:gd name="connsiteY105" fmla="*/ 9711 h 10000"/>
                  <a:gd name="connsiteX106" fmla="*/ 3291 w 10000"/>
                  <a:gd name="connsiteY106" fmla="*/ 9883 h 10000"/>
                  <a:gd name="connsiteX107" fmla="*/ 2803 w 10000"/>
                  <a:gd name="connsiteY107"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0000" h="10000">
                    <a:moveTo>
                      <a:pt x="2803" y="10000"/>
                    </a:moveTo>
                    <a:cubicBezTo>
                      <a:pt x="2779" y="9891"/>
                      <a:pt x="2755" y="9781"/>
                      <a:pt x="2731" y="9672"/>
                    </a:cubicBezTo>
                    <a:lnTo>
                      <a:pt x="2387" y="9500"/>
                    </a:lnTo>
                    <a:lnTo>
                      <a:pt x="2134" y="9422"/>
                    </a:lnTo>
                    <a:lnTo>
                      <a:pt x="1700" y="9344"/>
                    </a:lnTo>
                    <a:lnTo>
                      <a:pt x="1356" y="9344"/>
                    </a:lnTo>
                    <a:cubicBezTo>
                      <a:pt x="1302" y="9289"/>
                      <a:pt x="1247" y="9235"/>
                      <a:pt x="1193" y="9180"/>
                    </a:cubicBezTo>
                    <a:cubicBezTo>
                      <a:pt x="1247" y="8972"/>
                      <a:pt x="1302" y="8764"/>
                      <a:pt x="1356" y="8556"/>
                    </a:cubicBezTo>
                    <a:cubicBezTo>
                      <a:pt x="1332" y="8434"/>
                      <a:pt x="1308" y="8311"/>
                      <a:pt x="1284" y="8189"/>
                    </a:cubicBezTo>
                    <a:lnTo>
                      <a:pt x="1013" y="8025"/>
                    </a:lnTo>
                    <a:lnTo>
                      <a:pt x="850" y="7947"/>
                    </a:lnTo>
                    <a:lnTo>
                      <a:pt x="940" y="7611"/>
                    </a:lnTo>
                    <a:lnTo>
                      <a:pt x="850" y="7416"/>
                    </a:lnTo>
                    <a:lnTo>
                      <a:pt x="687" y="7260"/>
                    </a:lnTo>
                    <a:lnTo>
                      <a:pt x="940" y="6893"/>
                    </a:lnTo>
                    <a:lnTo>
                      <a:pt x="1193" y="6893"/>
                    </a:lnTo>
                    <a:lnTo>
                      <a:pt x="1356" y="6815"/>
                    </a:lnTo>
                    <a:cubicBezTo>
                      <a:pt x="1386" y="6729"/>
                      <a:pt x="1417" y="6643"/>
                      <a:pt x="1447" y="6557"/>
                    </a:cubicBezTo>
                    <a:lnTo>
                      <a:pt x="1953" y="6362"/>
                    </a:lnTo>
                    <a:lnTo>
                      <a:pt x="2459" y="6151"/>
                    </a:lnTo>
                    <a:cubicBezTo>
                      <a:pt x="2489" y="6068"/>
                      <a:pt x="2520" y="5985"/>
                      <a:pt x="2550" y="5902"/>
                    </a:cubicBezTo>
                    <a:lnTo>
                      <a:pt x="3146" y="5660"/>
                    </a:lnTo>
                    <a:lnTo>
                      <a:pt x="3725" y="5371"/>
                    </a:lnTo>
                    <a:cubicBezTo>
                      <a:pt x="3695" y="5329"/>
                      <a:pt x="3665" y="5288"/>
                      <a:pt x="3635" y="5246"/>
                    </a:cubicBezTo>
                    <a:lnTo>
                      <a:pt x="3635" y="5082"/>
                    </a:lnTo>
                    <a:lnTo>
                      <a:pt x="4069" y="4965"/>
                    </a:lnTo>
                    <a:lnTo>
                      <a:pt x="4231" y="4918"/>
                    </a:lnTo>
                    <a:cubicBezTo>
                      <a:pt x="4201" y="4837"/>
                      <a:pt x="4171" y="4757"/>
                      <a:pt x="4141" y="4676"/>
                    </a:cubicBezTo>
                    <a:lnTo>
                      <a:pt x="4141" y="4426"/>
                    </a:lnTo>
                    <a:lnTo>
                      <a:pt x="3978" y="4387"/>
                    </a:lnTo>
                    <a:lnTo>
                      <a:pt x="3725" y="4426"/>
                    </a:lnTo>
                    <a:lnTo>
                      <a:pt x="3490" y="4262"/>
                    </a:lnTo>
                    <a:cubicBezTo>
                      <a:pt x="3406" y="4111"/>
                      <a:pt x="3321" y="3961"/>
                      <a:pt x="3237" y="3810"/>
                    </a:cubicBezTo>
                    <a:lnTo>
                      <a:pt x="2731" y="3474"/>
                    </a:lnTo>
                    <a:lnTo>
                      <a:pt x="2893" y="3021"/>
                    </a:lnTo>
                    <a:cubicBezTo>
                      <a:pt x="2863" y="2953"/>
                      <a:pt x="2833" y="2886"/>
                      <a:pt x="2803" y="2818"/>
                    </a:cubicBezTo>
                    <a:lnTo>
                      <a:pt x="2206" y="2529"/>
                    </a:lnTo>
                    <a:lnTo>
                      <a:pt x="2459" y="2162"/>
                    </a:lnTo>
                    <a:lnTo>
                      <a:pt x="2297" y="1952"/>
                    </a:lnTo>
                    <a:lnTo>
                      <a:pt x="1863" y="1741"/>
                    </a:lnTo>
                    <a:lnTo>
                      <a:pt x="1609" y="1874"/>
                    </a:lnTo>
                    <a:lnTo>
                      <a:pt x="687" y="1421"/>
                    </a:lnTo>
                    <a:lnTo>
                      <a:pt x="434" y="1249"/>
                    </a:lnTo>
                    <a:cubicBezTo>
                      <a:pt x="374" y="1194"/>
                      <a:pt x="313" y="1140"/>
                      <a:pt x="253" y="1085"/>
                    </a:cubicBezTo>
                    <a:lnTo>
                      <a:pt x="0" y="1023"/>
                    </a:lnTo>
                    <a:lnTo>
                      <a:pt x="344" y="867"/>
                    </a:lnTo>
                    <a:lnTo>
                      <a:pt x="850" y="867"/>
                    </a:lnTo>
                    <a:lnTo>
                      <a:pt x="1103" y="1054"/>
                    </a:lnTo>
                    <a:lnTo>
                      <a:pt x="1790" y="1421"/>
                    </a:lnTo>
                    <a:lnTo>
                      <a:pt x="2459" y="1210"/>
                    </a:lnTo>
                    <a:lnTo>
                      <a:pt x="2893" y="1249"/>
                    </a:lnTo>
                    <a:cubicBezTo>
                      <a:pt x="2923" y="1291"/>
                      <a:pt x="2954" y="1332"/>
                      <a:pt x="2984" y="1374"/>
                    </a:cubicBezTo>
                    <a:lnTo>
                      <a:pt x="3490" y="1421"/>
                    </a:lnTo>
                    <a:cubicBezTo>
                      <a:pt x="3538" y="1309"/>
                      <a:pt x="3587" y="1197"/>
                      <a:pt x="3635" y="1085"/>
                    </a:cubicBezTo>
                    <a:lnTo>
                      <a:pt x="3888" y="984"/>
                    </a:lnTo>
                    <a:lnTo>
                      <a:pt x="4069" y="867"/>
                    </a:lnTo>
                    <a:lnTo>
                      <a:pt x="4069" y="742"/>
                    </a:lnTo>
                    <a:cubicBezTo>
                      <a:pt x="4039" y="630"/>
                      <a:pt x="4008" y="518"/>
                      <a:pt x="3978" y="406"/>
                    </a:cubicBezTo>
                    <a:lnTo>
                      <a:pt x="4412" y="211"/>
                    </a:lnTo>
                    <a:lnTo>
                      <a:pt x="4665" y="211"/>
                    </a:lnTo>
                    <a:lnTo>
                      <a:pt x="5081" y="0"/>
                    </a:lnTo>
                    <a:lnTo>
                      <a:pt x="5588" y="289"/>
                    </a:lnTo>
                    <a:lnTo>
                      <a:pt x="5769" y="406"/>
                    </a:lnTo>
                    <a:lnTo>
                      <a:pt x="5588" y="656"/>
                    </a:lnTo>
                    <a:cubicBezTo>
                      <a:pt x="5583" y="630"/>
                      <a:pt x="5577" y="603"/>
                      <a:pt x="5572" y="577"/>
                    </a:cubicBezTo>
                    <a:lnTo>
                      <a:pt x="5741" y="659"/>
                    </a:lnTo>
                    <a:lnTo>
                      <a:pt x="5604" y="755"/>
                    </a:lnTo>
                    <a:cubicBezTo>
                      <a:pt x="5629" y="818"/>
                      <a:pt x="5653" y="882"/>
                      <a:pt x="5678" y="945"/>
                    </a:cubicBezTo>
                    <a:lnTo>
                      <a:pt x="5792" y="574"/>
                    </a:lnTo>
                    <a:cubicBezTo>
                      <a:pt x="5822" y="452"/>
                      <a:pt x="5739" y="450"/>
                      <a:pt x="5769" y="328"/>
                    </a:cubicBezTo>
                    <a:lnTo>
                      <a:pt x="6022" y="242"/>
                    </a:lnTo>
                    <a:lnTo>
                      <a:pt x="6275" y="695"/>
                    </a:lnTo>
                    <a:lnTo>
                      <a:pt x="6275" y="1085"/>
                    </a:lnTo>
                    <a:cubicBezTo>
                      <a:pt x="6221" y="1140"/>
                      <a:pt x="6166" y="1194"/>
                      <a:pt x="6112" y="1249"/>
                    </a:cubicBezTo>
                    <a:lnTo>
                      <a:pt x="6112" y="1499"/>
                    </a:lnTo>
                    <a:lnTo>
                      <a:pt x="6781" y="1741"/>
                    </a:lnTo>
                    <a:lnTo>
                      <a:pt x="6781" y="1905"/>
                    </a:lnTo>
                    <a:lnTo>
                      <a:pt x="7215" y="2194"/>
                    </a:lnTo>
                    <a:lnTo>
                      <a:pt x="7378" y="2404"/>
                    </a:lnTo>
                    <a:lnTo>
                      <a:pt x="7288" y="2896"/>
                    </a:lnTo>
                    <a:lnTo>
                      <a:pt x="7559" y="3443"/>
                    </a:lnTo>
                    <a:lnTo>
                      <a:pt x="7975" y="3888"/>
                    </a:lnTo>
                    <a:cubicBezTo>
                      <a:pt x="7945" y="4109"/>
                      <a:pt x="7914" y="4330"/>
                      <a:pt x="7884" y="4551"/>
                    </a:cubicBezTo>
                    <a:lnTo>
                      <a:pt x="8228" y="4965"/>
                    </a:lnTo>
                    <a:cubicBezTo>
                      <a:pt x="8288" y="5020"/>
                      <a:pt x="8349" y="5074"/>
                      <a:pt x="8409" y="5129"/>
                    </a:cubicBezTo>
                    <a:lnTo>
                      <a:pt x="8571" y="5738"/>
                    </a:lnTo>
                    <a:cubicBezTo>
                      <a:pt x="8625" y="5824"/>
                      <a:pt x="8680" y="5909"/>
                      <a:pt x="8734" y="5995"/>
                    </a:cubicBezTo>
                    <a:lnTo>
                      <a:pt x="9566" y="6269"/>
                    </a:lnTo>
                    <a:lnTo>
                      <a:pt x="10000" y="6526"/>
                    </a:lnTo>
                    <a:lnTo>
                      <a:pt x="10000" y="6690"/>
                    </a:lnTo>
                    <a:lnTo>
                      <a:pt x="9656" y="7447"/>
                    </a:lnTo>
                    <a:lnTo>
                      <a:pt x="9512" y="7525"/>
                    </a:lnTo>
                    <a:lnTo>
                      <a:pt x="9656" y="7689"/>
                    </a:lnTo>
                    <a:lnTo>
                      <a:pt x="9259" y="7978"/>
                    </a:lnTo>
                    <a:lnTo>
                      <a:pt x="8734" y="8103"/>
                    </a:lnTo>
                    <a:lnTo>
                      <a:pt x="8734" y="8236"/>
                    </a:lnTo>
                    <a:lnTo>
                      <a:pt x="7975" y="8728"/>
                    </a:lnTo>
                    <a:lnTo>
                      <a:pt x="7468" y="8845"/>
                    </a:lnTo>
                    <a:lnTo>
                      <a:pt x="7378" y="9133"/>
                    </a:lnTo>
                    <a:lnTo>
                      <a:pt x="6872" y="9133"/>
                    </a:lnTo>
                    <a:lnTo>
                      <a:pt x="6618" y="9227"/>
                    </a:lnTo>
                    <a:lnTo>
                      <a:pt x="6112" y="9305"/>
                    </a:lnTo>
                    <a:lnTo>
                      <a:pt x="5425" y="9258"/>
                    </a:lnTo>
                    <a:lnTo>
                      <a:pt x="4919" y="9469"/>
                    </a:lnTo>
                    <a:lnTo>
                      <a:pt x="4322" y="9633"/>
                    </a:lnTo>
                    <a:lnTo>
                      <a:pt x="3725" y="9711"/>
                    </a:lnTo>
                    <a:lnTo>
                      <a:pt x="3291" y="9883"/>
                    </a:lnTo>
                    <a:lnTo>
                      <a:pt x="2803" y="1000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grpSp>
          <p:nvGrpSpPr>
            <p:cNvPr id="27" name="SE"/>
            <p:cNvGrpSpPr>
              <a:grpSpLocks/>
            </p:cNvGrpSpPr>
            <p:nvPr/>
          </p:nvGrpSpPr>
          <p:grpSpPr bwMode="auto">
            <a:xfrm>
              <a:off x="6097588" y="1157287"/>
              <a:ext cx="1035054" cy="2009769"/>
              <a:chOff x="3043262" y="1475462"/>
              <a:chExt cx="475" cy="1041"/>
            </a:xfrm>
            <a:solidFill>
              <a:schemeClr val="bg1">
                <a:lumMod val="95000"/>
              </a:schemeClr>
            </a:solidFill>
            <a:effectLst/>
          </p:grpSpPr>
          <p:sp>
            <p:nvSpPr>
              <p:cNvPr id="91" name="Freeform 563"/>
              <p:cNvSpPr>
                <a:spLocks noChangeAspect="1"/>
              </p:cNvSpPr>
              <p:nvPr/>
            </p:nvSpPr>
            <p:spPr bwMode="auto">
              <a:xfrm>
                <a:off x="3043451" y="1476363"/>
                <a:ext cx="32" cy="81"/>
              </a:xfrm>
              <a:custGeom>
                <a:avLst/>
                <a:gdLst>
                  <a:gd name="T0" fmla="*/ 46 w 46"/>
                  <a:gd name="T1" fmla="*/ 0 h 131"/>
                  <a:gd name="T2" fmla="*/ 44 w 46"/>
                  <a:gd name="T3" fmla="*/ 44 h 131"/>
                  <a:gd name="T4" fmla="*/ 30 w 46"/>
                  <a:gd name="T5" fmla="*/ 78 h 131"/>
                  <a:gd name="T6" fmla="*/ 9 w 46"/>
                  <a:gd name="T7" fmla="*/ 99 h 131"/>
                  <a:gd name="T8" fmla="*/ 14 w 46"/>
                  <a:gd name="T9" fmla="*/ 122 h 131"/>
                  <a:gd name="T10" fmla="*/ 5 w 46"/>
                  <a:gd name="T11" fmla="*/ 131 h 131"/>
                  <a:gd name="T12" fmla="*/ 0 w 46"/>
                  <a:gd name="T13" fmla="*/ 102 h 131"/>
                  <a:gd name="T14" fmla="*/ 7 w 46"/>
                  <a:gd name="T15" fmla="*/ 81 h 131"/>
                  <a:gd name="T16" fmla="*/ 14 w 46"/>
                  <a:gd name="T17" fmla="*/ 57 h 131"/>
                  <a:gd name="T18" fmla="*/ 46 w 46"/>
                  <a:gd name="T19"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31">
                    <a:moveTo>
                      <a:pt x="46" y="0"/>
                    </a:moveTo>
                    <a:lnTo>
                      <a:pt x="44" y="44"/>
                    </a:lnTo>
                    <a:lnTo>
                      <a:pt x="30" y="78"/>
                    </a:lnTo>
                    <a:lnTo>
                      <a:pt x="9" y="99"/>
                    </a:lnTo>
                    <a:lnTo>
                      <a:pt x="14" y="122"/>
                    </a:lnTo>
                    <a:lnTo>
                      <a:pt x="5" y="131"/>
                    </a:lnTo>
                    <a:lnTo>
                      <a:pt x="0" y="102"/>
                    </a:lnTo>
                    <a:lnTo>
                      <a:pt x="7" y="81"/>
                    </a:lnTo>
                    <a:lnTo>
                      <a:pt x="14" y="57"/>
                    </a:lnTo>
                    <a:lnTo>
                      <a:pt x="46"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2" name="Freeform 564"/>
              <p:cNvSpPr>
                <a:spLocks noChangeAspect="1"/>
              </p:cNvSpPr>
              <p:nvPr/>
            </p:nvSpPr>
            <p:spPr bwMode="auto">
              <a:xfrm>
                <a:off x="3043522" y="1476325"/>
                <a:ext cx="42" cy="64"/>
              </a:xfrm>
              <a:custGeom>
                <a:avLst/>
                <a:gdLst>
                  <a:gd name="T0" fmla="*/ 50 w 64"/>
                  <a:gd name="T1" fmla="*/ 0 h 104"/>
                  <a:gd name="T2" fmla="*/ 64 w 64"/>
                  <a:gd name="T3" fmla="*/ 0 h 104"/>
                  <a:gd name="T4" fmla="*/ 47 w 64"/>
                  <a:gd name="T5" fmla="*/ 22 h 104"/>
                  <a:gd name="T6" fmla="*/ 45 w 64"/>
                  <a:gd name="T7" fmla="*/ 37 h 104"/>
                  <a:gd name="T8" fmla="*/ 50 w 64"/>
                  <a:gd name="T9" fmla="*/ 59 h 104"/>
                  <a:gd name="T10" fmla="*/ 33 w 64"/>
                  <a:gd name="T11" fmla="*/ 80 h 104"/>
                  <a:gd name="T12" fmla="*/ 12 w 64"/>
                  <a:gd name="T13" fmla="*/ 104 h 104"/>
                  <a:gd name="T14" fmla="*/ 8 w 64"/>
                  <a:gd name="T15" fmla="*/ 80 h 104"/>
                  <a:gd name="T16" fmla="*/ 0 w 64"/>
                  <a:gd name="T17" fmla="*/ 70 h 104"/>
                  <a:gd name="T18" fmla="*/ 0 w 64"/>
                  <a:gd name="T19" fmla="*/ 52 h 104"/>
                  <a:gd name="T20" fmla="*/ 19 w 64"/>
                  <a:gd name="T21" fmla="*/ 32 h 104"/>
                  <a:gd name="T22" fmla="*/ 50 w 64"/>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04">
                    <a:moveTo>
                      <a:pt x="50" y="0"/>
                    </a:moveTo>
                    <a:lnTo>
                      <a:pt x="64" y="0"/>
                    </a:lnTo>
                    <a:lnTo>
                      <a:pt x="47" y="22"/>
                    </a:lnTo>
                    <a:lnTo>
                      <a:pt x="45" y="37"/>
                    </a:lnTo>
                    <a:lnTo>
                      <a:pt x="50" y="59"/>
                    </a:lnTo>
                    <a:lnTo>
                      <a:pt x="33" y="80"/>
                    </a:lnTo>
                    <a:lnTo>
                      <a:pt x="12" y="104"/>
                    </a:lnTo>
                    <a:lnTo>
                      <a:pt x="8" y="80"/>
                    </a:lnTo>
                    <a:lnTo>
                      <a:pt x="0" y="70"/>
                    </a:lnTo>
                    <a:lnTo>
                      <a:pt x="0" y="52"/>
                    </a:lnTo>
                    <a:lnTo>
                      <a:pt x="19" y="32"/>
                    </a:lnTo>
                    <a:lnTo>
                      <a:pt x="50"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3" name="Freeform 565"/>
              <p:cNvSpPr>
                <a:spLocks noChangeAspect="1"/>
              </p:cNvSpPr>
              <p:nvPr/>
            </p:nvSpPr>
            <p:spPr bwMode="auto">
              <a:xfrm>
                <a:off x="3043262" y="1475462"/>
                <a:ext cx="475" cy="1041"/>
              </a:xfrm>
              <a:custGeom>
                <a:avLst/>
                <a:gdLst>
                  <a:gd name="T0" fmla="*/ 551 w 701"/>
                  <a:gd name="T1" fmla="*/ 30 h 1686"/>
                  <a:gd name="T2" fmla="*/ 646 w 701"/>
                  <a:gd name="T3" fmla="*/ 104 h 1686"/>
                  <a:gd name="T4" fmla="*/ 655 w 701"/>
                  <a:gd name="T5" fmla="*/ 168 h 1686"/>
                  <a:gd name="T6" fmla="*/ 677 w 701"/>
                  <a:gd name="T7" fmla="*/ 225 h 1686"/>
                  <a:gd name="T8" fmla="*/ 674 w 701"/>
                  <a:gd name="T9" fmla="*/ 299 h 1686"/>
                  <a:gd name="T10" fmla="*/ 692 w 701"/>
                  <a:gd name="T11" fmla="*/ 352 h 1686"/>
                  <a:gd name="T12" fmla="*/ 687 w 701"/>
                  <a:gd name="T13" fmla="*/ 394 h 1686"/>
                  <a:gd name="T14" fmla="*/ 603 w 701"/>
                  <a:gd name="T15" fmla="*/ 404 h 1686"/>
                  <a:gd name="T16" fmla="*/ 566 w 701"/>
                  <a:gd name="T17" fmla="*/ 468 h 1686"/>
                  <a:gd name="T18" fmla="*/ 556 w 701"/>
                  <a:gd name="T19" fmla="*/ 515 h 1686"/>
                  <a:gd name="T20" fmla="*/ 561 w 701"/>
                  <a:gd name="T21" fmla="*/ 583 h 1686"/>
                  <a:gd name="T22" fmla="*/ 533 w 701"/>
                  <a:gd name="T23" fmla="*/ 647 h 1686"/>
                  <a:gd name="T24" fmla="*/ 453 w 701"/>
                  <a:gd name="T25" fmla="*/ 700 h 1686"/>
                  <a:gd name="T26" fmla="*/ 424 w 701"/>
                  <a:gd name="T27" fmla="*/ 731 h 1686"/>
                  <a:gd name="T28" fmla="*/ 387 w 701"/>
                  <a:gd name="T29" fmla="*/ 811 h 1686"/>
                  <a:gd name="T30" fmla="*/ 376 w 701"/>
                  <a:gd name="T31" fmla="*/ 871 h 1686"/>
                  <a:gd name="T32" fmla="*/ 343 w 701"/>
                  <a:gd name="T33" fmla="*/ 956 h 1686"/>
                  <a:gd name="T34" fmla="*/ 391 w 701"/>
                  <a:gd name="T35" fmla="*/ 1067 h 1686"/>
                  <a:gd name="T36" fmla="*/ 429 w 701"/>
                  <a:gd name="T37" fmla="*/ 1151 h 1686"/>
                  <a:gd name="T38" fmla="*/ 387 w 701"/>
                  <a:gd name="T39" fmla="*/ 1182 h 1686"/>
                  <a:gd name="T40" fmla="*/ 352 w 701"/>
                  <a:gd name="T41" fmla="*/ 1188 h 1686"/>
                  <a:gd name="T42" fmla="*/ 272 w 701"/>
                  <a:gd name="T43" fmla="*/ 1194 h 1686"/>
                  <a:gd name="T44" fmla="*/ 347 w 701"/>
                  <a:gd name="T45" fmla="*/ 1214 h 1686"/>
                  <a:gd name="T46" fmla="*/ 387 w 701"/>
                  <a:gd name="T47" fmla="*/ 1241 h 1686"/>
                  <a:gd name="T48" fmla="*/ 361 w 701"/>
                  <a:gd name="T49" fmla="*/ 1262 h 1686"/>
                  <a:gd name="T50" fmla="*/ 314 w 701"/>
                  <a:gd name="T51" fmla="*/ 1309 h 1686"/>
                  <a:gd name="T52" fmla="*/ 300 w 701"/>
                  <a:gd name="T53" fmla="*/ 1356 h 1686"/>
                  <a:gd name="T54" fmla="*/ 281 w 701"/>
                  <a:gd name="T55" fmla="*/ 1467 h 1686"/>
                  <a:gd name="T56" fmla="*/ 258 w 701"/>
                  <a:gd name="T57" fmla="*/ 1541 h 1686"/>
                  <a:gd name="T58" fmla="*/ 201 w 701"/>
                  <a:gd name="T59" fmla="*/ 1599 h 1686"/>
                  <a:gd name="T60" fmla="*/ 145 w 701"/>
                  <a:gd name="T61" fmla="*/ 1620 h 1686"/>
                  <a:gd name="T62" fmla="*/ 135 w 701"/>
                  <a:gd name="T63" fmla="*/ 1670 h 1686"/>
                  <a:gd name="T64" fmla="*/ 80 w 701"/>
                  <a:gd name="T65" fmla="*/ 1686 h 1686"/>
                  <a:gd name="T66" fmla="*/ 55 w 701"/>
                  <a:gd name="T67" fmla="*/ 1659 h 1686"/>
                  <a:gd name="T68" fmla="*/ 33 w 701"/>
                  <a:gd name="T69" fmla="*/ 1568 h 1686"/>
                  <a:gd name="T70" fmla="*/ 52 w 701"/>
                  <a:gd name="T71" fmla="*/ 1546 h 1686"/>
                  <a:gd name="T72" fmla="*/ 55 w 701"/>
                  <a:gd name="T73" fmla="*/ 1515 h 1686"/>
                  <a:gd name="T74" fmla="*/ 33 w 701"/>
                  <a:gd name="T75" fmla="*/ 1430 h 1686"/>
                  <a:gd name="T76" fmla="*/ 14 w 701"/>
                  <a:gd name="T77" fmla="*/ 1362 h 1686"/>
                  <a:gd name="T78" fmla="*/ 0 w 701"/>
                  <a:gd name="T79" fmla="*/ 1256 h 1686"/>
                  <a:gd name="T80" fmla="*/ 24 w 701"/>
                  <a:gd name="T81" fmla="*/ 1214 h 1686"/>
                  <a:gd name="T82" fmla="*/ 42 w 701"/>
                  <a:gd name="T83" fmla="*/ 1108 h 1686"/>
                  <a:gd name="T84" fmla="*/ 88 w 701"/>
                  <a:gd name="T85" fmla="*/ 1046 h 1686"/>
                  <a:gd name="T86" fmla="*/ 74 w 701"/>
                  <a:gd name="T87" fmla="*/ 935 h 1686"/>
                  <a:gd name="T88" fmla="*/ 93 w 701"/>
                  <a:gd name="T89" fmla="*/ 882 h 1686"/>
                  <a:gd name="T90" fmla="*/ 85 w 701"/>
                  <a:gd name="T91" fmla="*/ 790 h 1686"/>
                  <a:gd name="T92" fmla="*/ 104 w 701"/>
                  <a:gd name="T93" fmla="*/ 679 h 1686"/>
                  <a:gd name="T94" fmla="*/ 164 w 701"/>
                  <a:gd name="T95" fmla="*/ 605 h 1686"/>
                  <a:gd name="T96" fmla="*/ 220 w 701"/>
                  <a:gd name="T97" fmla="*/ 583 h 1686"/>
                  <a:gd name="T98" fmla="*/ 197 w 701"/>
                  <a:gd name="T99" fmla="*/ 515 h 1686"/>
                  <a:gd name="T100" fmla="*/ 220 w 701"/>
                  <a:gd name="T101" fmla="*/ 458 h 1686"/>
                  <a:gd name="T102" fmla="*/ 234 w 701"/>
                  <a:gd name="T103" fmla="*/ 373 h 1686"/>
                  <a:gd name="T104" fmla="*/ 296 w 701"/>
                  <a:gd name="T105" fmla="*/ 320 h 1686"/>
                  <a:gd name="T106" fmla="*/ 324 w 701"/>
                  <a:gd name="T107" fmla="*/ 252 h 1686"/>
                  <a:gd name="T108" fmla="*/ 368 w 701"/>
                  <a:gd name="T109" fmla="*/ 147 h 1686"/>
                  <a:gd name="T110" fmla="*/ 418 w 701"/>
                  <a:gd name="T111" fmla="*/ 98 h 1686"/>
                  <a:gd name="T112" fmla="*/ 465 w 701"/>
                  <a:gd name="T113" fmla="*/ 60 h 1686"/>
                  <a:gd name="T114" fmla="*/ 523 w 701"/>
                  <a:gd name="T115" fmla="*/ 0 h 1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1" h="1686">
                    <a:moveTo>
                      <a:pt x="528" y="0"/>
                    </a:moveTo>
                    <a:lnTo>
                      <a:pt x="537" y="5"/>
                    </a:lnTo>
                    <a:lnTo>
                      <a:pt x="551" y="30"/>
                    </a:lnTo>
                    <a:lnTo>
                      <a:pt x="613" y="98"/>
                    </a:lnTo>
                    <a:lnTo>
                      <a:pt x="622" y="83"/>
                    </a:lnTo>
                    <a:lnTo>
                      <a:pt x="646" y="104"/>
                    </a:lnTo>
                    <a:lnTo>
                      <a:pt x="655" y="125"/>
                    </a:lnTo>
                    <a:lnTo>
                      <a:pt x="655" y="141"/>
                    </a:lnTo>
                    <a:lnTo>
                      <a:pt x="655" y="168"/>
                    </a:lnTo>
                    <a:lnTo>
                      <a:pt x="646" y="184"/>
                    </a:lnTo>
                    <a:lnTo>
                      <a:pt x="663" y="205"/>
                    </a:lnTo>
                    <a:lnTo>
                      <a:pt x="677" y="225"/>
                    </a:lnTo>
                    <a:lnTo>
                      <a:pt x="677" y="242"/>
                    </a:lnTo>
                    <a:lnTo>
                      <a:pt x="677" y="268"/>
                    </a:lnTo>
                    <a:lnTo>
                      <a:pt x="674" y="299"/>
                    </a:lnTo>
                    <a:lnTo>
                      <a:pt x="663" y="310"/>
                    </a:lnTo>
                    <a:lnTo>
                      <a:pt x="677" y="326"/>
                    </a:lnTo>
                    <a:lnTo>
                      <a:pt x="692" y="352"/>
                    </a:lnTo>
                    <a:lnTo>
                      <a:pt x="701" y="379"/>
                    </a:lnTo>
                    <a:lnTo>
                      <a:pt x="701" y="389"/>
                    </a:lnTo>
                    <a:lnTo>
                      <a:pt x="687" y="394"/>
                    </a:lnTo>
                    <a:lnTo>
                      <a:pt x="627" y="394"/>
                    </a:lnTo>
                    <a:lnTo>
                      <a:pt x="613" y="394"/>
                    </a:lnTo>
                    <a:lnTo>
                      <a:pt x="603" y="404"/>
                    </a:lnTo>
                    <a:lnTo>
                      <a:pt x="603" y="426"/>
                    </a:lnTo>
                    <a:lnTo>
                      <a:pt x="594" y="441"/>
                    </a:lnTo>
                    <a:lnTo>
                      <a:pt x="566" y="468"/>
                    </a:lnTo>
                    <a:lnTo>
                      <a:pt x="570" y="490"/>
                    </a:lnTo>
                    <a:lnTo>
                      <a:pt x="566" y="505"/>
                    </a:lnTo>
                    <a:lnTo>
                      <a:pt x="556" y="515"/>
                    </a:lnTo>
                    <a:lnTo>
                      <a:pt x="566" y="548"/>
                    </a:lnTo>
                    <a:lnTo>
                      <a:pt x="570" y="568"/>
                    </a:lnTo>
                    <a:lnTo>
                      <a:pt x="561" y="583"/>
                    </a:lnTo>
                    <a:lnTo>
                      <a:pt x="542" y="601"/>
                    </a:lnTo>
                    <a:lnTo>
                      <a:pt x="537" y="620"/>
                    </a:lnTo>
                    <a:lnTo>
                      <a:pt x="533" y="647"/>
                    </a:lnTo>
                    <a:lnTo>
                      <a:pt x="500" y="663"/>
                    </a:lnTo>
                    <a:lnTo>
                      <a:pt x="481" y="679"/>
                    </a:lnTo>
                    <a:lnTo>
                      <a:pt x="453" y="700"/>
                    </a:lnTo>
                    <a:lnTo>
                      <a:pt x="457" y="716"/>
                    </a:lnTo>
                    <a:lnTo>
                      <a:pt x="434" y="721"/>
                    </a:lnTo>
                    <a:lnTo>
                      <a:pt x="424" y="731"/>
                    </a:lnTo>
                    <a:lnTo>
                      <a:pt x="401" y="768"/>
                    </a:lnTo>
                    <a:lnTo>
                      <a:pt x="382" y="784"/>
                    </a:lnTo>
                    <a:lnTo>
                      <a:pt x="387" y="811"/>
                    </a:lnTo>
                    <a:lnTo>
                      <a:pt x="376" y="818"/>
                    </a:lnTo>
                    <a:lnTo>
                      <a:pt x="366" y="830"/>
                    </a:lnTo>
                    <a:lnTo>
                      <a:pt x="376" y="871"/>
                    </a:lnTo>
                    <a:lnTo>
                      <a:pt x="371" y="898"/>
                    </a:lnTo>
                    <a:lnTo>
                      <a:pt x="347" y="913"/>
                    </a:lnTo>
                    <a:lnTo>
                      <a:pt x="343" y="956"/>
                    </a:lnTo>
                    <a:lnTo>
                      <a:pt x="347" y="1009"/>
                    </a:lnTo>
                    <a:lnTo>
                      <a:pt x="357" y="1034"/>
                    </a:lnTo>
                    <a:lnTo>
                      <a:pt x="391" y="1067"/>
                    </a:lnTo>
                    <a:lnTo>
                      <a:pt x="405" y="1098"/>
                    </a:lnTo>
                    <a:lnTo>
                      <a:pt x="420" y="1130"/>
                    </a:lnTo>
                    <a:lnTo>
                      <a:pt x="429" y="1151"/>
                    </a:lnTo>
                    <a:lnTo>
                      <a:pt x="420" y="1172"/>
                    </a:lnTo>
                    <a:lnTo>
                      <a:pt x="401" y="1188"/>
                    </a:lnTo>
                    <a:lnTo>
                      <a:pt x="387" y="1182"/>
                    </a:lnTo>
                    <a:lnTo>
                      <a:pt x="376" y="1167"/>
                    </a:lnTo>
                    <a:lnTo>
                      <a:pt x="357" y="1172"/>
                    </a:lnTo>
                    <a:lnTo>
                      <a:pt x="352" y="1188"/>
                    </a:lnTo>
                    <a:lnTo>
                      <a:pt x="324" y="1188"/>
                    </a:lnTo>
                    <a:lnTo>
                      <a:pt x="281" y="1182"/>
                    </a:lnTo>
                    <a:lnTo>
                      <a:pt x="272" y="1194"/>
                    </a:lnTo>
                    <a:lnTo>
                      <a:pt x="300" y="1209"/>
                    </a:lnTo>
                    <a:lnTo>
                      <a:pt x="338" y="1194"/>
                    </a:lnTo>
                    <a:lnTo>
                      <a:pt x="347" y="1214"/>
                    </a:lnTo>
                    <a:lnTo>
                      <a:pt x="376" y="1219"/>
                    </a:lnTo>
                    <a:lnTo>
                      <a:pt x="396" y="1229"/>
                    </a:lnTo>
                    <a:lnTo>
                      <a:pt x="387" y="1241"/>
                    </a:lnTo>
                    <a:lnTo>
                      <a:pt x="361" y="1235"/>
                    </a:lnTo>
                    <a:lnTo>
                      <a:pt x="357" y="1246"/>
                    </a:lnTo>
                    <a:lnTo>
                      <a:pt x="361" y="1262"/>
                    </a:lnTo>
                    <a:lnTo>
                      <a:pt x="347" y="1283"/>
                    </a:lnTo>
                    <a:lnTo>
                      <a:pt x="324" y="1303"/>
                    </a:lnTo>
                    <a:lnTo>
                      <a:pt x="314" y="1309"/>
                    </a:lnTo>
                    <a:lnTo>
                      <a:pt x="305" y="1315"/>
                    </a:lnTo>
                    <a:lnTo>
                      <a:pt x="310" y="1340"/>
                    </a:lnTo>
                    <a:lnTo>
                      <a:pt x="300" y="1356"/>
                    </a:lnTo>
                    <a:lnTo>
                      <a:pt x="286" y="1389"/>
                    </a:lnTo>
                    <a:lnTo>
                      <a:pt x="291" y="1420"/>
                    </a:lnTo>
                    <a:lnTo>
                      <a:pt x="281" y="1467"/>
                    </a:lnTo>
                    <a:lnTo>
                      <a:pt x="272" y="1488"/>
                    </a:lnTo>
                    <a:lnTo>
                      <a:pt x="272" y="1519"/>
                    </a:lnTo>
                    <a:lnTo>
                      <a:pt x="258" y="1541"/>
                    </a:lnTo>
                    <a:lnTo>
                      <a:pt x="239" y="1578"/>
                    </a:lnTo>
                    <a:lnTo>
                      <a:pt x="234" y="1605"/>
                    </a:lnTo>
                    <a:lnTo>
                      <a:pt x="201" y="1599"/>
                    </a:lnTo>
                    <a:lnTo>
                      <a:pt x="168" y="1599"/>
                    </a:lnTo>
                    <a:lnTo>
                      <a:pt x="164" y="1615"/>
                    </a:lnTo>
                    <a:lnTo>
                      <a:pt x="145" y="1620"/>
                    </a:lnTo>
                    <a:lnTo>
                      <a:pt x="135" y="1626"/>
                    </a:lnTo>
                    <a:lnTo>
                      <a:pt x="140" y="1643"/>
                    </a:lnTo>
                    <a:lnTo>
                      <a:pt x="135" y="1670"/>
                    </a:lnTo>
                    <a:lnTo>
                      <a:pt x="112" y="1686"/>
                    </a:lnTo>
                    <a:lnTo>
                      <a:pt x="99" y="1670"/>
                    </a:lnTo>
                    <a:lnTo>
                      <a:pt x="80" y="1686"/>
                    </a:lnTo>
                    <a:lnTo>
                      <a:pt x="55" y="1686"/>
                    </a:lnTo>
                    <a:lnTo>
                      <a:pt x="47" y="1670"/>
                    </a:lnTo>
                    <a:lnTo>
                      <a:pt x="55" y="1659"/>
                    </a:lnTo>
                    <a:lnTo>
                      <a:pt x="61" y="1630"/>
                    </a:lnTo>
                    <a:lnTo>
                      <a:pt x="42" y="1589"/>
                    </a:lnTo>
                    <a:lnTo>
                      <a:pt x="33" y="1568"/>
                    </a:lnTo>
                    <a:lnTo>
                      <a:pt x="38" y="1556"/>
                    </a:lnTo>
                    <a:lnTo>
                      <a:pt x="47" y="1556"/>
                    </a:lnTo>
                    <a:lnTo>
                      <a:pt x="52" y="1546"/>
                    </a:lnTo>
                    <a:lnTo>
                      <a:pt x="55" y="1535"/>
                    </a:lnTo>
                    <a:lnTo>
                      <a:pt x="61" y="1525"/>
                    </a:lnTo>
                    <a:lnTo>
                      <a:pt x="55" y="1515"/>
                    </a:lnTo>
                    <a:lnTo>
                      <a:pt x="47" y="1494"/>
                    </a:lnTo>
                    <a:lnTo>
                      <a:pt x="28" y="1462"/>
                    </a:lnTo>
                    <a:lnTo>
                      <a:pt x="33" y="1430"/>
                    </a:lnTo>
                    <a:lnTo>
                      <a:pt x="19" y="1404"/>
                    </a:lnTo>
                    <a:lnTo>
                      <a:pt x="5" y="1389"/>
                    </a:lnTo>
                    <a:lnTo>
                      <a:pt x="14" y="1362"/>
                    </a:lnTo>
                    <a:lnTo>
                      <a:pt x="24" y="1309"/>
                    </a:lnTo>
                    <a:lnTo>
                      <a:pt x="5" y="1283"/>
                    </a:lnTo>
                    <a:lnTo>
                      <a:pt x="0" y="1256"/>
                    </a:lnTo>
                    <a:lnTo>
                      <a:pt x="0" y="1241"/>
                    </a:lnTo>
                    <a:lnTo>
                      <a:pt x="9" y="1209"/>
                    </a:lnTo>
                    <a:lnTo>
                      <a:pt x="24" y="1214"/>
                    </a:lnTo>
                    <a:lnTo>
                      <a:pt x="38" y="1172"/>
                    </a:lnTo>
                    <a:lnTo>
                      <a:pt x="38" y="1124"/>
                    </a:lnTo>
                    <a:lnTo>
                      <a:pt x="42" y="1108"/>
                    </a:lnTo>
                    <a:lnTo>
                      <a:pt x="61" y="1093"/>
                    </a:lnTo>
                    <a:lnTo>
                      <a:pt x="88" y="1071"/>
                    </a:lnTo>
                    <a:lnTo>
                      <a:pt x="88" y="1046"/>
                    </a:lnTo>
                    <a:lnTo>
                      <a:pt x="85" y="966"/>
                    </a:lnTo>
                    <a:lnTo>
                      <a:pt x="74" y="956"/>
                    </a:lnTo>
                    <a:lnTo>
                      <a:pt x="74" y="935"/>
                    </a:lnTo>
                    <a:lnTo>
                      <a:pt x="99" y="923"/>
                    </a:lnTo>
                    <a:lnTo>
                      <a:pt x="107" y="913"/>
                    </a:lnTo>
                    <a:lnTo>
                      <a:pt x="93" y="882"/>
                    </a:lnTo>
                    <a:lnTo>
                      <a:pt x="74" y="851"/>
                    </a:lnTo>
                    <a:lnTo>
                      <a:pt x="80" y="815"/>
                    </a:lnTo>
                    <a:lnTo>
                      <a:pt x="85" y="790"/>
                    </a:lnTo>
                    <a:lnTo>
                      <a:pt x="104" y="743"/>
                    </a:lnTo>
                    <a:lnTo>
                      <a:pt x="104" y="721"/>
                    </a:lnTo>
                    <a:lnTo>
                      <a:pt x="104" y="679"/>
                    </a:lnTo>
                    <a:lnTo>
                      <a:pt x="118" y="642"/>
                    </a:lnTo>
                    <a:lnTo>
                      <a:pt x="140" y="620"/>
                    </a:lnTo>
                    <a:lnTo>
                      <a:pt x="164" y="605"/>
                    </a:lnTo>
                    <a:lnTo>
                      <a:pt x="187" y="610"/>
                    </a:lnTo>
                    <a:lnTo>
                      <a:pt x="211" y="620"/>
                    </a:lnTo>
                    <a:lnTo>
                      <a:pt x="220" y="583"/>
                    </a:lnTo>
                    <a:lnTo>
                      <a:pt x="211" y="552"/>
                    </a:lnTo>
                    <a:lnTo>
                      <a:pt x="201" y="531"/>
                    </a:lnTo>
                    <a:lnTo>
                      <a:pt x="197" y="515"/>
                    </a:lnTo>
                    <a:lnTo>
                      <a:pt x="201" y="500"/>
                    </a:lnTo>
                    <a:lnTo>
                      <a:pt x="216" y="494"/>
                    </a:lnTo>
                    <a:lnTo>
                      <a:pt x="220" y="458"/>
                    </a:lnTo>
                    <a:lnTo>
                      <a:pt x="230" y="426"/>
                    </a:lnTo>
                    <a:lnTo>
                      <a:pt x="234" y="400"/>
                    </a:lnTo>
                    <a:lnTo>
                      <a:pt x="234" y="373"/>
                    </a:lnTo>
                    <a:lnTo>
                      <a:pt x="248" y="347"/>
                    </a:lnTo>
                    <a:lnTo>
                      <a:pt x="277" y="326"/>
                    </a:lnTo>
                    <a:lnTo>
                      <a:pt x="296" y="320"/>
                    </a:lnTo>
                    <a:lnTo>
                      <a:pt x="296" y="295"/>
                    </a:lnTo>
                    <a:lnTo>
                      <a:pt x="305" y="278"/>
                    </a:lnTo>
                    <a:lnTo>
                      <a:pt x="324" y="252"/>
                    </a:lnTo>
                    <a:lnTo>
                      <a:pt x="343" y="236"/>
                    </a:lnTo>
                    <a:lnTo>
                      <a:pt x="333" y="191"/>
                    </a:lnTo>
                    <a:lnTo>
                      <a:pt x="368" y="147"/>
                    </a:lnTo>
                    <a:lnTo>
                      <a:pt x="376" y="128"/>
                    </a:lnTo>
                    <a:lnTo>
                      <a:pt x="401" y="123"/>
                    </a:lnTo>
                    <a:lnTo>
                      <a:pt x="418" y="98"/>
                    </a:lnTo>
                    <a:lnTo>
                      <a:pt x="418" y="83"/>
                    </a:lnTo>
                    <a:lnTo>
                      <a:pt x="434" y="64"/>
                    </a:lnTo>
                    <a:lnTo>
                      <a:pt x="465" y="60"/>
                    </a:lnTo>
                    <a:lnTo>
                      <a:pt x="500" y="60"/>
                    </a:lnTo>
                    <a:lnTo>
                      <a:pt x="528" y="30"/>
                    </a:lnTo>
                    <a:lnTo>
                      <a:pt x="523" y="0"/>
                    </a:lnTo>
                    <a:lnTo>
                      <a:pt x="528" y="0"/>
                    </a:lnTo>
                    <a:close/>
                  </a:path>
                </a:pathLst>
              </a:custGeom>
              <a:solidFill>
                <a:schemeClr val="accent5">
                  <a:lumMod val="20000"/>
                  <a:lumOff val="80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grpSp>
          <p:nvGrpSpPr>
            <p:cNvPr id="28" name="NO"/>
            <p:cNvGrpSpPr>
              <a:grpSpLocks/>
            </p:cNvGrpSpPr>
            <p:nvPr/>
          </p:nvGrpSpPr>
          <p:grpSpPr bwMode="auto">
            <a:xfrm>
              <a:off x="5584744" y="990600"/>
              <a:ext cx="1892300" cy="1884365"/>
              <a:chOff x="2536825" y="1148442"/>
              <a:chExt cx="1192" cy="1187"/>
            </a:xfrm>
            <a:solidFill>
              <a:schemeClr val="bg1">
                <a:lumMod val="95000"/>
              </a:schemeClr>
            </a:solidFill>
            <a:effectLst/>
          </p:grpSpPr>
          <p:sp>
            <p:nvSpPr>
              <p:cNvPr id="80" name="Freeform 552"/>
              <p:cNvSpPr>
                <a:spLocks noChangeAspect="1"/>
              </p:cNvSpPr>
              <p:nvPr/>
            </p:nvSpPr>
            <p:spPr bwMode="auto">
              <a:xfrm>
                <a:off x="2536825" y="1148442"/>
                <a:ext cx="1192" cy="1187"/>
              </a:xfrm>
              <a:custGeom>
                <a:avLst/>
                <a:gdLst>
                  <a:gd name="T0" fmla="*/ 376 w 1279"/>
                  <a:gd name="T1" fmla="*/ 1439 h 1576"/>
                  <a:gd name="T2" fmla="*/ 427 w 1279"/>
                  <a:gd name="T3" fmla="*/ 1349 h 1576"/>
                  <a:gd name="T4" fmla="*/ 413 w 1279"/>
                  <a:gd name="T5" fmla="*/ 1227 h 1576"/>
                  <a:gd name="T6" fmla="*/ 423 w 1279"/>
                  <a:gd name="T7" fmla="*/ 1122 h 1576"/>
                  <a:gd name="T8" fmla="*/ 446 w 1279"/>
                  <a:gd name="T9" fmla="*/ 977 h 1576"/>
                  <a:gd name="T10" fmla="*/ 511 w 1279"/>
                  <a:gd name="T11" fmla="*/ 877 h 1576"/>
                  <a:gd name="T12" fmla="*/ 544 w 1279"/>
                  <a:gd name="T13" fmla="*/ 798 h 1576"/>
                  <a:gd name="T14" fmla="*/ 568 w 1279"/>
                  <a:gd name="T15" fmla="*/ 719 h 1576"/>
                  <a:gd name="T16" fmla="*/ 638 w 1279"/>
                  <a:gd name="T17" fmla="*/ 587 h 1576"/>
                  <a:gd name="T18" fmla="*/ 676 w 1279"/>
                  <a:gd name="T19" fmla="*/ 482 h 1576"/>
                  <a:gd name="T20" fmla="*/ 762 w 1279"/>
                  <a:gd name="T21" fmla="*/ 376 h 1576"/>
                  <a:gd name="T22" fmla="*/ 833 w 1279"/>
                  <a:gd name="T23" fmla="*/ 340 h 1576"/>
                  <a:gd name="T24" fmla="*/ 880 w 1279"/>
                  <a:gd name="T25" fmla="*/ 247 h 1576"/>
                  <a:gd name="T26" fmla="*/ 993 w 1279"/>
                  <a:gd name="T27" fmla="*/ 297 h 1576"/>
                  <a:gd name="T28" fmla="*/ 1053 w 1279"/>
                  <a:gd name="T29" fmla="*/ 312 h 1576"/>
                  <a:gd name="T30" fmla="*/ 1086 w 1279"/>
                  <a:gd name="T31" fmla="*/ 189 h 1576"/>
                  <a:gd name="T32" fmla="*/ 1180 w 1279"/>
                  <a:gd name="T33" fmla="*/ 179 h 1576"/>
                  <a:gd name="T34" fmla="*/ 1213 w 1279"/>
                  <a:gd name="T35" fmla="*/ 226 h 1576"/>
                  <a:gd name="T36" fmla="*/ 1241 w 1279"/>
                  <a:gd name="T37" fmla="*/ 163 h 1576"/>
                  <a:gd name="T38" fmla="*/ 1274 w 1279"/>
                  <a:gd name="T39" fmla="*/ 89 h 1576"/>
                  <a:gd name="T40" fmla="*/ 1213 w 1279"/>
                  <a:gd name="T41" fmla="*/ 27 h 1576"/>
                  <a:gd name="T42" fmla="*/ 1157 w 1279"/>
                  <a:gd name="T43" fmla="*/ 31 h 1576"/>
                  <a:gd name="T44" fmla="*/ 1124 w 1279"/>
                  <a:gd name="T45" fmla="*/ 27 h 1576"/>
                  <a:gd name="T46" fmla="*/ 1078 w 1279"/>
                  <a:gd name="T47" fmla="*/ 62 h 1576"/>
                  <a:gd name="T48" fmla="*/ 1059 w 1279"/>
                  <a:gd name="T49" fmla="*/ 42 h 1576"/>
                  <a:gd name="T50" fmla="*/ 988 w 1279"/>
                  <a:gd name="T51" fmla="*/ 136 h 1576"/>
                  <a:gd name="T52" fmla="*/ 918 w 1279"/>
                  <a:gd name="T53" fmla="*/ 163 h 1576"/>
                  <a:gd name="T54" fmla="*/ 842 w 1279"/>
                  <a:gd name="T55" fmla="*/ 189 h 1576"/>
                  <a:gd name="T56" fmla="*/ 753 w 1279"/>
                  <a:gd name="T57" fmla="*/ 210 h 1576"/>
                  <a:gd name="T58" fmla="*/ 743 w 1279"/>
                  <a:gd name="T59" fmla="*/ 287 h 1576"/>
                  <a:gd name="T60" fmla="*/ 734 w 1279"/>
                  <a:gd name="T61" fmla="*/ 355 h 1576"/>
                  <a:gd name="T62" fmla="*/ 662 w 1279"/>
                  <a:gd name="T63" fmla="*/ 371 h 1576"/>
                  <a:gd name="T64" fmla="*/ 638 w 1279"/>
                  <a:gd name="T65" fmla="*/ 429 h 1576"/>
                  <a:gd name="T66" fmla="*/ 582 w 1279"/>
                  <a:gd name="T67" fmla="*/ 513 h 1576"/>
                  <a:gd name="T68" fmla="*/ 525 w 1279"/>
                  <a:gd name="T69" fmla="*/ 618 h 1576"/>
                  <a:gd name="T70" fmla="*/ 479 w 1279"/>
                  <a:gd name="T71" fmla="*/ 725 h 1576"/>
                  <a:gd name="T72" fmla="*/ 451 w 1279"/>
                  <a:gd name="T73" fmla="*/ 788 h 1576"/>
                  <a:gd name="T74" fmla="*/ 361 w 1279"/>
                  <a:gd name="T75" fmla="*/ 877 h 1576"/>
                  <a:gd name="T76" fmla="*/ 413 w 1279"/>
                  <a:gd name="T77" fmla="*/ 887 h 1576"/>
                  <a:gd name="T78" fmla="*/ 333 w 1279"/>
                  <a:gd name="T79" fmla="*/ 904 h 1576"/>
                  <a:gd name="T80" fmla="*/ 258 w 1279"/>
                  <a:gd name="T81" fmla="*/ 957 h 1576"/>
                  <a:gd name="T82" fmla="*/ 195 w 1279"/>
                  <a:gd name="T83" fmla="*/ 961 h 1576"/>
                  <a:gd name="T84" fmla="*/ 143 w 1279"/>
                  <a:gd name="T85" fmla="*/ 1001 h 1576"/>
                  <a:gd name="T86" fmla="*/ 110 w 1279"/>
                  <a:gd name="T87" fmla="*/ 1041 h 1576"/>
                  <a:gd name="T88" fmla="*/ 44 w 1279"/>
                  <a:gd name="T89" fmla="*/ 1088 h 1576"/>
                  <a:gd name="T90" fmla="*/ 25 w 1279"/>
                  <a:gd name="T91" fmla="*/ 1261 h 1576"/>
                  <a:gd name="T92" fmla="*/ 52 w 1279"/>
                  <a:gd name="T93" fmla="*/ 1301 h 1576"/>
                  <a:gd name="T94" fmla="*/ 25 w 1279"/>
                  <a:gd name="T95" fmla="*/ 1378 h 1576"/>
                  <a:gd name="T96" fmla="*/ 42 w 1279"/>
                  <a:gd name="T97" fmla="*/ 1423 h 1576"/>
                  <a:gd name="T98" fmla="*/ 0 w 1279"/>
                  <a:gd name="T99" fmla="*/ 1462 h 1576"/>
                  <a:gd name="T100" fmla="*/ 107 w 1279"/>
                  <a:gd name="T101" fmla="*/ 1576 h 1576"/>
                  <a:gd name="T102" fmla="*/ 265 w 1279"/>
                  <a:gd name="T103" fmla="*/ 1446 h 1576"/>
                  <a:gd name="T104" fmla="*/ 321 w 1279"/>
                  <a:gd name="T105" fmla="*/ 1372 h 1576"/>
                  <a:gd name="T106" fmla="*/ 333 w 1279"/>
                  <a:gd name="T107" fmla="*/ 1483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79" h="1576">
                    <a:moveTo>
                      <a:pt x="343" y="1483"/>
                    </a:moveTo>
                    <a:lnTo>
                      <a:pt x="347" y="1480"/>
                    </a:lnTo>
                    <a:lnTo>
                      <a:pt x="361" y="1476"/>
                    </a:lnTo>
                    <a:lnTo>
                      <a:pt x="371" y="1459"/>
                    </a:lnTo>
                    <a:lnTo>
                      <a:pt x="376" y="1439"/>
                    </a:lnTo>
                    <a:lnTo>
                      <a:pt x="380" y="1428"/>
                    </a:lnTo>
                    <a:lnTo>
                      <a:pt x="376" y="1396"/>
                    </a:lnTo>
                    <a:lnTo>
                      <a:pt x="380" y="1375"/>
                    </a:lnTo>
                    <a:lnTo>
                      <a:pt x="394" y="1365"/>
                    </a:lnTo>
                    <a:lnTo>
                      <a:pt x="427" y="1349"/>
                    </a:lnTo>
                    <a:lnTo>
                      <a:pt x="432" y="1332"/>
                    </a:lnTo>
                    <a:lnTo>
                      <a:pt x="427" y="1280"/>
                    </a:lnTo>
                    <a:lnTo>
                      <a:pt x="423" y="1270"/>
                    </a:lnTo>
                    <a:lnTo>
                      <a:pt x="423" y="1238"/>
                    </a:lnTo>
                    <a:lnTo>
                      <a:pt x="413" y="1227"/>
                    </a:lnTo>
                    <a:lnTo>
                      <a:pt x="418" y="1202"/>
                    </a:lnTo>
                    <a:lnTo>
                      <a:pt x="427" y="1202"/>
                    </a:lnTo>
                    <a:lnTo>
                      <a:pt x="451" y="1186"/>
                    </a:lnTo>
                    <a:lnTo>
                      <a:pt x="432" y="1137"/>
                    </a:lnTo>
                    <a:lnTo>
                      <a:pt x="423" y="1122"/>
                    </a:lnTo>
                    <a:lnTo>
                      <a:pt x="423" y="1118"/>
                    </a:lnTo>
                    <a:lnTo>
                      <a:pt x="423" y="1078"/>
                    </a:lnTo>
                    <a:lnTo>
                      <a:pt x="437" y="1046"/>
                    </a:lnTo>
                    <a:lnTo>
                      <a:pt x="441" y="1014"/>
                    </a:lnTo>
                    <a:lnTo>
                      <a:pt x="446" y="977"/>
                    </a:lnTo>
                    <a:lnTo>
                      <a:pt x="441" y="945"/>
                    </a:lnTo>
                    <a:lnTo>
                      <a:pt x="451" y="924"/>
                    </a:lnTo>
                    <a:lnTo>
                      <a:pt x="456" y="908"/>
                    </a:lnTo>
                    <a:lnTo>
                      <a:pt x="484" y="887"/>
                    </a:lnTo>
                    <a:lnTo>
                      <a:pt x="511" y="877"/>
                    </a:lnTo>
                    <a:lnTo>
                      <a:pt x="536" y="887"/>
                    </a:lnTo>
                    <a:lnTo>
                      <a:pt x="544" y="893"/>
                    </a:lnTo>
                    <a:lnTo>
                      <a:pt x="558" y="872"/>
                    </a:lnTo>
                    <a:lnTo>
                      <a:pt x="558" y="846"/>
                    </a:lnTo>
                    <a:lnTo>
                      <a:pt x="544" y="798"/>
                    </a:lnTo>
                    <a:lnTo>
                      <a:pt x="539" y="778"/>
                    </a:lnTo>
                    <a:lnTo>
                      <a:pt x="544" y="766"/>
                    </a:lnTo>
                    <a:lnTo>
                      <a:pt x="553" y="766"/>
                    </a:lnTo>
                    <a:lnTo>
                      <a:pt x="563" y="751"/>
                    </a:lnTo>
                    <a:lnTo>
                      <a:pt x="568" y="719"/>
                    </a:lnTo>
                    <a:lnTo>
                      <a:pt x="572" y="677"/>
                    </a:lnTo>
                    <a:lnTo>
                      <a:pt x="577" y="635"/>
                    </a:lnTo>
                    <a:lnTo>
                      <a:pt x="591" y="618"/>
                    </a:lnTo>
                    <a:lnTo>
                      <a:pt x="619" y="598"/>
                    </a:lnTo>
                    <a:lnTo>
                      <a:pt x="638" y="587"/>
                    </a:lnTo>
                    <a:lnTo>
                      <a:pt x="643" y="556"/>
                    </a:lnTo>
                    <a:lnTo>
                      <a:pt x="652" y="534"/>
                    </a:lnTo>
                    <a:lnTo>
                      <a:pt x="676" y="513"/>
                    </a:lnTo>
                    <a:lnTo>
                      <a:pt x="681" y="497"/>
                    </a:lnTo>
                    <a:lnTo>
                      <a:pt x="676" y="482"/>
                    </a:lnTo>
                    <a:lnTo>
                      <a:pt x="676" y="460"/>
                    </a:lnTo>
                    <a:lnTo>
                      <a:pt x="695" y="445"/>
                    </a:lnTo>
                    <a:lnTo>
                      <a:pt x="718" y="398"/>
                    </a:lnTo>
                    <a:lnTo>
                      <a:pt x="734" y="402"/>
                    </a:lnTo>
                    <a:lnTo>
                      <a:pt x="762" y="376"/>
                    </a:lnTo>
                    <a:lnTo>
                      <a:pt x="758" y="355"/>
                    </a:lnTo>
                    <a:lnTo>
                      <a:pt x="776" y="334"/>
                    </a:lnTo>
                    <a:lnTo>
                      <a:pt x="786" y="340"/>
                    </a:lnTo>
                    <a:lnTo>
                      <a:pt x="805" y="334"/>
                    </a:lnTo>
                    <a:lnTo>
                      <a:pt x="833" y="340"/>
                    </a:lnTo>
                    <a:lnTo>
                      <a:pt x="870" y="303"/>
                    </a:lnTo>
                    <a:lnTo>
                      <a:pt x="866" y="281"/>
                    </a:lnTo>
                    <a:lnTo>
                      <a:pt x="870" y="271"/>
                    </a:lnTo>
                    <a:lnTo>
                      <a:pt x="861" y="267"/>
                    </a:lnTo>
                    <a:lnTo>
                      <a:pt x="880" y="247"/>
                    </a:lnTo>
                    <a:lnTo>
                      <a:pt x="908" y="243"/>
                    </a:lnTo>
                    <a:lnTo>
                      <a:pt x="927" y="271"/>
                    </a:lnTo>
                    <a:lnTo>
                      <a:pt x="960" y="312"/>
                    </a:lnTo>
                    <a:lnTo>
                      <a:pt x="974" y="312"/>
                    </a:lnTo>
                    <a:lnTo>
                      <a:pt x="993" y="297"/>
                    </a:lnTo>
                    <a:lnTo>
                      <a:pt x="1007" y="293"/>
                    </a:lnTo>
                    <a:lnTo>
                      <a:pt x="1016" y="297"/>
                    </a:lnTo>
                    <a:lnTo>
                      <a:pt x="1031" y="312"/>
                    </a:lnTo>
                    <a:lnTo>
                      <a:pt x="1048" y="318"/>
                    </a:lnTo>
                    <a:lnTo>
                      <a:pt x="1053" y="312"/>
                    </a:lnTo>
                    <a:lnTo>
                      <a:pt x="1062" y="293"/>
                    </a:lnTo>
                    <a:lnTo>
                      <a:pt x="1067" y="281"/>
                    </a:lnTo>
                    <a:lnTo>
                      <a:pt x="1086" y="247"/>
                    </a:lnTo>
                    <a:lnTo>
                      <a:pt x="1091" y="243"/>
                    </a:lnTo>
                    <a:lnTo>
                      <a:pt x="1086" y="189"/>
                    </a:lnTo>
                    <a:lnTo>
                      <a:pt x="1110" y="163"/>
                    </a:lnTo>
                    <a:lnTo>
                      <a:pt x="1119" y="169"/>
                    </a:lnTo>
                    <a:lnTo>
                      <a:pt x="1147" y="136"/>
                    </a:lnTo>
                    <a:lnTo>
                      <a:pt x="1171" y="169"/>
                    </a:lnTo>
                    <a:lnTo>
                      <a:pt x="1180" y="179"/>
                    </a:lnTo>
                    <a:lnTo>
                      <a:pt x="1194" y="173"/>
                    </a:lnTo>
                    <a:lnTo>
                      <a:pt x="1204" y="189"/>
                    </a:lnTo>
                    <a:lnTo>
                      <a:pt x="1204" y="200"/>
                    </a:lnTo>
                    <a:lnTo>
                      <a:pt x="1213" y="210"/>
                    </a:lnTo>
                    <a:lnTo>
                      <a:pt x="1213" y="226"/>
                    </a:lnTo>
                    <a:lnTo>
                      <a:pt x="1227" y="206"/>
                    </a:lnTo>
                    <a:lnTo>
                      <a:pt x="1251" y="184"/>
                    </a:lnTo>
                    <a:lnTo>
                      <a:pt x="1265" y="152"/>
                    </a:lnTo>
                    <a:lnTo>
                      <a:pt x="1255" y="147"/>
                    </a:lnTo>
                    <a:lnTo>
                      <a:pt x="1241" y="163"/>
                    </a:lnTo>
                    <a:lnTo>
                      <a:pt x="1237" y="136"/>
                    </a:lnTo>
                    <a:lnTo>
                      <a:pt x="1227" y="132"/>
                    </a:lnTo>
                    <a:lnTo>
                      <a:pt x="1223" y="116"/>
                    </a:lnTo>
                    <a:lnTo>
                      <a:pt x="1260" y="83"/>
                    </a:lnTo>
                    <a:lnTo>
                      <a:pt x="1274" y="89"/>
                    </a:lnTo>
                    <a:lnTo>
                      <a:pt x="1279" y="68"/>
                    </a:lnTo>
                    <a:lnTo>
                      <a:pt x="1270" y="62"/>
                    </a:lnTo>
                    <a:lnTo>
                      <a:pt x="1246" y="52"/>
                    </a:lnTo>
                    <a:lnTo>
                      <a:pt x="1232" y="46"/>
                    </a:lnTo>
                    <a:lnTo>
                      <a:pt x="1213" y="27"/>
                    </a:lnTo>
                    <a:lnTo>
                      <a:pt x="1194" y="21"/>
                    </a:lnTo>
                    <a:lnTo>
                      <a:pt x="1175" y="42"/>
                    </a:lnTo>
                    <a:lnTo>
                      <a:pt x="1166" y="58"/>
                    </a:lnTo>
                    <a:lnTo>
                      <a:pt x="1147" y="42"/>
                    </a:lnTo>
                    <a:lnTo>
                      <a:pt x="1157" y="31"/>
                    </a:lnTo>
                    <a:lnTo>
                      <a:pt x="1161" y="5"/>
                    </a:lnTo>
                    <a:lnTo>
                      <a:pt x="1157" y="0"/>
                    </a:lnTo>
                    <a:lnTo>
                      <a:pt x="1133" y="0"/>
                    </a:lnTo>
                    <a:lnTo>
                      <a:pt x="1128" y="10"/>
                    </a:lnTo>
                    <a:lnTo>
                      <a:pt x="1124" y="27"/>
                    </a:lnTo>
                    <a:lnTo>
                      <a:pt x="1128" y="42"/>
                    </a:lnTo>
                    <a:lnTo>
                      <a:pt x="1110" y="62"/>
                    </a:lnTo>
                    <a:lnTo>
                      <a:pt x="1095" y="31"/>
                    </a:lnTo>
                    <a:lnTo>
                      <a:pt x="1081" y="37"/>
                    </a:lnTo>
                    <a:lnTo>
                      <a:pt x="1078" y="62"/>
                    </a:lnTo>
                    <a:lnTo>
                      <a:pt x="1067" y="99"/>
                    </a:lnTo>
                    <a:lnTo>
                      <a:pt x="1045" y="126"/>
                    </a:lnTo>
                    <a:lnTo>
                      <a:pt x="1031" y="95"/>
                    </a:lnTo>
                    <a:lnTo>
                      <a:pt x="1053" y="74"/>
                    </a:lnTo>
                    <a:lnTo>
                      <a:pt x="1059" y="42"/>
                    </a:lnTo>
                    <a:lnTo>
                      <a:pt x="1045" y="42"/>
                    </a:lnTo>
                    <a:lnTo>
                      <a:pt x="1021" y="42"/>
                    </a:lnTo>
                    <a:lnTo>
                      <a:pt x="1002" y="74"/>
                    </a:lnTo>
                    <a:lnTo>
                      <a:pt x="979" y="116"/>
                    </a:lnTo>
                    <a:lnTo>
                      <a:pt x="988" y="136"/>
                    </a:lnTo>
                    <a:lnTo>
                      <a:pt x="974" y="147"/>
                    </a:lnTo>
                    <a:lnTo>
                      <a:pt x="955" y="132"/>
                    </a:lnTo>
                    <a:lnTo>
                      <a:pt x="936" y="142"/>
                    </a:lnTo>
                    <a:lnTo>
                      <a:pt x="941" y="163"/>
                    </a:lnTo>
                    <a:lnTo>
                      <a:pt x="918" y="163"/>
                    </a:lnTo>
                    <a:lnTo>
                      <a:pt x="903" y="169"/>
                    </a:lnTo>
                    <a:lnTo>
                      <a:pt x="885" y="194"/>
                    </a:lnTo>
                    <a:lnTo>
                      <a:pt x="861" y="189"/>
                    </a:lnTo>
                    <a:lnTo>
                      <a:pt x="861" y="206"/>
                    </a:lnTo>
                    <a:lnTo>
                      <a:pt x="842" y="189"/>
                    </a:lnTo>
                    <a:lnTo>
                      <a:pt x="819" y="200"/>
                    </a:lnTo>
                    <a:lnTo>
                      <a:pt x="814" y="221"/>
                    </a:lnTo>
                    <a:lnTo>
                      <a:pt x="795" y="226"/>
                    </a:lnTo>
                    <a:lnTo>
                      <a:pt x="781" y="206"/>
                    </a:lnTo>
                    <a:lnTo>
                      <a:pt x="753" y="210"/>
                    </a:lnTo>
                    <a:lnTo>
                      <a:pt x="725" y="221"/>
                    </a:lnTo>
                    <a:lnTo>
                      <a:pt x="725" y="253"/>
                    </a:lnTo>
                    <a:lnTo>
                      <a:pt x="743" y="258"/>
                    </a:lnTo>
                    <a:lnTo>
                      <a:pt x="743" y="267"/>
                    </a:lnTo>
                    <a:lnTo>
                      <a:pt x="743" y="287"/>
                    </a:lnTo>
                    <a:lnTo>
                      <a:pt x="729" y="281"/>
                    </a:lnTo>
                    <a:lnTo>
                      <a:pt x="713" y="293"/>
                    </a:lnTo>
                    <a:lnTo>
                      <a:pt x="718" y="312"/>
                    </a:lnTo>
                    <a:lnTo>
                      <a:pt x="734" y="330"/>
                    </a:lnTo>
                    <a:lnTo>
                      <a:pt x="734" y="355"/>
                    </a:lnTo>
                    <a:lnTo>
                      <a:pt x="718" y="345"/>
                    </a:lnTo>
                    <a:lnTo>
                      <a:pt x="704" y="349"/>
                    </a:lnTo>
                    <a:lnTo>
                      <a:pt x="704" y="371"/>
                    </a:lnTo>
                    <a:lnTo>
                      <a:pt x="681" y="371"/>
                    </a:lnTo>
                    <a:lnTo>
                      <a:pt x="662" y="371"/>
                    </a:lnTo>
                    <a:lnTo>
                      <a:pt x="657" y="386"/>
                    </a:lnTo>
                    <a:lnTo>
                      <a:pt x="652" y="398"/>
                    </a:lnTo>
                    <a:lnTo>
                      <a:pt x="638" y="402"/>
                    </a:lnTo>
                    <a:lnTo>
                      <a:pt x="633" y="413"/>
                    </a:lnTo>
                    <a:lnTo>
                      <a:pt x="638" y="429"/>
                    </a:lnTo>
                    <a:lnTo>
                      <a:pt x="610" y="439"/>
                    </a:lnTo>
                    <a:lnTo>
                      <a:pt x="629" y="460"/>
                    </a:lnTo>
                    <a:lnTo>
                      <a:pt x="633" y="472"/>
                    </a:lnTo>
                    <a:lnTo>
                      <a:pt x="615" y="487"/>
                    </a:lnTo>
                    <a:lnTo>
                      <a:pt x="582" y="513"/>
                    </a:lnTo>
                    <a:lnTo>
                      <a:pt x="558" y="534"/>
                    </a:lnTo>
                    <a:lnTo>
                      <a:pt x="544" y="566"/>
                    </a:lnTo>
                    <a:lnTo>
                      <a:pt x="520" y="587"/>
                    </a:lnTo>
                    <a:lnTo>
                      <a:pt x="520" y="603"/>
                    </a:lnTo>
                    <a:lnTo>
                      <a:pt x="525" y="618"/>
                    </a:lnTo>
                    <a:lnTo>
                      <a:pt x="506" y="635"/>
                    </a:lnTo>
                    <a:lnTo>
                      <a:pt x="511" y="655"/>
                    </a:lnTo>
                    <a:lnTo>
                      <a:pt x="492" y="692"/>
                    </a:lnTo>
                    <a:lnTo>
                      <a:pt x="479" y="698"/>
                    </a:lnTo>
                    <a:lnTo>
                      <a:pt x="479" y="725"/>
                    </a:lnTo>
                    <a:lnTo>
                      <a:pt x="489" y="741"/>
                    </a:lnTo>
                    <a:lnTo>
                      <a:pt x="473" y="756"/>
                    </a:lnTo>
                    <a:lnTo>
                      <a:pt x="465" y="745"/>
                    </a:lnTo>
                    <a:lnTo>
                      <a:pt x="446" y="756"/>
                    </a:lnTo>
                    <a:lnTo>
                      <a:pt x="451" y="788"/>
                    </a:lnTo>
                    <a:lnTo>
                      <a:pt x="432" y="798"/>
                    </a:lnTo>
                    <a:lnTo>
                      <a:pt x="404" y="803"/>
                    </a:lnTo>
                    <a:lnTo>
                      <a:pt x="385" y="830"/>
                    </a:lnTo>
                    <a:lnTo>
                      <a:pt x="380" y="856"/>
                    </a:lnTo>
                    <a:lnTo>
                      <a:pt x="361" y="877"/>
                    </a:lnTo>
                    <a:lnTo>
                      <a:pt x="361" y="893"/>
                    </a:lnTo>
                    <a:lnTo>
                      <a:pt x="385" y="872"/>
                    </a:lnTo>
                    <a:lnTo>
                      <a:pt x="413" y="850"/>
                    </a:lnTo>
                    <a:lnTo>
                      <a:pt x="423" y="856"/>
                    </a:lnTo>
                    <a:lnTo>
                      <a:pt x="413" y="887"/>
                    </a:lnTo>
                    <a:lnTo>
                      <a:pt x="390" y="904"/>
                    </a:lnTo>
                    <a:lnTo>
                      <a:pt x="366" y="899"/>
                    </a:lnTo>
                    <a:lnTo>
                      <a:pt x="371" y="920"/>
                    </a:lnTo>
                    <a:lnTo>
                      <a:pt x="338" y="936"/>
                    </a:lnTo>
                    <a:lnTo>
                      <a:pt x="333" y="904"/>
                    </a:lnTo>
                    <a:lnTo>
                      <a:pt x="319" y="893"/>
                    </a:lnTo>
                    <a:lnTo>
                      <a:pt x="300" y="924"/>
                    </a:lnTo>
                    <a:lnTo>
                      <a:pt x="281" y="924"/>
                    </a:lnTo>
                    <a:lnTo>
                      <a:pt x="261" y="930"/>
                    </a:lnTo>
                    <a:lnTo>
                      <a:pt x="258" y="957"/>
                    </a:lnTo>
                    <a:lnTo>
                      <a:pt x="248" y="961"/>
                    </a:lnTo>
                    <a:lnTo>
                      <a:pt x="248" y="975"/>
                    </a:lnTo>
                    <a:lnTo>
                      <a:pt x="237" y="970"/>
                    </a:lnTo>
                    <a:lnTo>
                      <a:pt x="220" y="958"/>
                    </a:lnTo>
                    <a:lnTo>
                      <a:pt x="195" y="961"/>
                    </a:lnTo>
                    <a:lnTo>
                      <a:pt x="195" y="977"/>
                    </a:lnTo>
                    <a:lnTo>
                      <a:pt x="197" y="991"/>
                    </a:lnTo>
                    <a:lnTo>
                      <a:pt x="187" y="995"/>
                    </a:lnTo>
                    <a:lnTo>
                      <a:pt x="164" y="982"/>
                    </a:lnTo>
                    <a:lnTo>
                      <a:pt x="143" y="1001"/>
                    </a:lnTo>
                    <a:lnTo>
                      <a:pt x="148" y="1017"/>
                    </a:lnTo>
                    <a:lnTo>
                      <a:pt x="145" y="1028"/>
                    </a:lnTo>
                    <a:lnTo>
                      <a:pt x="124" y="1017"/>
                    </a:lnTo>
                    <a:lnTo>
                      <a:pt x="118" y="1031"/>
                    </a:lnTo>
                    <a:lnTo>
                      <a:pt x="110" y="1041"/>
                    </a:lnTo>
                    <a:lnTo>
                      <a:pt x="85" y="1035"/>
                    </a:lnTo>
                    <a:lnTo>
                      <a:pt x="71" y="1038"/>
                    </a:lnTo>
                    <a:lnTo>
                      <a:pt x="68" y="1059"/>
                    </a:lnTo>
                    <a:lnTo>
                      <a:pt x="58" y="1065"/>
                    </a:lnTo>
                    <a:lnTo>
                      <a:pt x="44" y="1088"/>
                    </a:lnTo>
                    <a:lnTo>
                      <a:pt x="47" y="1118"/>
                    </a:lnTo>
                    <a:lnTo>
                      <a:pt x="42" y="1159"/>
                    </a:lnTo>
                    <a:lnTo>
                      <a:pt x="35" y="1202"/>
                    </a:lnTo>
                    <a:lnTo>
                      <a:pt x="30" y="1241"/>
                    </a:lnTo>
                    <a:lnTo>
                      <a:pt x="25" y="1261"/>
                    </a:lnTo>
                    <a:lnTo>
                      <a:pt x="38" y="1280"/>
                    </a:lnTo>
                    <a:lnTo>
                      <a:pt x="58" y="1264"/>
                    </a:lnTo>
                    <a:lnTo>
                      <a:pt x="72" y="1273"/>
                    </a:lnTo>
                    <a:lnTo>
                      <a:pt x="72" y="1288"/>
                    </a:lnTo>
                    <a:lnTo>
                      <a:pt x="52" y="1301"/>
                    </a:lnTo>
                    <a:lnTo>
                      <a:pt x="49" y="1328"/>
                    </a:lnTo>
                    <a:lnTo>
                      <a:pt x="44" y="1341"/>
                    </a:lnTo>
                    <a:lnTo>
                      <a:pt x="24" y="1338"/>
                    </a:lnTo>
                    <a:lnTo>
                      <a:pt x="16" y="1369"/>
                    </a:lnTo>
                    <a:lnTo>
                      <a:pt x="25" y="1378"/>
                    </a:lnTo>
                    <a:lnTo>
                      <a:pt x="44" y="1372"/>
                    </a:lnTo>
                    <a:lnTo>
                      <a:pt x="54" y="1386"/>
                    </a:lnTo>
                    <a:lnTo>
                      <a:pt x="56" y="1394"/>
                    </a:lnTo>
                    <a:lnTo>
                      <a:pt x="40" y="1405"/>
                    </a:lnTo>
                    <a:lnTo>
                      <a:pt x="42" y="1423"/>
                    </a:lnTo>
                    <a:lnTo>
                      <a:pt x="24" y="1428"/>
                    </a:lnTo>
                    <a:lnTo>
                      <a:pt x="11" y="1418"/>
                    </a:lnTo>
                    <a:lnTo>
                      <a:pt x="14" y="1443"/>
                    </a:lnTo>
                    <a:lnTo>
                      <a:pt x="11" y="1462"/>
                    </a:lnTo>
                    <a:lnTo>
                      <a:pt x="0" y="1462"/>
                    </a:lnTo>
                    <a:lnTo>
                      <a:pt x="28" y="1495"/>
                    </a:lnTo>
                    <a:lnTo>
                      <a:pt x="42" y="1513"/>
                    </a:lnTo>
                    <a:lnTo>
                      <a:pt x="49" y="1539"/>
                    </a:lnTo>
                    <a:lnTo>
                      <a:pt x="77" y="1557"/>
                    </a:lnTo>
                    <a:lnTo>
                      <a:pt x="107" y="1576"/>
                    </a:lnTo>
                    <a:lnTo>
                      <a:pt x="137" y="1576"/>
                    </a:lnTo>
                    <a:lnTo>
                      <a:pt x="178" y="1544"/>
                    </a:lnTo>
                    <a:lnTo>
                      <a:pt x="220" y="1510"/>
                    </a:lnTo>
                    <a:lnTo>
                      <a:pt x="258" y="1452"/>
                    </a:lnTo>
                    <a:lnTo>
                      <a:pt x="265" y="1446"/>
                    </a:lnTo>
                    <a:lnTo>
                      <a:pt x="275" y="1465"/>
                    </a:lnTo>
                    <a:lnTo>
                      <a:pt x="294" y="1452"/>
                    </a:lnTo>
                    <a:lnTo>
                      <a:pt x="300" y="1431"/>
                    </a:lnTo>
                    <a:lnTo>
                      <a:pt x="302" y="1405"/>
                    </a:lnTo>
                    <a:lnTo>
                      <a:pt x="321" y="1372"/>
                    </a:lnTo>
                    <a:lnTo>
                      <a:pt x="314" y="1409"/>
                    </a:lnTo>
                    <a:lnTo>
                      <a:pt x="324" y="1415"/>
                    </a:lnTo>
                    <a:lnTo>
                      <a:pt x="319" y="1431"/>
                    </a:lnTo>
                    <a:lnTo>
                      <a:pt x="324" y="1459"/>
                    </a:lnTo>
                    <a:lnTo>
                      <a:pt x="333" y="1483"/>
                    </a:lnTo>
                    <a:lnTo>
                      <a:pt x="344" y="1476"/>
                    </a:lnTo>
                    <a:lnTo>
                      <a:pt x="343" y="1483"/>
                    </a:lnTo>
                    <a:close/>
                  </a:path>
                </a:pathLst>
              </a:custGeom>
              <a:solidFill>
                <a:schemeClr val="accent5">
                  <a:lumMod val="20000"/>
                  <a:lumOff val="80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1" name="Freeform 553"/>
              <p:cNvSpPr>
                <a:spLocks noChangeAspect="1"/>
              </p:cNvSpPr>
              <p:nvPr/>
            </p:nvSpPr>
            <p:spPr bwMode="auto">
              <a:xfrm>
                <a:off x="2537422" y="1148650"/>
                <a:ext cx="36" cy="42"/>
              </a:xfrm>
              <a:custGeom>
                <a:avLst/>
                <a:gdLst>
                  <a:gd name="T0" fmla="*/ 38 w 38"/>
                  <a:gd name="T1" fmla="*/ 9 h 56"/>
                  <a:gd name="T2" fmla="*/ 34 w 38"/>
                  <a:gd name="T3" fmla="*/ 21 h 56"/>
                  <a:gd name="T4" fmla="*/ 38 w 38"/>
                  <a:gd name="T5" fmla="*/ 47 h 56"/>
                  <a:gd name="T6" fmla="*/ 11 w 38"/>
                  <a:gd name="T7" fmla="*/ 56 h 56"/>
                  <a:gd name="T8" fmla="*/ 0 w 38"/>
                  <a:gd name="T9" fmla="*/ 43 h 56"/>
                  <a:gd name="T10" fmla="*/ 0 w 38"/>
                  <a:gd name="T11" fmla="*/ 21 h 56"/>
                  <a:gd name="T12" fmla="*/ 8 w 38"/>
                  <a:gd name="T13" fmla="*/ 0 h 56"/>
                  <a:gd name="T14" fmla="*/ 38 w 38"/>
                  <a:gd name="T15" fmla="*/ 9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56">
                    <a:moveTo>
                      <a:pt x="38" y="9"/>
                    </a:moveTo>
                    <a:lnTo>
                      <a:pt x="34" y="21"/>
                    </a:lnTo>
                    <a:lnTo>
                      <a:pt x="38" y="47"/>
                    </a:lnTo>
                    <a:lnTo>
                      <a:pt x="11" y="56"/>
                    </a:lnTo>
                    <a:lnTo>
                      <a:pt x="0" y="43"/>
                    </a:lnTo>
                    <a:lnTo>
                      <a:pt x="0" y="21"/>
                    </a:lnTo>
                    <a:lnTo>
                      <a:pt x="8" y="0"/>
                    </a:lnTo>
                    <a:lnTo>
                      <a:pt x="38" y="9"/>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2" name="Freeform 554"/>
              <p:cNvSpPr>
                <a:spLocks noChangeAspect="1"/>
              </p:cNvSpPr>
              <p:nvPr/>
            </p:nvSpPr>
            <p:spPr bwMode="auto">
              <a:xfrm>
                <a:off x="2537367" y="1148679"/>
                <a:ext cx="32" cy="22"/>
              </a:xfrm>
              <a:custGeom>
                <a:avLst/>
                <a:gdLst>
                  <a:gd name="T0" fmla="*/ 31 w 34"/>
                  <a:gd name="T1" fmla="*/ 0 h 30"/>
                  <a:gd name="T2" fmla="*/ 34 w 34"/>
                  <a:gd name="T3" fmla="*/ 22 h 30"/>
                  <a:gd name="T4" fmla="*/ 8 w 34"/>
                  <a:gd name="T5" fmla="*/ 30 h 30"/>
                  <a:gd name="T6" fmla="*/ 0 w 34"/>
                  <a:gd name="T7" fmla="*/ 9 h 30"/>
                  <a:gd name="T8" fmla="*/ 31 w 34"/>
                  <a:gd name="T9" fmla="*/ 0 h 30"/>
                </a:gdLst>
                <a:ahLst/>
                <a:cxnLst>
                  <a:cxn ang="0">
                    <a:pos x="T0" y="T1"/>
                  </a:cxn>
                  <a:cxn ang="0">
                    <a:pos x="T2" y="T3"/>
                  </a:cxn>
                  <a:cxn ang="0">
                    <a:pos x="T4" y="T5"/>
                  </a:cxn>
                  <a:cxn ang="0">
                    <a:pos x="T6" y="T7"/>
                  </a:cxn>
                  <a:cxn ang="0">
                    <a:pos x="T8" y="T9"/>
                  </a:cxn>
                </a:cxnLst>
                <a:rect l="0" t="0" r="r" b="b"/>
                <a:pathLst>
                  <a:path w="34" h="30">
                    <a:moveTo>
                      <a:pt x="31" y="0"/>
                    </a:moveTo>
                    <a:lnTo>
                      <a:pt x="34" y="22"/>
                    </a:lnTo>
                    <a:lnTo>
                      <a:pt x="8" y="30"/>
                    </a:lnTo>
                    <a:lnTo>
                      <a:pt x="0" y="9"/>
                    </a:lnTo>
                    <a:lnTo>
                      <a:pt x="31"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3" name="Freeform 555"/>
              <p:cNvSpPr>
                <a:spLocks noChangeAspect="1"/>
              </p:cNvSpPr>
              <p:nvPr/>
            </p:nvSpPr>
            <p:spPr bwMode="auto">
              <a:xfrm>
                <a:off x="2537376" y="1148632"/>
                <a:ext cx="40" cy="27"/>
              </a:xfrm>
              <a:custGeom>
                <a:avLst/>
                <a:gdLst>
                  <a:gd name="T0" fmla="*/ 0 w 41"/>
                  <a:gd name="T1" fmla="*/ 23 h 36"/>
                  <a:gd name="T2" fmla="*/ 30 w 41"/>
                  <a:gd name="T3" fmla="*/ 36 h 36"/>
                  <a:gd name="T4" fmla="*/ 41 w 41"/>
                  <a:gd name="T5" fmla="*/ 9 h 36"/>
                  <a:gd name="T6" fmla="*/ 22 w 41"/>
                  <a:gd name="T7" fmla="*/ 0 h 36"/>
                  <a:gd name="T8" fmla="*/ 11 w 41"/>
                  <a:gd name="T9" fmla="*/ 9 h 36"/>
                  <a:gd name="T10" fmla="*/ 0 w 41"/>
                  <a:gd name="T11" fmla="*/ 16 h 36"/>
                  <a:gd name="T12" fmla="*/ 0 w 41"/>
                  <a:gd name="T13" fmla="*/ 23 h 36"/>
                </a:gdLst>
                <a:ahLst/>
                <a:cxnLst>
                  <a:cxn ang="0">
                    <a:pos x="T0" y="T1"/>
                  </a:cxn>
                  <a:cxn ang="0">
                    <a:pos x="T2" y="T3"/>
                  </a:cxn>
                  <a:cxn ang="0">
                    <a:pos x="T4" y="T5"/>
                  </a:cxn>
                  <a:cxn ang="0">
                    <a:pos x="T6" y="T7"/>
                  </a:cxn>
                  <a:cxn ang="0">
                    <a:pos x="T8" y="T9"/>
                  </a:cxn>
                  <a:cxn ang="0">
                    <a:pos x="T10" y="T11"/>
                  </a:cxn>
                  <a:cxn ang="0">
                    <a:pos x="T12" y="T13"/>
                  </a:cxn>
                </a:cxnLst>
                <a:rect l="0" t="0" r="r" b="b"/>
                <a:pathLst>
                  <a:path w="41" h="36">
                    <a:moveTo>
                      <a:pt x="0" y="23"/>
                    </a:moveTo>
                    <a:lnTo>
                      <a:pt x="30" y="36"/>
                    </a:lnTo>
                    <a:lnTo>
                      <a:pt x="41" y="9"/>
                    </a:lnTo>
                    <a:lnTo>
                      <a:pt x="22" y="0"/>
                    </a:lnTo>
                    <a:lnTo>
                      <a:pt x="11" y="9"/>
                    </a:lnTo>
                    <a:lnTo>
                      <a:pt x="0" y="16"/>
                    </a:lnTo>
                    <a:lnTo>
                      <a:pt x="0" y="23"/>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4" name="Freeform 556"/>
              <p:cNvSpPr>
                <a:spLocks noChangeAspect="1"/>
              </p:cNvSpPr>
              <p:nvPr/>
            </p:nvSpPr>
            <p:spPr bwMode="auto">
              <a:xfrm>
                <a:off x="2537422" y="1148608"/>
                <a:ext cx="29" cy="17"/>
              </a:xfrm>
              <a:custGeom>
                <a:avLst/>
                <a:gdLst>
                  <a:gd name="T0" fmla="*/ 0 w 30"/>
                  <a:gd name="T1" fmla="*/ 22 h 22"/>
                  <a:gd name="T2" fmla="*/ 23 w 30"/>
                  <a:gd name="T3" fmla="*/ 0 h 22"/>
                  <a:gd name="T4" fmla="*/ 30 w 30"/>
                  <a:gd name="T5" fmla="*/ 8 h 22"/>
                  <a:gd name="T6" fmla="*/ 0 w 30"/>
                  <a:gd name="T7" fmla="*/ 22 h 22"/>
                </a:gdLst>
                <a:ahLst/>
                <a:cxnLst>
                  <a:cxn ang="0">
                    <a:pos x="T0" y="T1"/>
                  </a:cxn>
                  <a:cxn ang="0">
                    <a:pos x="T2" y="T3"/>
                  </a:cxn>
                  <a:cxn ang="0">
                    <a:pos x="T4" y="T5"/>
                  </a:cxn>
                  <a:cxn ang="0">
                    <a:pos x="T6" y="T7"/>
                  </a:cxn>
                </a:cxnLst>
                <a:rect l="0" t="0" r="r" b="b"/>
                <a:pathLst>
                  <a:path w="30" h="22">
                    <a:moveTo>
                      <a:pt x="0" y="22"/>
                    </a:moveTo>
                    <a:lnTo>
                      <a:pt x="23" y="0"/>
                    </a:lnTo>
                    <a:lnTo>
                      <a:pt x="30" y="8"/>
                    </a:lnTo>
                    <a:lnTo>
                      <a:pt x="0" y="22"/>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5" name="Freeform 557"/>
              <p:cNvSpPr>
                <a:spLocks noChangeAspect="1"/>
              </p:cNvSpPr>
              <p:nvPr/>
            </p:nvSpPr>
            <p:spPr bwMode="auto">
              <a:xfrm>
                <a:off x="2537321" y="1148688"/>
                <a:ext cx="20" cy="19"/>
              </a:xfrm>
              <a:custGeom>
                <a:avLst/>
                <a:gdLst>
                  <a:gd name="T0" fmla="*/ 19 w 23"/>
                  <a:gd name="T1" fmla="*/ 0 h 26"/>
                  <a:gd name="T2" fmla="*/ 23 w 23"/>
                  <a:gd name="T3" fmla="*/ 22 h 26"/>
                  <a:gd name="T4" fmla="*/ 0 w 23"/>
                  <a:gd name="T5" fmla="*/ 26 h 26"/>
                  <a:gd name="T6" fmla="*/ 19 w 23"/>
                  <a:gd name="T7" fmla="*/ 0 h 26"/>
                </a:gdLst>
                <a:ahLst/>
                <a:cxnLst>
                  <a:cxn ang="0">
                    <a:pos x="T0" y="T1"/>
                  </a:cxn>
                  <a:cxn ang="0">
                    <a:pos x="T2" y="T3"/>
                  </a:cxn>
                  <a:cxn ang="0">
                    <a:pos x="T4" y="T5"/>
                  </a:cxn>
                  <a:cxn ang="0">
                    <a:pos x="T6" y="T7"/>
                  </a:cxn>
                </a:cxnLst>
                <a:rect l="0" t="0" r="r" b="b"/>
                <a:pathLst>
                  <a:path w="23" h="26">
                    <a:moveTo>
                      <a:pt x="19" y="0"/>
                    </a:moveTo>
                    <a:lnTo>
                      <a:pt x="23" y="22"/>
                    </a:lnTo>
                    <a:lnTo>
                      <a:pt x="0" y="26"/>
                    </a:lnTo>
                    <a:lnTo>
                      <a:pt x="19"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6" name="Freeform 558"/>
              <p:cNvSpPr>
                <a:spLocks noChangeAspect="1"/>
              </p:cNvSpPr>
              <p:nvPr/>
            </p:nvSpPr>
            <p:spPr bwMode="auto">
              <a:xfrm>
                <a:off x="2537543" y="1148555"/>
                <a:ext cx="40" cy="29"/>
              </a:xfrm>
              <a:custGeom>
                <a:avLst/>
                <a:gdLst>
                  <a:gd name="T0" fmla="*/ 19 w 42"/>
                  <a:gd name="T1" fmla="*/ 0 h 38"/>
                  <a:gd name="T2" fmla="*/ 0 w 42"/>
                  <a:gd name="T3" fmla="*/ 17 h 38"/>
                  <a:gd name="T4" fmla="*/ 27 w 42"/>
                  <a:gd name="T5" fmla="*/ 38 h 38"/>
                  <a:gd name="T6" fmla="*/ 42 w 42"/>
                  <a:gd name="T7" fmla="*/ 17 h 38"/>
                  <a:gd name="T8" fmla="*/ 19 w 42"/>
                  <a:gd name="T9" fmla="*/ 0 h 38"/>
                </a:gdLst>
                <a:ahLst/>
                <a:cxnLst>
                  <a:cxn ang="0">
                    <a:pos x="T0" y="T1"/>
                  </a:cxn>
                  <a:cxn ang="0">
                    <a:pos x="T2" y="T3"/>
                  </a:cxn>
                  <a:cxn ang="0">
                    <a:pos x="T4" y="T5"/>
                  </a:cxn>
                  <a:cxn ang="0">
                    <a:pos x="T6" y="T7"/>
                  </a:cxn>
                  <a:cxn ang="0">
                    <a:pos x="T8" y="T9"/>
                  </a:cxn>
                </a:cxnLst>
                <a:rect l="0" t="0" r="r" b="b"/>
                <a:pathLst>
                  <a:path w="42" h="38">
                    <a:moveTo>
                      <a:pt x="19" y="0"/>
                    </a:moveTo>
                    <a:lnTo>
                      <a:pt x="0" y="17"/>
                    </a:lnTo>
                    <a:lnTo>
                      <a:pt x="27" y="38"/>
                    </a:lnTo>
                    <a:lnTo>
                      <a:pt x="42" y="17"/>
                    </a:lnTo>
                    <a:lnTo>
                      <a:pt x="19"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7" name="Freeform 559"/>
              <p:cNvSpPr>
                <a:spLocks noChangeAspect="1"/>
              </p:cNvSpPr>
              <p:nvPr/>
            </p:nvSpPr>
            <p:spPr bwMode="auto">
              <a:xfrm>
                <a:off x="2537579" y="1148530"/>
                <a:ext cx="40" cy="28"/>
              </a:xfrm>
              <a:custGeom>
                <a:avLst/>
                <a:gdLst>
                  <a:gd name="T0" fmla="*/ 0 w 42"/>
                  <a:gd name="T1" fmla="*/ 13 h 38"/>
                  <a:gd name="T2" fmla="*/ 19 w 42"/>
                  <a:gd name="T3" fmla="*/ 38 h 38"/>
                  <a:gd name="T4" fmla="*/ 42 w 42"/>
                  <a:gd name="T5" fmla="*/ 21 h 38"/>
                  <a:gd name="T6" fmla="*/ 23 w 42"/>
                  <a:gd name="T7" fmla="*/ 0 h 38"/>
                  <a:gd name="T8" fmla="*/ 0 w 42"/>
                  <a:gd name="T9" fmla="*/ 13 h 38"/>
                </a:gdLst>
                <a:ahLst/>
                <a:cxnLst>
                  <a:cxn ang="0">
                    <a:pos x="T0" y="T1"/>
                  </a:cxn>
                  <a:cxn ang="0">
                    <a:pos x="T2" y="T3"/>
                  </a:cxn>
                  <a:cxn ang="0">
                    <a:pos x="T4" y="T5"/>
                  </a:cxn>
                  <a:cxn ang="0">
                    <a:pos x="T6" y="T7"/>
                  </a:cxn>
                  <a:cxn ang="0">
                    <a:pos x="T8" y="T9"/>
                  </a:cxn>
                </a:cxnLst>
                <a:rect l="0" t="0" r="r" b="b"/>
                <a:pathLst>
                  <a:path w="42" h="38">
                    <a:moveTo>
                      <a:pt x="0" y="13"/>
                    </a:moveTo>
                    <a:lnTo>
                      <a:pt x="19" y="38"/>
                    </a:lnTo>
                    <a:lnTo>
                      <a:pt x="42" y="21"/>
                    </a:lnTo>
                    <a:lnTo>
                      <a:pt x="23" y="0"/>
                    </a:lnTo>
                    <a:lnTo>
                      <a:pt x="0" y="13"/>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8" name="Freeform 560"/>
              <p:cNvSpPr>
                <a:spLocks noChangeAspect="1"/>
              </p:cNvSpPr>
              <p:nvPr/>
            </p:nvSpPr>
            <p:spPr bwMode="auto">
              <a:xfrm>
                <a:off x="2537682" y="1148475"/>
                <a:ext cx="58" cy="35"/>
              </a:xfrm>
              <a:custGeom>
                <a:avLst/>
                <a:gdLst>
                  <a:gd name="T0" fmla="*/ 26 w 60"/>
                  <a:gd name="T1" fmla="*/ 13 h 47"/>
                  <a:gd name="T2" fmla="*/ 38 w 60"/>
                  <a:gd name="T3" fmla="*/ 22 h 47"/>
                  <a:gd name="T4" fmla="*/ 60 w 60"/>
                  <a:gd name="T5" fmla="*/ 0 h 47"/>
                  <a:gd name="T6" fmla="*/ 49 w 60"/>
                  <a:gd name="T7" fmla="*/ 43 h 47"/>
                  <a:gd name="T8" fmla="*/ 26 w 60"/>
                  <a:gd name="T9" fmla="*/ 47 h 47"/>
                  <a:gd name="T10" fmla="*/ 0 w 60"/>
                  <a:gd name="T11" fmla="*/ 17 h 47"/>
                  <a:gd name="T12" fmla="*/ 26 w 60"/>
                  <a:gd name="T13" fmla="*/ 13 h 47"/>
                </a:gdLst>
                <a:ahLst/>
                <a:cxnLst>
                  <a:cxn ang="0">
                    <a:pos x="T0" y="T1"/>
                  </a:cxn>
                  <a:cxn ang="0">
                    <a:pos x="T2" y="T3"/>
                  </a:cxn>
                  <a:cxn ang="0">
                    <a:pos x="T4" y="T5"/>
                  </a:cxn>
                  <a:cxn ang="0">
                    <a:pos x="T6" y="T7"/>
                  </a:cxn>
                  <a:cxn ang="0">
                    <a:pos x="T8" y="T9"/>
                  </a:cxn>
                  <a:cxn ang="0">
                    <a:pos x="T10" y="T11"/>
                  </a:cxn>
                  <a:cxn ang="0">
                    <a:pos x="T12" y="T13"/>
                  </a:cxn>
                </a:cxnLst>
                <a:rect l="0" t="0" r="r" b="b"/>
                <a:pathLst>
                  <a:path w="60" h="47">
                    <a:moveTo>
                      <a:pt x="26" y="13"/>
                    </a:moveTo>
                    <a:lnTo>
                      <a:pt x="38" y="22"/>
                    </a:lnTo>
                    <a:lnTo>
                      <a:pt x="60" y="0"/>
                    </a:lnTo>
                    <a:lnTo>
                      <a:pt x="49" y="43"/>
                    </a:lnTo>
                    <a:lnTo>
                      <a:pt x="26" y="47"/>
                    </a:lnTo>
                    <a:lnTo>
                      <a:pt x="0" y="17"/>
                    </a:lnTo>
                    <a:lnTo>
                      <a:pt x="26" y="13"/>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9" name="Freeform 561"/>
              <p:cNvSpPr>
                <a:spLocks noChangeAspect="1"/>
              </p:cNvSpPr>
              <p:nvPr/>
            </p:nvSpPr>
            <p:spPr bwMode="auto">
              <a:xfrm>
                <a:off x="2537792" y="1148442"/>
                <a:ext cx="27" cy="19"/>
              </a:xfrm>
              <a:custGeom>
                <a:avLst/>
                <a:gdLst>
                  <a:gd name="T0" fmla="*/ 15 w 31"/>
                  <a:gd name="T1" fmla="*/ 0 h 25"/>
                  <a:gd name="T2" fmla="*/ 27 w 31"/>
                  <a:gd name="T3" fmla="*/ 8 h 25"/>
                  <a:gd name="T4" fmla="*/ 31 w 31"/>
                  <a:gd name="T5" fmla="*/ 25 h 25"/>
                  <a:gd name="T6" fmla="*/ 0 w 31"/>
                  <a:gd name="T7" fmla="*/ 25 h 25"/>
                  <a:gd name="T8" fmla="*/ 15 w 31"/>
                  <a:gd name="T9" fmla="*/ 0 h 25"/>
                </a:gdLst>
                <a:ahLst/>
                <a:cxnLst>
                  <a:cxn ang="0">
                    <a:pos x="T0" y="T1"/>
                  </a:cxn>
                  <a:cxn ang="0">
                    <a:pos x="T2" y="T3"/>
                  </a:cxn>
                  <a:cxn ang="0">
                    <a:pos x="T4" y="T5"/>
                  </a:cxn>
                  <a:cxn ang="0">
                    <a:pos x="T6" y="T7"/>
                  </a:cxn>
                  <a:cxn ang="0">
                    <a:pos x="T8" y="T9"/>
                  </a:cxn>
                </a:cxnLst>
                <a:rect l="0" t="0" r="r" b="b"/>
                <a:pathLst>
                  <a:path w="31" h="25">
                    <a:moveTo>
                      <a:pt x="15" y="0"/>
                    </a:moveTo>
                    <a:lnTo>
                      <a:pt x="27" y="8"/>
                    </a:lnTo>
                    <a:lnTo>
                      <a:pt x="31" y="25"/>
                    </a:lnTo>
                    <a:lnTo>
                      <a:pt x="0" y="25"/>
                    </a:lnTo>
                    <a:lnTo>
                      <a:pt x="15"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0" name="Freeform 562"/>
              <p:cNvSpPr>
                <a:spLocks noChangeAspect="1"/>
              </p:cNvSpPr>
              <p:nvPr/>
            </p:nvSpPr>
            <p:spPr bwMode="auto">
              <a:xfrm>
                <a:off x="2537065" y="1149099"/>
                <a:ext cx="43" cy="24"/>
              </a:xfrm>
              <a:custGeom>
                <a:avLst/>
                <a:gdLst>
                  <a:gd name="T0" fmla="*/ 46 w 46"/>
                  <a:gd name="T1" fmla="*/ 17 h 29"/>
                  <a:gd name="T2" fmla="*/ 12 w 46"/>
                  <a:gd name="T3" fmla="*/ 0 h 29"/>
                  <a:gd name="T4" fmla="*/ 0 w 46"/>
                  <a:gd name="T5" fmla="*/ 12 h 29"/>
                  <a:gd name="T6" fmla="*/ 4 w 46"/>
                  <a:gd name="T7" fmla="*/ 29 h 29"/>
                  <a:gd name="T8" fmla="*/ 46 w 46"/>
                  <a:gd name="T9" fmla="*/ 17 h 29"/>
                </a:gdLst>
                <a:ahLst/>
                <a:cxnLst>
                  <a:cxn ang="0">
                    <a:pos x="T0" y="T1"/>
                  </a:cxn>
                  <a:cxn ang="0">
                    <a:pos x="T2" y="T3"/>
                  </a:cxn>
                  <a:cxn ang="0">
                    <a:pos x="T4" y="T5"/>
                  </a:cxn>
                  <a:cxn ang="0">
                    <a:pos x="T6" y="T7"/>
                  </a:cxn>
                  <a:cxn ang="0">
                    <a:pos x="T8" y="T9"/>
                  </a:cxn>
                </a:cxnLst>
                <a:rect l="0" t="0" r="r" b="b"/>
                <a:pathLst>
                  <a:path w="46" h="29">
                    <a:moveTo>
                      <a:pt x="46" y="17"/>
                    </a:moveTo>
                    <a:lnTo>
                      <a:pt x="12" y="0"/>
                    </a:lnTo>
                    <a:lnTo>
                      <a:pt x="0" y="12"/>
                    </a:lnTo>
                    <a:lnTo>
                      <a:pt x="4" y="29"/>
                    </a:lnTo>
                    <a:lnTo>
                      <a:pt x="46" y="17"/>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sp>
          <p:nvSpPr>
            <p:cNvPr id="29" name="MK"/>
            <p:cNvSpPr>
              <a:spLocks noChangeAspect="1"/>
            </p:cNvSpPr>
            <p:nvPr/>
          </p:nvSpPr>
          <p:spPr bwMode="auto">
            <a:xfrm>
              <a:off x="6932613" y="5165725"/>
              <a:ext cx="306387" cy="203200"/>
            </a:xfrm>
            <a:custGeom>
              <a:avLst/>
              <a:gdLst>
                <a:gd name="T0" fmla="*/ 8 w 205"/>
                <a:gd name="T1" fmla="*/ 47 h 156"/>
                <a:gd name="T2" fmla="*/ 43 w 205"/>
                <a:gd name="T3" fmla="*/ 20 h 156"/>
                <a:gd name="T4" fmla="*/ 66 w 205"/>
                <a:gd name="T5" fmla="*/ 15 h 156"/>
                <a:gd name="T6" fmla="*/ 89 w 205"/>
                <a:gd name="T7" fmla="*/ 8 h 156"/>
                <a:gd name="T8" fmla="*/ 108 w 205"/>
                <a:gd name="T9" fmla="*/ 8 h 156"/>
                <a:gd name="T10" fmla="*/ 127 w 205"/>
                <a:gd name="T11" fmla="*/ 0 h 156"/>
                <a:gd name="T12" fmla="*/ 159 w 205"/>
                <a:gd name="T13" fmla="*/ 8 h 156"/>
                <a:gd name="T14" fmla="*/ 178 w 205"/>
                <a:gd name="T15" fmla="*/ 7 h 156"/>
                <a:gd name="T16" fmla="*/ 197 w 205"/>
                <a:gd name="T17" fmla="*/ 28 h 156"/>
                <a:gd name="T18" fmla="*/ 195 w 205"/>
                <a:gd name="T19" fmla="*/ 89 h 156"/>
                <a:gd name="T20" fmla="*/ 205 w 205"/>
                <a:gd name="T21" fmla="*/ 97 h 156"/>
                <a:gd name="T22" fmla="*/ 191 w 205"/>
                <a:gd name="T23" fmla="*/ 122 h 156"/>
                <a:gd name="T24" fmla="*/ 146 w 205"/>
                <a:gd name="T25" fmla="*/ 132 h 156"/>
                <a:gd name="T26" fmla="*/ 127 w 205"/>
                <a:gd name="T27" fmla="*/ 126 h 156"/>
                <a:gd name="T28" fmla="*/ 114 w 205"/>
                <a:gd name="T29" fmla="*/ 156 h 156"/>
                <a:gd name="T30" fmla="*/ 80 w 205"/>
                <a:gd name="T31" fmla="*/ 153 h 156"/>
                <a:gd name="T32" fmla="*/ 66 w 205"/>
                <a:gd name="T33" fmla="*/ 149 h 156"/>
                <a:gd name="T34" fmla="*/ 46 w 205"/>
                <a:gd name="T35" fmla="*/ 148 h 156"/>
                <a:gd name="T36" fmla="*/ 34 w 205"/>
                <a:gd name="T37" fmla="*/ 135 h 156"/>
                <a:gd name="T38" fmla="*/ 27 w 205"/>
                <a:gd name="T39" fmla="*/ 139 h 156"/>
                <a:gd name="T40" fmla="*/ 11 w 205"/>
                <a:gd name="T41" fmla="*/ 126 h 156"/>
                <a:gd name="T42" fmla="*/ 0 w 205"/>
                <a:gd name="T43" fmla="*/ 89 h 156"/>
                <a:gd name="T44" fmla="*/ 9 w 205"/>
                <a:gd name="T45" fmla="*/ 71 h 156"/>
                <a:gd name="T46" fmla="*/ 8 w 205"/>
                <a:gd name="T47" fmla="*/ 47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5" h="156">
                  <a:moveTo>
                    <a:pt x="8" y="47"/>
                  </a:moveTo>
                  <a:lnTo>
                    <a:pt x="43" y="20"/>
                  </a:lnTo>
                  <a:lnTo>
                    <a:pt x="66" y="15"/>
                  </a:lnTo>
                  <a:lnTo>
                    <a:pt x="89" y="8"/>
                  </a:lnTo>
                  <a:lnTo>
                    <a:pt x="108" y="8"/>
                  </a:lnTo>
                  <a:lnTo>
                    <a:pt x="127" y="0"/>
                  </a:lnTo>
                  <a:lnTo>
                    <a:pt x="159" y="8"/>
                  </a:lnTo>
                  <a:lnTo>
                    <a:pt x="178" y="7"/>
                  </a:lnTo>
                  <a:lnTo>
                    <a:pt x="197" y="28"/>
                  </a:lnTo>
                  <a:lnTo>
                    <a:pt x="195" y="89"/>
                  </a:lnTo>
                  <a:lnTo>
                    <a:pt x="205" y="97"/>
                  </a:lnTo>
                  <a:lnTo>
                    <a:pt x="191" y="122"/>
                  </a:lnTo>
                  <a:lnTo>
                    <a:pt x="146" y="132"/>
                  </a:lnTo>
                  <a:lnTo>
                    <a:pt x="127" y="126"/>
                  </a:lnTo>
                  <a:lnTo>
                    <a:pt x="114" y="156"/>
                  </a:lnTo>
                  <a:lnTo>
                    <a:pt x="80" y="153"/>
                  </a:lnTo>
                  <a:lnTo>
                    <a:pt x="66" y="149"/>
                  </a:lnTo>
                  <a:lnTo>
                    <a:pt x="46" y="148"/>
                  </a:lnTo>
                  <a:lnTo>
                    <a:pt x="34" y="135"/>
                  </a:lnTo>
                  <a:lnTo>
                    <a:pt x="27" y="139"/>
                  </a:lnTo>
                  <a:lnTo>
                    <a:pt x="11" y="126"/>
                  </a:lnTo>
                  <a:lnTo>
                    <a:pt x="0" y="89"/>
                  </a:lnTo>
                  <a:lnTo>
                    <a:pt x="9" y="71"/>
                  </a:lnTo>
                  <a:lnTo>
                    <a:pt x="8" y="47"/>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30" name="PT"/>
            <p:cNvSpPr>
              <a:spLocks noChangeAspect="1"/>
            </p:cNvSpPr>
            <p:nvPr/>
          </p:nvSpPr>
          <p:spPr bwMode="auto">
            <a:xfrm>
              <a:off x="3048000" y="4589463"/>
              <a:ext cx="574675" cy="735012"/>
            </a:xfrm>
            <a:custGeom>
              <a:avLst/>
              <a:gdLst>
                <a:gd name="T0" fmla="*/ 224 w 388"/>
                <a:gd name="T1" fmla="*/ 0 h 619"/>
                <a:gd name="T2" fmla="*/ 246 w 388"/>
                <a:gd name="T3" fmla="*/ 53 h 619"/>
                <a:gd name="T4" fmla="*/ 267 w 388"/>
                <a:gd name="T5" fmla="*/ 54 h 619"/>
                <a:gd name="T6" fmla="*/ 324 w 388"/>
                <a:gd name="T7" fmla="*/ 64 h 619"/>
                <a:gd name="T8" fmla="*/ 353 w 388"/>
                <a:gd name="T9" fmla="*/ 80 h 619"/>
                <a:gd name="T10" fmla="*/ 377 w 388"/>
                <a:gd name="T11" fmla="*/ 127 h 619"/>
                <a:gd name="T12" fmla="*/ 384 w 388"/>
                <a:gd name="T13" fmla="*/ 147 h 619"/>
                <a:gd name="T14" fmla="*/ 314 w 388"/>
                <a:gd name="T15" fmla="*/ 179 h 619"/>
                <a:gd name="T16" fmla="*/ 294 w 388"/>
                <a:gd name="T17" fmla="*/ 238 h 619"/>
                <a:gd name="T18" fmla="*/ 274 w 388"/>
                <a:gd name="T19" fmla="*/ 292 h 619"/>
                <a:gd name="T20" fmla="*/ 260 w 388"/>
                <a:gd name="T21" fmla="*/ 333 h 619"/>
                <a:gd name="T22" fmla="*/ 228 w 388"/>
                <a:gd name="T23" fmla="*/ 323 h 619"/>
                <a:gd name="T24" fmla="*/ 222 w 388"/>
                <a:gd name="T25" fmla="*/ 366 h 619"/>
                <a:gd name="T26" fmla="*/ 225 w 388"/>
                <a:gd name="T27" fmla="*/ 407 h 619"/>
                <a:gd name="T28" fmla="*/ 196 w 388"/>
                <a:gd name="T29" fmla="*/ 445 h 619"/>
                <a:gd name="T30" fmla="*/ 192 w 388"/>
                <a:gd name="T31" fmla="*/ 502 h 619"/>
                <a:gd name="T32" fmla="*/ 198 w 388"/>
                <a:gd name="T33" fmla="*/ 536 h 619"/>
                <a:gd name="T34" fmla="*/ 147 w 388"/>
                <a:gd name="T35" fmla="*/ 565 h 619"/>
                <a:gd name="T36" fmla="*/ 146 w 388"/>
                <a:gd name="T37" fmla="*/ 613 h 619"/>
                <a:gd name="T38" fmla="*/ 75 w 388"/>
                <a:gd name="T39" fmla="*/ 619 h 619"/>
                <a:gd name="T40" fmla="*/ 24 w 388"/>
                <a:gd name="T41" fmla="*/ 576 h 619"/>
                <a:gd name="T42" fmla="*/ 0 w 388"/>
                <a:gd name="T43" fmla="*/ 561 h 619"/>
                <a:gd name="T44" fmla="*/ 28 w 388"/>
                <a:gd name="T45" fmla="*/ 514 h 619"/>
                <a:gd name="T46" fmla="*/ 61 w 388"/>
                <a:gd name="T47" fmla="*/ 445 h 619"/>
                <a:gd name="T48" fmla="*/ 56 w 388"/>
                <a:gd name="T49" fmla="*/ 408 h 619"/>
                <a:gd name="T50" fmla="*/ 38 w 388"/>
                <a:gd name="T51" fmla="*/ 386 h 619"/>
                <a:gd name="T52" fmla="*/ 66 w 388"/>
                <a:gd name="T53" fmla="*/ 359 h 619"/>
                <a:gd name="T54" fmla="*/ 28 w 388"/>
                <a:gd name="T55" fmla="*/ 364 h 619"/>
                <a:gd name="T56" fmla="*/ 38 w 388"/>
                <a:gd name="T57" fmla="*/ 322 h 619"/>
                <a:gd name="T58" fmla="*/ 52 w 388"/>
                <a:gd name="T59" fmla="*/ 285 h 619"/>
                <a:gd name="T60" fmla="*/ 66 w 388"/>
                <a:gd name="T61" fmla="*/ 265 h 619"/>
                <a:gd name="T62" fmla="*/ 104 w 388"/>
                <a:gd name="T63" fmla="*/ 238 h 619"/>
                <a:gd name="T64" fmla="*/ 155 w 388"/>
                <a:gd name="T65" fmla="*/ 164 h 619"/>
                <a:gd name="T66" fmla="*/ 174 w 388"/>
                <a:gd name="T67" fmla="*/ 111 h 619"/>
                <a:gd name="T68" fmla="*/ 187 w 388"/>
                <a:gd name="T69" fmla="*/ 54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8" h="619">
                  <a:moveTo>
                    <a:pt x="196" y="6"/>
                  </a:moveTo>
                  <a:lnTo>
                    <a:pt x="224" y="0"/>
                  </a:lnTo>
                  <a:lnTo>
                    <a:pt x="243" y="24"/>
                  </a:lnTo>
                  <a:lnTo>
                    <a:pt x="246" y="53"/>
                  </a:lnTo>
                  <a:lnTo>
                    <a:pt x="253" y="59"/>
                  </a:lnTo>
                  <a:lnTo>
                    <a:pt x="267" y="54"/>
                  </a:lnTo>
                  <a:lnTo>
                    <a:pt x="312" y="74"/>
                  </a:lnTo>
                  <a:lnTo>
                    <a:pt x="324" y="64"/>
                  </a:lnTo>
                  <a:lnTo>
                    <a:pt x="342" y="63"/>
                  </a:lnTo>
                  <a:lnTo>
                    <a:pt x="353" y="80"/>
                  </a:lnTo>
                  <a:lnTo>
                    <a:pt x="363" y="108"/>
                  </a:lnTo>
                  <a:lnTo>
                    <a:pt x="377" y="127"/>
                  </a:lnTo>
                  <a:lnTo>
                    <a:pt x="388" y="137"/>
                  </a:lnTo>
                  <a:lnTo>
                    <a:pt x="384" y="147"/>
                  </a:lnTo>
                  <a:lnTo>
                    <a:pt x="351" y="157"/>
                  </a:lnTo>
                  <a:lnTo>
                    <a:pt x="314" y="179"/>
                  </a:lnTo>
                  <a:lnTo>
                    <a:pt x="315" y="218"/>
                  </a:lnTo>
                  <a:lnTo>
                    <a:pt x="294" y="238"/>
                  </a:lnTo>
                  <a:lnTo>
                    <a:pt x="276" y="255"/>
                  </a:lnTo>
                  <a:lnTo>
                    <a:pt x="274" y="292"/>
                  </a:lnTo>
                  <a:lnTo>
                    <a:pt x="274" y="316"/>
                  </a:lnTo>
                  <a:lnTo>
                    <a:pt x="260" y="333"/>
                  </a:lnTo>
                  <a:lnTo>
                    <a:pt x="248" y="316"/>
                  </a:lnTo>
                  <a:lnTo>
                    <a:pt x="228" y="323"/>
                  </a:lnTo>
                  <a:lnTo>
                    <a:pt x="225" y="335"/>
                  </a:lnTo>
                  <a:lnTo>
                    <a:pt x="222" y="366"/>
                  </a:lnTo>
                  <a:lnTo>
                    <a:pt x="229" y="377"/>
                  </a:lnTo>
                  <a:lnTo>
                    <a:pt x="225" y="407"/>
                  </a:lnTo>
                  <a:lnTo>
                    <a:pt x="213" y="421"/>
                  </a:lnTo>
                  <a:lnTo>
                    <a:pt x="196" y="445"/>
                  </a:lnTo>
                  <a:lnTo>
                    <a:pt x="189" y="465"/>
                  </a:lnTo>
                  <a:lnTo>
                    <a:pt x="192" y="502"/>
                  </a:lnTo>
                  <a:lnTo>
                    <a:pt x="206" y="524"/>
                  </a:lnTo>
                  <a:lnTo>
                    <a:pt x="198" y="536"/>
                  </a:lnTo>
                  <a:lnTo>
                    <a:pt x="161" y="549"/>
                  </a:lnTo>
                  <a:lnTo>
                    <a:pt x="147" y="565"/>
                  </a:lnTo>
                  <a:lnTo>
                    <a:pt x="146" y="582"/>
                  </a:lnTo>
                  <a:lnTo>
                    <a:pt x="146" y="613"/>
                  </a:lnTo>
                  <a:lnTo>
                    <a:pt x="104" y="613"/>
                  </a:lnTo>
                  <a:lnTo>
                    <a:pt x="75" y="619"/>
                  </a:lnTo>
                  <a:lnTo>
                    <a:pt x="42" y="576"/>
                  </a:lnTo>
                  <a:lnTo>
                    <a:pt x="24" y="576"/>
                  </a:lnTo>
                  <a:lnTo>
                    <a:pt x="9" y="576"/>
                  </a:lnTo>
                  <a:lnTo>
                    <a:pt x="0" y="561"/>
                  </a:lnTo>
                  <a:lnTo>
                    <a:pt x="9" y="545"/>
                  </a:lnTo>
                  <a:lnTo>
                    <a:pt x="28" y="514"/>
                  </a:lnTo>
                  <a:lnTo>
                    <a:pt x="38" y="482"/>
                  </a:lnTo>
                  <a:lnTo>
                    <a:pt x="61" y="445"/>
                  </a:lnTo>
                  <a:lnTo>
                    <a:pt x="66" y="424"/>
                  </a:lnTo>
                  <a:lnTo>
                    <a:pt x="56" y="408"/>
                  </a:lnTo>
                  <a:lnTo>
                    <a:pt x="42" y="394"/>
                  </a:lnTo>
                  <a:lnTo>
                    <a:pt x="38" y="386"/>
                  </a:lnTo>
                  <a:lnTo>
                    <a:pt x="56" y="380"/>
                  </a:lnTo>
                  <a:lnTo>
                    <a:pt x="66" y="359"/>
                  </a:lnTo>
                  <a:lnTo>
                    <a:pt x="47" y="353"/>
                  </a:lnTo>
                  <a:lnTo>
                    <a:pt x="28" y="364"/>
                  </a:lnTo>
                  <a:lnTo>
                    <a:pt x="28" y="337"/>
                  </a:lnTo>
                  <a:lnTo>
                    <a:pt x="38" y="322"/>
                  </a:lnTo>
                  <a:lnTo>
                    <a:pt x="47" y="306"/>
                  </a:lnTo>
                  <a:lnTo>
                    <a:pt x="52" y="285"/>
                  </a:lnTo>
                  <a:lnTo>
                    <a:pt x="56" y="269"/>
                  </a:lnTo>
                  <a:lnTo>
                    <a:pt x="66" y="265"/>
                  </a:lnTo>
                  <a:lnTo>
                    <a:pt x="80" y="275"/>
                  </a:lnTo>
                  <a:lnTo>
                    <a:pt x="104" y="238"/>
                  </a:lnTo>
                  <a:lnTo>
                    <a:pt x="118" y="212"/>
                  </a:lnTo>
                  <a:lnTo>
                    <a:pt x="155" y="164"/>
                  </a:lnTo>
                  <a:lnTo>
                    <a:pt x="155" y="144"/>
                  </a:lnTo>
                  <a:lnTo>
                    <a:pt x="174" y="111"/>
                  </a:lnTo>
                  <a:lnTo>
                    <a:pt x="179" y="74"/>
                  </a:lnTo>
                  <a:lnTo>
                    <a:pt x="187" y="54"/>
                  </a:lnTo>
                  <a:lnTo>
                    <a:pt x="196" y="6"/>
                  </a:lnTo>
                  <a:close/>
                </a:path>
              </a:pathLst>
            </a:custGeom>
            <a:solidFill>
              <a:schemeClr val="accent1">
                <a:lumMod val="20000"/>
                <a:lumOff val="80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nvGrpSpPr>
            <p:cNvPr id="31" name="ES"/>
            <p:cNvGrpSpPr>
              <a:grpSpLocks/>
            </p:cNvGrpSpPr>
            <p:nvPr/>
          </p:nvGrpSpPr>
          <p:grpSpPr bwMode="auto">
            <a:xfrm>
              <a:off x="3260628" y="4351278"/>
              <a:ext cx="1579555" cy="1219185"/>
              <a:chOff x="212709" y="4669452"/>
              <a:chExt cx="724" cy="631"/>
            </a:xfrm>
            <a:solidFill>
              <a:schemeClr val="bg1">
                <a:lumMod val="95000"/>
              </a:schemeClr>
            </a:solidFill>
            <a:effectLst/>
          </p:grpSpPr>
          <p:sp>
            <p:nvSpPr>
              <p:cNvPr id="76" name="Freeform 548"/>
              <p:cNvSpPr>
                <a:spLocks noChangeAspect="1"/>
              </p:cNvSpPr>
              <p:nvPr/>
            </p:nvSpPr>
            <p:spPr bwMode="auto">
              <a:xfrm>
                <a:off x="213239" y="4669976"/>
                <a:ext cx="27" cy="20"/>
              </a:xfrm>
              <a:custGeom>
                <a:avLst/>
                <a:gdLst>
                  <a:gd name="T0" fmla="*/ 39 w 39"/>
                  <a:gd name="T1" fmla="*/ 0 h 31"/>
                  <a:gd name="T2" fmla="*/ 20 w 39"/>
                  <a:gd name="T3" fmla="*/ 0 h 31"/>
                  <a:gd name="T4" fmla="*/ 0 w 39"/>
                  <a:gd name="T5" fmla="*/ 21 h 31"/>
                  <a:gd name="T6" fmla="*/ 10 w 39"/>
                  <a:gd name="T7" fmla="*/ 31 h 31"/>
                  <a:gd name="T8" fmla="*/ 29 w 39"/>
                  <a:gd name="T9" fmla="*/ 31 h 31"/>
                  <a:gd name="T10" fmla="*/ 39 w 39"/>
                  <a:gd name="T11" fmla="*/ 0 h 31"/>
                </a:gdLst>
                <a:ahLst/>
                <a:cxnLst>
                  <a:cxn ang="0">
                    <a:pos x="T0" y="T1"/>
                  </a:cxn>
                  <a:cxn ang="0">
                    <a:pos x="T2" y="T3"/>
                  </a:cxn>
                  <a:cxn ang="0">
                    <a:pos x="T4" y="T5"/>
                  </a:cxn>
                  <a:cxn ang="0">
                    <a:pos x="T6" y="T7"/>
                  </a:cxn>
                  <a:cxn ang="0">
                    <a:pos x="T8" y="T9"/>
                  </a:cxn>
                  <a:cxn ang="0">
                    <a:pos x="T10" y="T11"/>
                  </a:cxn>
                </a:cxnLst>
                <a:rect l="0" t="0" r="r" b="b"/>
                <a:pathLst>
                  <a:path w="39" h="31">
                    <a:moveTo>
                      <a:pt x="39" y="0"/>
                    </a:moveTo>
                    <a:lnTo>
                      <a:pt x="20" y="0"/>
                    </a:lnTo>
                    <a:lnTo>
                      <a:pt x="0" y="21"/>
                    </a:lnTo>
                    <a:lnTo>
                      <a:pt x="10" y="31"/>
                    </a:lnTo>
                    <a:lnTo>
                      <a:pt x="29" y="31"/>
                    </a:lnTo>
                    <a:lnTo>
                      <a:pt x="39" y="0"/>
                    </a:lnTo>
                    <a:close/>
                  </a:path>
                </a:pathLst>
              </a:custGeom>
              <a:solidFill>
                <a:schemeClr val="accent1">
                  <a:lumMod val="20000"/>
                  <a:lumOff val="80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7" name="Freeform 549"/>
              <p:cNvSpPr>
                <a:spLocks noChangeAspect="1"/>
              </p:cNvSpPr>
              <p:nvPr/>
            </p:nvSpPr>
            <p:spPr bwMode="auto">
              <a:xfrm>
                <a:off x="213316" y="4669928"/>
                <a:ext cx="62" cy="48"/>
              </a:xfrm>
              <a:custGeom>
                <a:avLst/>
                <a:gdLst>
                  <a:gd name="T0" fmla="*/ 66 w 90"/>
                  <a:gd name="T1" fmla="*/ 0 h 80"/>
                  <a:gd name="T2" fmla="*/ 57 w 90"/>
                  <a:gd name="T3" fmla="*/ 10 h 80"/>
                  <a:gd name="T4" fmla="*/ 19 w 90"/>
                  <a:gd name="T5" fmla="*/ 16 h 80"/>
                  <a:gd name="T6" fmla="*/ 0 w 90"/>
                  <a:gd name="T7" fmla="*/ 43 h 80"/>
                  <a:gd name="T8" fmla="*/ 28 w 90"/>
                  <a:gd name="T9" fmla="*/ 64 h 80"/>
                  <a:gd name="T10" fmla="*/ 43 w 90"/>
                  <a:gd name="T11" fmla="*/ 80 h 80"/>
                  <a:gd name="T12" fmla="*/ 71 w 90"/>
                  <a:gd name="T13" fmla="*/ 74 h 80"/>
                  <a:gd name="T14" fmla="*/ 90 w 90"/>
                  <a:gd name="T15" fmla="*/ 64 h 80"/>
                  <a:gd name="T16" fmla="*/ 85 w 90"/>
                  <a:gd name="T17" fmla="*/ 43 h 80"/>
                  <a:gd name="T18" fmla="*/ 71 w 90"/>
                  <a:gd name="T19" fmla="*/ 27 h 80"/>
                  <a:gd name="T20" fmla="*/ 66 w 90"/>
                  <a:gd name="T2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80">
                    <a:moveTo>
                      <a:pt x="66" y="0"/>
                    </a:moveTo>
                    <a:lnTo>
                      <a:pt x="57" y="10"/>
                    </a:lnTo>
                    <a:lnTo>
                      <a:pt x="19" y="16"/>
                    </a:lnTo>
                    <a:lnTo>
                      <a:pt x="0" y="43"/>
                    </a:lnTo>
                    <a:lnTo>
                      <a:pt x="28" y="64"/>
                    </a:lnTo>
                    <a:lnTo>
                      <a:pt x="43" y="80"/>
                    </a:lnTo>
                    <a:lnTo>
                      <a:pt x="71" y="74"/>
                    </a:lnTo>
                    <a:lnTo>
                      <a:pt x="90" y="64"/>
                    </a:lnTo>
                    <a:lnTo>
                      <a:pt x="85" y="43"/>
                    </a:lnTo>
                    <a:lnTo>
                      <a:pt x="71" y="27"/>
                    </a:lnTo>
                    <a:lnTo>
                      <a:pt x="66" y="0"/>
                    </a:lnTo>
                    <a:close/>
                  </a:path>
                </a:pathLst>
              </a:custGeom>
              <a:solidFill>
                <a:schemeClr val="accent1">
                  <a:lumMod val="20000"/>
                  <a:lumOff val="80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8" name="Freeform 550"/>
              <p:cNvSpPr>
                <a:spLocks noChangeAspect="1"/>
              </p:cNvSpPr>
              <p:nvPr/>
            </p:nvSpPr>
            <p:spPr bwMode="auto">
              <a:xfrm>
                <a:off x="213412" y="4669930"/>
                <a:ext cx="21" cy="26"/>
              </a:xfrm>
              <a:custGeom>
                <a:avLst/>
                <a:gdLst>
                  <a:gd name="T0" fmla="*/ 19 w 29"/>
                  <a:gd name="T1" fmla="*/ 0 h 41"/>
                  <a:gd name="T2" fmla="*/ 0 w 29"/>
                  <a:gd name="T3" fmla="*/ 10 h 41"/>
                  <a:gd name="T4" fmla="*/ 16 w 29"/>
                  <a:gd name="T5" fmla="*/ 25 h 41"/>
                  <a:gd name="T6" fmla="*/ 29 w 29"/>
                  <a:gd name="T7" fmla="*/ 41 h 41"/>
                  <a:gd name="T8" fmla="*/ 19 w 29"/>
                  <a:gd name="T9" fmla="*/ 0 h 41"/>
                </a:gdLst>
                <a:ahLst/>
                <a:cxnLst>
                  <a:cxn ang="0">
                    <a:pos x="T0" y="T1"/>
                  </a:cxn>
                  <a:cxn ang="0">
                    <a:pos x="T2" y="T3"/>
                  </a:cxn>
                  <a:cxn ang="0">
                    <a:pos x="T4" y="T5"/>
                  </a:cxn>
                  <a:cxn ang="0">
                    <a:pos x="T6" y="T7"/>
                  </a:cxn>
                  <a:cxn ang="0">
                    <a:pos x="T8" y="T9"/>
                  </a:cxn>
                </a:cxnLst>
                <a:rect l="0" t="0" r="r" b="b"/>
                <a:pathLst>
                  <a:path w="29" h="41">
                    <a:moveTo>
                      <a:pt x="19" y="0"/>
                    </a:moveTo>
                    <a:lnTo>
                      <a:pt x="0" y="10"/>
                    </a:lnTo>
                    <a:lnTo>
                      <a:pt x="16" y="25"/>
                    </a:lnTo>
                    <a:lnTo>
                      <a:pt x="29" y="41"/>
                    </a:lnTo>
                    <a:lnTo>
                      <a:pt x="19"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9" name="Freeform 551"/>
              <p:cNvSpPr>
                <a:spLocks noChangeAspect="1"/>
              </p:cNvSpPr>
              <p:nvPr/>
            </p:nvSpPr>
            <p:spPr bwMode="auto">
              <a:xfrm>
                <a:off x="212709" y="4669452"/>
                <a:ext cx="696" cy="631"/>
              </a:xfrm>
              <a:custGeom>
                <a:avLst/>
                <a:gdLst>
                  <a:gd name="T0" fmla="*/ 46 w 1024"/>
                  <a:gd name="T1" fmla="*/ 185 h 1020"/>
                  <a:gd name="T2" fmla="*/ 79 w 1024"/>
                  <a:gd name="T3" fmla="*/ 111 h 1020"/>
                  <a:gd name="T4" fmla="*/ 71 w 1024"/>
                  <a:gd name="T5" fmla="*/ 84 h 1020"/>
                  <a:gd name="T6" fmla="*/ 55 w 1024"/>
                  <a:gd name="T7" fmla="*/ 59 h 1020"/>
                  <a:gd name="T8" fmla="*/ 112 w 1024"/>
                  <a:gd name="T9" fmla="*/ 27 h 1020"/>
                  <a:gd name="T10" fmla="*/ 154 w 1024"/>
                  <a:gd name="T11" fmla="*/ 16 h 1020"/>
                  <a:gd name="T12" fmla="*/ 197 w 1024"/>
                  <a:gd name="T13" fmla="*/ 6 h 1020"/>
                  <a:gd name="T14" fmla="*/ 281 w 1024"/>
                  <a:gd name="T15" fmla="*/ 80 h 1020"/>
                  <a:gd name="T16" fmla="*/ 340 w 1024"/>
                  <a:gd name="T17" fmla="*/ 84 h 1020"/>
                  <a:gd name="T18" fmla="*/ 504 w 1024"/>
                  <a:gd name="T19" fmla="*/ 170 h 1020"/>
                  <a:gd name="T20" fmla="*/ 573 w 1024"/>
                  <a:gd name="T21" fmla="*/ 190 h 1020"/>
                  <a:gd name="T22" fmla="*/ 621 w 1024"/>
                  <a:gd name="T23" fmla="*/ 232 h 1020"/>
                  <a:gd name="T24" fmla="*/ 668 w 1024"/>
                  <a:gd name="T25" fmla="*/ 238 h 1020"/>
                  <a:gd name="T26" fmla="*/ 668 w 1024"/>
                  <a:gd name="T27" fmla="*/ 264 h 1020"/>
                  <a:gd name="T28" fmla="*/ 743 w 1024"/>
                  <a:gd name="T29" fmla="*/ 343 h 1020"/>
                  <a:gd name="T30" fmla="*/ 804 w 1024"/>
                  <a:gd name="T31" fmla="*/ 374 h 1020"/>
                  <a:gd name="T32" fmla="*/ 898 w 1024"/>
                  <a:gd name="T33" fmla="*/ 406 h 1020"/>
                  <a:gd name="T34" fmla="*/ 917 w 1024"/>
                  <a:gd name="T35" fmla="*/ 443 h 1020"/>
                  <a:gd name="T36" fmla="*/ 953 w 1024"/>
                  <a:gd name="T37" fmla="*/ 458 h 1020"/>
                  <a:gd name="T38" fmla="*/ 991 w 1024"/>
                  <a:gd name="T39" fmla="*/ 458 h 1020"/>
                  <a:gd name="T40" fmla="*/ 1015 w 1024"/>
                  <a:gd name="T41" fmla="*/ 458 h 1020"/>
                  <a:gd name="T42" fmla="*/ 1024 w 1024"/>
                  <a:gd name="T43" fmla="*/ 507 h 1020"/>
                  <a:gd name="T44" fmla="*/ 936 w 1024"/>
                  <a:gd name="T45" fmla="*/ 584 h 1020"/>
                  <a:gd name="T46" fmla="*/ 809 w 1024"/>
                  <a:gd name="T47" fmla="*/ 609 h 1020"/>
                  <a:gd name="T48" fmla="*/ 776 w 1024"/>
                  <a:gd name="T49" fmla="*/ 646 h 1020"/>
                  <a:gd name="T50" fmla="*/ 738 w 1024"/>
                  <a:gd name="T51" fmla="*/ 662 h 1020"/>
                  <a:gd name="T52" fmla="*/ 700 w 1024"/>
                  <a:gd name="T53" fmla="*/ 709 h 1020"/>
                  <a:gd name="T54" fmla="*/ 658 w 1024"/>
                  <a:gd name="T55" fmla="*/ 741 h 1020"/>
                  <a:gd name="T56" fmla="*/ 672 w 1024"/>
                  <a:gd name="T57" fmla="*/ 798 h 1020"/>
                  <a:gd name="T58" fmla="*/ 677 w 1024"/>
                  <a:gd name="T59" fmla="*/ 841 h 1020"/>
                  <a:gd name="T60" fmla="*/ 653 w 1024"/>
                  <a:gd name="T61" fmla="*/ 857 h 1020"/>
                  <a:gd name="T62" fmla="*/ 589 w 1024"/>
                  <a:gd name="T63" fmla="*/ 921 h 1020"/>
                  <a:gd name="T64" fmla="*/ 564 w 1024"/>
                  <a:gd name="T65" fmla="*/ 946 h 1020"/>
                  <a:gd name="T66" fmla="*/ 523 w 1024"/>
                  <a:gd name="T67" fmla="*/ 962 h 1020"/>
                  <a:gd name="T68" fmla="*/ 480 w 1024"/>
                  <a:gd name="T69" fmla="*/ 973 h 1020"/>
                  <a:gd name="T70" fmla="*/ 457 w 1024"/>
                  <a:gd name="T71" fmla="*/ 1005 h 1020"/>
                  <a:gd name="T72" fmla="*/ 419 w 1024"/>
                  <a:gd name="T73" fmla="*/ 1015 h 1020"/>
                  <a:gd name="T74" fmla="*/ 344 w 1024"/>
                  <a:gd name="T75" fmla="*/ 1005 h 1020"/>
                  <a:gd name="T76" fmla="*/ 229 w 1024"/>
                  <a:gd name="T77" fmla="*/ 962 h 1020"/>
                  <a:gd name="T78" fmla="*/ 173 w 1024"/>
                  <a:gd name="T79" fmla="*/ 989 h 1020"/>
                  <a:gd name="T80" fmla="*/ 121 w 1024"/>
                  <a:gd name="T81" fmla="*/ 1010 h 1020"/>
                  <a:gd name="T82" fmla="*/ 55 w 1024"/>
                  <a:gd name="T83" fmla="*/ 958 h 1020"/>
                  <a:gd name="T84" fmla="*/ 33 w 1024"/>
                  <a:gd name="T85" fmla="*/ 835 h 1020"/>
                  <a:gd name="T86" fmla="*/ 0 w 1024"/>
                  <a:gd name="T87" fmla="*/ 794 h 1020"/>
                  <a:gd name="T88" fmla="*/ 14 w 1024"/>
                  <a:gd name="T89" fmla="*/ 746 h 1020"/>
                  <a:gd name="T90" fmla="*/ 60 w 1024"/>
                  <a:gd name="T91" fmla="*/ 720 h 1020"/>
                  <a:gd name="T92" fmla="*/ 41 w 1024"/>
                  <a:gd name="T93" fmla="*/ 662 h 1020"/>
                  <a:gd name="T94" fmla="*/ 84 w 1024"/>
                  <a:gd name="T95" fmla="*/ 599 h 1020"/>
                  <a:gd name="T96" fmla="*/ 74 w 1024"/>
                  <a:gd name="T97" fmla="*/ 554 h 1020"/>
                  <a:gd name="T98" fmla="*/ 88 w 1024"/>
                  <a:gd name="T99" fmla="*/ 512 h 1020"/>
                  <a:gd name="T100" fmla="*/ 112 w 1024"/>
                  <a:gd name="T101" fmla="*/ 528 h 1020"/>
                  <a:gd name="T102" fmla="*/ 131 w 1024"/>
                  <a:gd name="T103" fmla="*/ 448 h 1020"/>
                  <a:gd name="T104" fmla="*/ 168 w 1024"/>
                  <a:gd name="T105" fmla="*/ 390 h 1020"/>
                  <a:gd name="T106" fmla="*/ 206 w 1024"/>
                  <a:gd name="T107" fmla="*/ 349 h 1020"/>
                  <a:gd name="T108" fmla="*/ 244 w 1024"/>
                  <a:gd name="T109" fmla="*/ 332 h 1020"/>
                  <a:gd name="T110" fmla="*/ 201 w 1024"/>
                  <a:gd name="T111" fmla="*/ 264 h 1020"/>
                  <a:gd name="T112" fmla="*/ 164 w 1024"/>
                  <a:gd name="T113" fmla="*/ 269 h 1020"/>
                  <a:gd name="T114" fmla="*/ 117 w 1024"/>
                  <a:gd name="T115" fmla="*/ 248 h 1020"/>
                  <a:gd name="T116" fmla="*/ 98 w 1024"/>
                  <a:gd name="T117" fmla="*/ 242 h 1020"/>
                  <a:gd name="T118" fmla="*/ 84 w 1024"/>
                  <a:gd name="T119" fmla="*/ 201 h 1020"/>
                  <a:gd name="T120" fmla="*/ 52 w 1024"/>
                  <a:gd name="T121" fmla="*/ 201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24" h="1020">
                    <a:moveTo>
                      <a:pt x="52" y="201"/>
                    </a:moveTo>
                    <a:lnTo>
                      <a:pt x="46" y="185"/>
                    </a:lnTo>
                    <a:lnTo>
                      <a:pt x="52" y="164"/>
                    </a:lnTo>
                    <a:lnTo>
                      <a:pt x="79" y="111"/>
                    </a:lnTo>
                    <a:lnTo>
                      <a:pt x="65" y="100"/>
                    </a:lnTo>
                    <a:lnTo>
                      <a:pt x="71" y="84"/>
                    </a:lnTo>
                    <a:lnTo>
                      <a:pt x="55" y="80"/>
                    </a:lnTo>
                    <a:lnTo>
                      <a:pt x="55" y="59"/>
                    </a:lnTo>
                    <a:lnTo>
                      <a:pt x="65" y="43"/>
                    </a:lnTo>
                    <a:lnTo>
                      <a:pt x="112" y="27"/>
                    </a:lnTo>
                    <a:lnTo>
                      <a:pt x="150" y="32"/>
                    </a:lnTo>
                    <a:lnTo>
                      <a:pt x="154" y="16"/>
                    </a:lnTo>
                    <a:lnTo>
                      <a:pt x="182" y="0"/>
                    </a:lnTo>
                    <a:lnTo>
                      <a:pt x="197" y="6"/>
                    </a:lnTo>
                    <a:lnTo>
                      <a:pt x="229" y="53"/>
                    </a:lnTo>
                    <a:lnTo>
                      <a:pt x="281" y="80"/>
                    </a:lnTo>
                    <a:lnTo>
                      <a:pt x="328" y="80"/>
                    </a:lnTo>
                    <a:lnTo>
                      <a:pt x="340" y="84"/>
                    </a:lnTo>
                    <a:lnTo>
                      <a:pt x="466" y="164"/>
                    </a:lnTo>
                    <a:lnTo>
                      <a:pt x="504" y="170"/>
                    </a:lnTo>
                    <a:lnTo>
                      <a:pt x="532" y="201"/>
                    </a:lnTo>
                    <a:lnTo>
                      <a:pt x="573" y="190"/>
                    </a:lnTo>
                    <a:lnTo>
                      <a:pt x="597" y="207"/>
                    </a:lnTo>
                    <a:lnTo>
                      <a:pt x="621" y="232"/>
                    </a:lnTo>
                    <a:lnTo>
                      <a:pt x="649" y="232"/>
                    </a:lnTo>
                    <a:lnTo>
                      <a:pt x="668" y="238"/>
                    </a:lnTo>
                    <a:lnTo>
                      <a:pt x="677" y="248"/>
                    </a:lnTo>
                    <a:lnTo>
                      <a:pt x="668" y="264"/>
                    </a:lnTo>
                    <a:lnTo>
                      <a:pt x="668" y="285"/>
                    </a:lnTo>
                    <a:lnTo>
                      <a:pt x="743" y="343"/>
                    </a:lnTo>
                    <a:lnTo>
                      <a:pt x="785" y="380"/>
                    </a:lnTo>
                    <a:lnTo>
                      <a:pt x="804" y="374"/>
                    </a:lnTo>
                    <a:lnTo>
                      <a:pt x="827" y="369"/>
                    </a:lnTo>
                    <a:lnTo>
                      <a:pt x="898" y="406"/>
                    </a:lnTo>
                    <a:lnTo>
                      <a:pt x="906" y="433"/>
                    </a:lnTo>
                    <a:lnTo>
                      <a:pt x="917" y="443"/>
                    </a:lnTo>
                    <a:lnTo>
                      <a:pt x="939" y="448"/>
                    </a:lnTo>
                    <a:lnTo>
                      <a:pt x="953" y="458"/>
                    </a:lnTo>
                    <a:lnTo>
                      <a:pt x="972" y="458"/>
                    </a:lnTo>
                    <a:lnTo>
                      <a:pt x="991" y="458"/>
                    </a:lnTo>
                    <a:lnTo>
                      <a:pt x="1010" y="464"/>
                    </a:lnTo>
                    <a:lnTo>
                      <a:pt x="1015" y="458"/>
                    </a:lnTo>
                    <a:lnTo>
                      <a:pt x="1024" y="480"/>
                    </a:lnTo>
                    <a:lnTo>
                      <a:pt x="1024" y="507"/>
                    </a:lnTo>
                    <a:lnTo>
                      <a:pt x="1010" y="522"/>
                    </a:lnTo>
                    <a:lnTo>
                      <a:pt x="936" y="584"/>
                    </a:lnTo>
                    <a:lnTo>
                      <a:pt x="903" y="584"/>
                    </a:lnTo>
                    <a:lnTo>
                      <a:pt x="809" y="609"/>
                    </a:lnTo>
                    <a:lnTo>
                      <a:pt x="776" y="615"/>
                    </a:lnTo>
                    <a:lnTo>
                      <a:pt x="776" y="646"/>
                    </a:lnTo>
                    <a:lnTo>
                      <a:pt x="757" y="646"/>
                    </a:lnTo>
                    <a:lnTo>
                      <a:pt x="738" y="662"/>
                    </a:lnTo>
                    <a:lnTo>
                      <a:pt x="719" y="689"/>
                    </a:lnTo>
                    <a:lnTo>
                      <a:pt x="700" y="709"/>
                    </a:lnTo>
                    <a:lnTo>
                      <a:pt x="677" y="714"/>
                    </a:lnTo>
                    <a:lnTo>
                      <a:pt x="658" y="741"/>
                    </a:lnTo>
                    <a:lnTo>
                      <a:pt x="658" y="778"/>
                    </a:lnTo>
                    <a:lnTo>
                      <a:pt x="672" y="798"/>
                    </a:lnTo>
                    <a:lnTo>
                      <a:pt x="677" y="814"/>
                    </a:lnTo>
                    <a:lnTo>
                      <a:pt x="677" y="841"/>
                    </a:lnTo>
                    <a:lnTo>
                      <a:pt x="672" y="851"/>
                    </a:lnTo>
                    <a:lnTo>
                      <a:pt x="653" y="857"/>
                    </a:lnTo>
                    <a:lnTo>
                      <a:pt x="625" y="884"/>
                    </a:lnTo>
                    <a:lnTo>
                      <a:pt x="589" y="921"/>
                    </a:lnTo>
                    <a:lnTo>
                      <a:pt x="573" y="936"/>
                    </a:lnTo>
                    <a:lnTo>
                      <a:pt x="564" y="946"/>
                    </a:lnTo>
                    <a:lnTo>
                      <a:pt x="564" y="962"/>
                    </a:lnTo>
                    <a:lnTo>
                      <a:pt x="523" y="962"/>
                    </a:lnTo>
                    <a:lnTo>
                      <a:pt x="499" y="968"/>
                    </a:lnTo>
                    <a:lnTo>
                      <a:pt x="480" y="973"/>
                    </a:lnTo>
                    <a:lnTo>
                      <a:pt x="471" y="983"/>
                    </a:lnTo>
                    <a:lnTo>
                      <a:pt x="457" y="1005"/>
                    </a:lnTo>
                    <a:lnTo>
                      <a:pt x="433" y="1015"/>
                    </a:lnTo>
                    <a:lnTo>
                      <a:pt x="419" y="1015"/>
                    </a:lnTo>
                    <a:lnTo>
                      <a:pt x="391" y="1010"/>
                    </a:lnTo>
                    <a:lnTo>
                      <a:pt x="344" y="1005"/>
                    </a:lnTo>
                    <a:lnTo>
                      <a:pt x="262" y="968"/>
                    </a:lnTo>
                    <a:lnTo>
                      <a:pt x="229" y="962"/>
                    </a:lnTo>
                    <a:lnTo>
                      <a:pt x="197" y="973"/>
                    </a:lnTo>
                    <a:lnTo>
                      <a:pt x="173" y="989"/>
                    </a:lnTo>
                    <a:lnTo>
                      <a:pt x="145" y="993"/>
                    </a:lnTo>
                    <a:lnTo>
                      <a:pt x="121" y="1010"/>
                    </a:lnTo>
                    <a:lnTo>
                      <a:pt x="107" y="1020"/>
                    </a:lnTo>
                    <a:lnTo>
                      <a:pt x="55" y="958"/>
                    </a:lnTo>
                    <a:lnTo>
                      <a:pt x="55" y="868"/>
                    </a:lnTo>
                    <a:lnTo>
                      <a:pt x="33" y="835"/>
                    </a:lnTo>
                    <a:lnTo>
                      <a:pt x="5" y="810"/>
                    </a:lnTo>
                    <a:lnTo>
                      <a:pt x="0" y="794"/>
                    </a:lnTo>
                    <a:lnTo>
                      <a:pt x="0" y="761"/>
                    </a:lnTo>
                    <a:lnTo>
                      <a:pt x="14" y="746"/>
                    </a:lnTo>
                    <a:lnTo>
                      <a:pt x="52" y="730"/>
                    </a:lnTo>
                    <a:lnTo>
                      <a:pt x="60" y="720"/>
                    </a:lnTo>
                    <a:lnTo>
                      <a:pt x="46" y="699"/>
                    </a:lnTo>
                    <a:lnTo>
                      <a:pt x="41" y="662"/>
                    </a:lnTo>
                    <a:lnTo>
                      <a:pt x="55" y="630"/>
                    </a:lnTo>
                    <a:lnTo>
                      <a:pt x="84" y="599"/>
                    </a:lnTo>
                    <a:lnTo>
                      <a:pt x="84" y="575"/>
                    </a:lnTo>
                    <a:lnTo>
                      <a:pt x="74" y="554"/>
                    </a:lnTo>
                    <a:lnTo>
                      <a:pt x="84" y="517"/>
                    </a:lnTo>
                    <a:lnTo>
                      <a:pt x="88" y="512"/>
                    </a:lnTo>
                    <a:lnTo>
                      <a:pt x="102" y="512"/>
                    </a:lnTo>
                    <a:lnTo>
                      <a:pt x="112" y="528"/>
                    </a:lnTo>
                    <a:lnTo>
                      <a:pt x="126" y="507"/>
                    </a:lnTo>
                    <a:lnTo>
                      <a:pt x="131" y="448"/>
                    </a:lnTo>
                    <a:lnTo>
                      <a:pt x="168" y="411"/>
                    </a:lnTo>
                    <a:lnTo>
                      <a:pt x="168" y="390"/>
                    </a:lnTo>
                    <a:lnTo>
                      <a:pt x="168" y="374"/>
                    </a:lnTo>
                    <a:lnTo>
                      <a:pt x="206" y="349"/>
                    </a:lnTo>
                    <a:lnTo>
                      <a:pt x="234" y="343"/>
                    </a:lnTo>
                    <a:lnTo>
                      <a:pt x="244" y="332"/>
                    </a:lnTo>
                    <a:lnTo>
                      <a:pt x="220" y="306"/>
                    </a:lnTo>
                    <a:lnTo>
                      <a:pt x="201" y="264"/>
                    </a:lnTo>
                    <a:lnTo>
                      <a:pt x="192" y="254"/>
                    </a:lnTo>
                    <a:lnTo>
                      <a:pt x="164" y="269"/>
                    </a:lnTo>
                    <a:lnTo>
                      <a:pt x="145" y="259"/>
                    </a:lnTo>
                    <a:lnTo>
                      <a:pt x="117" y="248"/>
                    </a:lnTo>
                    <a:lnTo>
                      <a:pt x="107" y="254"/>
                    </a:lnTo>
                    <a:lnTo>
                      <a:pt x="98" y="242"/>
                    </a:lnTo>
                    <a:lnTo>
                      <a:pt x="98" y="222"/>
                    </a:lnTo>
                    <a:lnTo>
                      <a:pt x="84" y="201"/>
                    </a:lnTo>
                    <a:lnTo>
                      <a:pt x="74" y="195"/>
                    </a:lnTo>
                    <a:lnTo>
                      <a:pt x="52" y="201"/>
                    </a:lnTo>
                    <a:close/>
                  </a:path>
                </a:pathLst>
              </a:custGeom>
              <a:solidFill>
                <a:schemeClr val="accent1">
                  <a:lumMod val="20000"/>
                  <a:lumOff val="80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grpSp>
          <p:nvGrpSpPr>
            <p:cNvPr id="32" name="IT"/>
            <p:cNvGrpSpPr>
              <a:grpSpLocks/>
            </p:cNvGrpSpPr>
            <p:nvPr/>
          </p:nvGrpSpPr>
          <p:grpSpPr bwMode="auto">
            <a:xfrm>
              <a:off x="5286549" y="4381647"/>
              <a:ext cx="1374773" cy="1579562"/>
              <a:chOff x="2243131" y="4710790"/>
              <a:chExt cx="631" cy="817"/>
            </a:xfrm>
            <a:solidFill>
              <a:schemeClr val="bg1">
                <a:lumMod val="95000"/>
              </a:schemeClr>
            </a:solidFill>
            <a:effectLst/>
          </p:grpSpPr>
          <p:sp>
            <p:nvSpPr>
              <p:cNvPr id="73" name="Freeform 545"/>
              <p:cNvSpPr>
                <a:spLocks noChangeAspect="1"/>
              </p:cNvSpPr>
              <p:nvPr/>
            </p:nvSpPr>
            <p:spPr bwMode="auto">
              <a:xfrm>
                <a:off x="2243153" y="4711222"/>
                <a:ext cx="100" cy="168"/>
              </a:xfrm>
              <a:custGeom>
                <a:avLst/>
                <a:gdLst>
                  <a:gd name="T0" fmla="*/ 89 w 150"/>
                  <a:gd name="T1" fmla="*/ 0 h 275"/>
                  <a:gd name="T2" fmla="*/ 66 w 150"/>
                  <a:gd name="T3" fmla="*/ 16 h 275"/>
                  <a:gd name="T4" fmla="*/ 47 w 150"/>
                  <a:gd name="T5" fmla="*/ 31 h 275"/>
                  <a:gd name="T6" fmla="*/ 28 w 150"/>
                  <a:gd name="T7" fmla="*/ 37 h 275"/>
                  <a:gd name="T8" fmla="*/ 0 w 150"/>
                  <a:gd name="T9" fmla="*/ 31 h 275"/>
                  <a:gd name="T10" fmla="*/ 5 w 150"/>
                  <a:gd name="T11" fmla="*/ 64 h 275"/>
                  <a:gd name="T12" fmla="*/ 19 w 150"/>
                  <a:gd name="T13" fmla="*/ 84 h 275"/>
                  <a:gd name="T14" fmla="*/ 14 w 150"/>
                  <a:gd name="T15" fmla="*/ 138 h 275"/>
                  <a:gd name="T16" fmla="*/ 14 w 150"/>
                  <a:gd name="T17" fmla="*/ 164 h 275"/>
                  <a:gd name="T18" fmla="*/ 19 w 150"/>
                  <a:gd name="T19" fmla="*/ 185 h 275"/>
                  <a:gd name="T20" fmla="*/ 5 w 150"/>
                  <a:gd name="T21" fmla="*/ 228 h 275"/>
                  <a:gd name="T22" fmla="*/ 9 w 150"/>
                  <a:gd name="T23" fmla="*/ 259 h 275"/>
                  <a:gd name="T24" fmla="*/ 28 w 150"/>
                  <a:gd name="T25" fmla="*/ 275 h 275"/>
                  <a:gd name="T26" fmla="*/ 56 w 150"/>
                  <a:gd name="T27" fmla="*/ 253 h 275"/>
                  <a:gd name="T28" fmla="*/ 66 w 150"/>
                  <a:gd name="T29" fmla="*/ 248 h 275"/>
                  <a:gd name="T30" fmla="*/ 94 w 150"/>
                  <a:gd name="T31" fmla="*/ 253 h 275"/>
                  <a:gd name="T32" fmla="*/ 113 w 150"/>
                  <a:gd name="T33" fmla="*/ 232 h 275"/>
                  <a:gd name="T34" fmla="*/ 113 w 150"/>
                  <a:gd name="T35" fmla="*/ 211 h 275"/>
                  <a:gd name="T36" fmla="*/ 136 w 150"/>
                  <a:gd name="T37" fmla="*/ 169 h 275"/>
                  <a:gd name="T38" fmla="*/ 145 w 150"/>
                  <a:gd name="T39" fmla="*/ 142 h 275"/>
                  <a:gd name="T40" fmla="*/ 136 w 150"/>
                  <a:gd name="T41" fmla="*/ 117 h 275"/>
                  <a:gd name="T42" fmla="*/ 150 w 150"/>
                  <a:gd name="T43" fmla="*/ 84 h 275"/>
                  <a:gd name="T44" fmla="*/ 141 w 150"/>
                  <a:gd name="T45" fmla="*/ 37 h 275"/>
                  <a:gd name="T46" fmla="*/ 136 w 150"/>
                  <a:gd name="T47" fmla="*/ 10 h 275"/>
                  <a:gd name="T48" fmla="*/ 89 w 150"/>
                  <a:gd name="T49"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0" h="275">
                    <a:moveTo>
                      <a:pt x="89" y="0"/>
                    </a:moveTo>
                    <a:lnTo>
                      <a:pt x="66" y="16"/>
                    </a:lnTo>
                    <a:lnTo>
                      <a:pt x="47" y="31"/>
                    </a:lnTo>
                    <a:lnTo>
                      <a:pt x="28" y="37"/>
                    </a:lnTo>
                    <a:lnTo>
                      <a:pt x="0" y="31"/>
                    </a:lnTo>
                    <a:lnTo>
                      <a:pt x="5" y="64"/>
                    </a:lnTo>
                    <a:lnTo>
                      <a:pt x="19" y="84"/>
                    </a:lnTo>
                    <a:lnTo>
                      <a:pt x="14" y="138"/>
                    </a:lnTo>
                    <a:lnTo>
                      <a:pt x="14" y="164"/>
                    </a:lnTo>
                    <a:lnTo>
                      <a:pt x="19" y="185"/>
                    </a:lnTo>
                    <a:lnTo>
                      <a:pt x="5" y="228"/>
                    </a:lnTo>
                    <a:lnTo>
                      <a:pt x="9" y="259"/>
                    </a:lnTo>
                    <a:lnTo>
                      <a:pt x="28" y="275"/>
                    </a:lnTo>
                    <a:lnTo>
                      <a:pt x="56" y="253"/>
                    </a:lnTo>
                    <a:lnTo>
                      <a:pt x="66" y="248"/>
                    </a:lnTo>
                    <a:lnTo>
                      <a:pt x="94" y="253"/>
                    </a:lnTo>
                    <a:lnTo>
                      <a:pt x="113" y="232"/>
                    </a:lnTo>
                    <a:lnTo>
                      <a:pt x="113" y="211"/>
                    </a:lnTo>
                    <a:lnTo>
                      <a:pt x="136" y="169"/>
                    </a:lnTo>
                    <a:lnTo>
                      <a:pt x="145" y="142"/>
                    </a:lnTo>
                    <a:lnTo>
                      <a:pt x="136" y="117"/>
                    </a:lnTo>
                    <a:lnTo>
                      <a:pt x="150" y="84"/>
                    </a:lnTo>
                    <a:lnTo>
                      <a:pt x="141" y="37"/>
                    </a:lnTo>
                    <a:lnTo>
                      <a:pt x="136" y="10"/>
                    </a:lnTo>
                    <a:lnTo>
                      <a:pt x="89" y="0"/>
                    </a:lnTo>
                    <a:close/>
                  </a:path>
                </a:pathLst>
              </a:custGeom>
              <a:solidFill>
                <a:schemeClr val="accent1">
                  <a:lumMod val="20000"/>
                  <a:lumOff val="80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4" name="Freeform 546"/>
              <p:cNvSpPr>
                <a:spLocks noChangeAspect="1"/>
              </p:cNvSpPr>
              <p:nvPr/>
            </p:nvSpPr>
            <p:spPr bwMode="auto">
              <a:xfrm>
                <a:off x="2243388" y="4711487"/>
                <a:ext cx="184" cy="120"/>
              </a:xfrm>
              <a:custGeom>
                <a:avLst/>
                <a:gdLst>
                  <a:gd name="T0" fmla="*/ 260 w 274"/>
                  <a:gd name="T1" fmla="*/ 0 h 194"/>
                  <a:gd name="T2" fmla="*/ 274 w 274"/>
                  <a:gd name="T3" fmla="*/ 16 h 194"/>
                  <a:gd name="T4" fmla="*/ 265 w 274"/>
                  <a:gd name="T5" fmla="*/ 32 h 194"/>
                  <a:gd name="T6" fmla="*/ 255 w 274"/>
                  <a:gd name="T7" fmla="*/ 57 h 194"/>
                  <a:gd name="T8" fmla="*/ 241 w 274"/>
                  <a:gd name="T9" fmla="*/ 73 h 194"/>
                  <a:gd name="T10" fmla="*/ 246 w 274"/>
                  <a:gd name="T11" fmla="*/ 121 h 194"/>
                  <a:gd name="T12" fmla="*/ 255 w 274"/>
                  <a:gd name="T13" fmla="*/ 157 h 194"/>
                  <a:gd name="T14" fmla="*/ 231 w 274"/>
                  <a:gd name="T15" fmla="*/ 172 h 194"/>
                  <a:gd name="T16" fmla="*/ 227 w 274"/>
                  <a:gd name="T17" fmla="*/ 188 h 194"/>
                  <a:gd name="T18" fmla="*/ 208 w 274"/>
                  <a:gd name="T19" fmla="*/ 194 h 194"/>
                  <a:gd name="T20" fmla="*/ 180 w 274"/>
                  <a:gd name="T21" fmla="*/ 162 h 194"/>
                  <a:gd name="T22" fmla="*/ 161 w 274"/>
                  <a:gd name="T23" fmla="*/ 162 h 194"/>
                  <a:gd name="T24" fmla="*/ 146 w 274"/>
                  <a:gd name="T25" fmla="*/ 137 h 194"/>
                  <a:gd name="T26" fmla="*/ 118 w 274"/>
                  <a:gd name="T27" fmla="*/ 121 h 194"/>
                  <a:gd name="T28" fmla="*/ 99 w 274"/>
                  <a:gd name="T29" fmla="*/ 115 h 194"/>
                  <a:gd name="T30" fmla="*/ 80 w 274"/>
                  <a:gd name="T31" fmla="*/ 105 h 194"/>
                  <a:gd name="T32" fmla="*/ 61 w 274"/>
                  <a:gd name="T33" fmla="*/ 88 h 194"/>
                  <a:gd name="T34" fmla="*/ 28 w 274"/>
                  <a:gd name="T35" fmla="*/ 63 h 194"/>
                  <a:gd name="T36" fmla="*/ 14 w 274"/>
                  <a:gd name="T37" fmla="*/ 57 h 194"/>
                  <a:gd name="T38" fmla="*/ 0 w 274"/>
                  <a:gd name="T39" fmla="*/ 41 h 194"/>
                  <a:gd name="T40" fmla="*/ 0 w 274"/>
                  <a:gd name="T41" fmla="*/ 22 h 194"/>
                  <a:gd name="T42" fmla="*/ 5 w 274"/>
                  <a:gd name="T43" fmla="*/ 6 h 194"/>
                  <a:gd name="T44" fmla="*/ 33 w 274"/>
                  <a:gd name="T45" fmla="*/ 10 h 194"/>
                  <a:gd name="T46" fmla="*/ 76 w 274"/>
                  <a:gd name="T47" fmla="*/ 10 h 194"/>
                  <a:gd name="T48" fmla="*/ 85 w 274"/>
                  <a:gd name="T49" fmla="*/ 26 h 194"/>
                  <a:gd name="T50" fmla="*/ 132 w 274"/>
                  <a:gd name="T51" fmla="*/ 26 h 194"/>
                  <a:gd name="T52" fmla="*/ 165 w 274"/>
                  <a:gd name="T53" fmla="*/ 26 h 194"/>
                  <a:gd name="T54" fmla="*/ 208 w 274"/>
                  <a:gd name="T55" fmla="*/ 16 h 194"/>
                  <a:gd name="T56" fmla="*/ 260 w 274"/>
                  <a:gd name="T57"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4" h="194">
                    <a:moveTo>
                      <a:pt x="260" y="0"/>
                    </a:moveTo>
                    <a:lnTo>
                      <a:pt x="274" y="16"/>
                    </a:lnTo>
                    <a:lnTo>
                      <a:pt x="265" y="32"/>
                    </a:lnTo>
                    <a:lnTo>
                      <a:pt x="255" y="57"/>
                    </a:lnTo>
                    <a:lnTo>
                      <a:pt x="241" y="73"/>
                    </a:lnTo>
                    <a:lnTo>
                      <a:pt x="246" y="121"/>
                    </a:lnTo>
                    <a:lnTo>
                      <a:pt x="255" y="157"/>
                    </a:lnTo>
                    <a:lnTo>
                      <a:pt x="231" y="172"/>
                    </a:lnTo>
                    <a:lnTo>
                      <a:pt x="227" y="188"/>
                    </a:lnTo>
                    <a:lnTo>
                      <a:pt x="208" y="194"/>
                    </a:lnTo>
                    <a:lnTo>
                      <a:pt x="180" y="162"/>
                    </a:lnTo>
                    <a:lnTo>
                      <a:pt x="161" y="162"/>
                    </a:lnTo>
                    <a:lnTo>
                      <a:pt x="146" y="137"/>
                    </a:lnTo>
                    <a:lnTo>
                      <a:pt x="118" y="121"/>
                    </a:lnTo>
                    <a:lnTo>
                      <a:pt x="99" y="115"/>
                    </a:lnTo>
                    <a:lnTo>
                      <a:pt x="80" y="105"/>
                    </a:lnTo>
                    <a:lnTo>
                      <a:pt x="61" y="88"/>
                    </a:lnTo>
                    <a:lnTo>
                      <a:pt x="28" y="63"/>
                    </a:lnTo>
                    <a:lnTo>
                      <a:pt x="14" y="57"/>
                    </a:lnTo>
                    <a:lnTo>
                      <a:pt x="0" y="41"/>
                    </a:lnTo>
                    <a:lnTo>
                      <a:pt x="0" y="22"/>
                    </a:lnTo>
                    <a:lnTo>
                      <a:pt x="5" y="6"/>
                    </a:lnTo>
                    <a:lnTo>
                      <a:pt x="33" y="10"/>
                    </a:lnTo>
                    <a:lnTo>
                      <a:pt x="76" y="10"/>
                    </a:lnTo>
                    <a:lnTo>
                      <a:pt x="85" y="26"/>
                    </a:lnTo>
                    <a:lnTo>
                      <a:pt x="132" y="26"/>
                    </a:lnTo>
                    <a:lnTo>
                      <a:pt x="165" y="26"/>
                    </a:lnTo>
                    <a:lnTo>
                      <a:pt x="208" y="16"/>
                    </a:lnTo>
                    <a:lnTo>
                      <a:pt x="260" y="0"/>
                    </a:lnTo>
                    <a:close/>
                  </a:path>
                </a:pathLst>
              </a:custGeom>
              <a:solidFill>
                <a:schemeClr val="accent1">
                  <a:lumMod val="20000"/>
                  <a:lumOff val="80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5" name="Freeform 547"/>
              <p:cNvSpPr>
                <a:spLocks noChangeAspect="1"/>
              </p:cNvSpPr>
              <p:nvPr/>
            </p:nvSpPr>
            <p:spPr bwMode="auto">
              <a:xfrm>
                <a:off x="2243131" y="4710790"/>
                <a:ext cx="631" cy="730"/>
              </a:xfrm>
              <a:custGeom>
                <a:avLst/>
                <a:gdLst>
                  <a:gd name="T0" fmla="*/ 713 w 931"/>
                  <a:gd name="T1" fmla="*/ 1163 h 1179"/>
                  <a:gd name="T2" fmla="*/ 769 w 931"/>
                  <a:gd name="T3" fmla="*/ 1052 h 1179"/>
                  <a:gd name="T4" fmla="*/ 793 w 931"/>
                  <a:gd name="T5" fmla="*/ 1015 h 1179"/>
                  <a:gd name="T6" fmla="*/ 774 w 931"/>
                  <a:gd name="T7" fmla="*/ 963 h 1179"/>
                  <a:gd name="T8" fmla="*/ 751 w 931"/>
                  <a:gd name="T9" fmla="*/ 957 h 1179"/>
                  <a:gd name="T10" fmla="*/ 769 w 931"/>
                  <a:gd name="T11" fmla="*/ 916 h 1179"/>
                  <a:gd name="T12" fmla="*/ 798 w 931"/>
                  <a:gd name="T13" fmla="*/ 857 h 1179"/>
                  <a:gd name="T14" fmla="*/ 887 w 931"/>
                  <a:gd name="T15" fmla="*/ 926 h 1179"/>
                  <a:gd name="T16" fmla="*/ 924 w 931"/>
                  <a:gd name="T17" fmla="*/ 926 h 1179"/>
                  <a:gd name="T18" fmla="*/ 896 w 931"/>
                  <a:gd name="T19" fmla="*/ 846 h 1179"/>
                  <a:gd name="T20" fmla="*/ 868 w 931"/>
                  <a:gd name="T21" fmla="*/ 842 h 1179"/>
                  <a:gd name="T22" fmla="*/ 769 w 931"/>
                  <a:gd name="T23" fmla="*/ 752 h 1179"/>
                  <a:gd name="T24" fmla="*/ 708 w 931"/>
                  <a:gd name="T25" fmla="*/ 704 h 1179"/>
                  <a:gd name="T26" fmla="*/ 713 w 931"/>
                  <a:gd name="T27" fmla="*/ 672 h 1179"/>
                  <a:gd name="T28" fmla="*/ 620 w 931"/>
                  <a:gd name="T29" fmla="*/ 624 h 1179"/>
                  <a:gd name="T30" fmla="*/ 578 w 931"/>
                  <a:gd name="T31" fmla="*/ 583 h 1179"/>
                  <a:gd name="T32" fmla="*/ 479 w 931"/>
                  <a:gd name="T33" fmla="*/ 416 h 1179"/>
                  <a:gd name="T34" fmla="*/ 460 w 931"/>
                  <a:gd name="T35" fmla="*/ 284 h 1179"/>
                  <a:gd name="T36" fmla="*/ 432 w 931"/>
                  <a:gd name="T37" fmla="*/ 232 h 1179"/>
                  <a:gd name="T38" fmla="*/ 512 w 931"/>
                  <a:gd name="T39" fmla="*/ 190 h 1179"/>
                  <a:gd name="T40" fmla="*/ 549 w 931"/>
                  <a:gd name="T41" fmla="*/ 99 h 1179"/>
                  <a:gd name="T42" fmla="*/ 465 w 931"/>
                  <a:gd name="T43" fmla="*/ 58 h 1179"/>
                  <a:gd name="T44" fmla="*/ 451 w 931"/>
                  <a:gd name="T45" fmla="*/ 21 h 1179"/>
                  <a:gd name="T46" fmla="*/ 334 w 931"/>
                  <a:gd name="T47" fmla="*/ 5 h 1179"/>
                  <a:gd name="T48" fmla="*/ 278 w 931"/>
                  <a:gd name="T49" fmla="*/ 74 h 1179"/>
                  <a:gd name="T50" fmla="*/ 230 w 931"/>
                  <a:gd name="T51" fmla="*/ 68 h 1179"/>
                  <a:gd name="T52" fmla="*/ 169 w 931"/>
                  <a:gd name="T53" fmla="*/ 89 h 1179"/>
                  <a:gd name="T54" fmla="*/ 146 w 931"/>
                  <a:gd name="T55" fmla="*/ 42 h 1179"/>
                  <a:gd name="T56" fmla="*/ 113 w 931"/>
                  <a:gd name="T57" fmla="*/ 84 h 1179"/>
                  <a:gd name="T58" fmla="*/ 28 w 931"/>
                  <a:gd name="T59" fmla="*/ 121 h 1179"/>
                  <a:gd name="T60" fmla="*/ 9 w 931"/>
                  <a:gd name="T61" fmla="*/ 195 h 1179"/>
                  <a:gd name="T62" fmla="*/ 0 w 931"/>
                  <a:gd name="T63" fmla="*/ 268 h 1179"/>
                  <a:gd name="T64" fmla="*/ 38 w 931"/>
                  <a:gd name="T65" fmla="*/ 296 h 1179"/>
                  <a:gd name="T66" fmla="*/ 66 w 931"/>
                  <a:gd name="T67" fmla="*/ 354 h 1179"/>
                  <a:gd name="T68" fmla="*/ 155 w 931"/>
                  <a:gd name="T69" fmla="*/ 300 h 1179"/>
                  <a:gd name="T70" fmla="*/ 240 w 931"/>
                  <a:gd name="T71" fmla="*/ 385 h 1179"/>
                  <a:gd name="T72" fmla="*/ 278 w 931"/>
                  <a:gd name="T73" fmla="*/ 500 h 1179"/>
                  <a:gd name="T74" fmla="*/ 342 w 931"/>
                  <a:gd name="T75" fmla="*/ 563 h 1179"/>
                  <a:gd name="T76" fmla="*/ 427 w 931"/>
                  <a:gd name="T77" fmla="*/ 678 h 1179"/>
                  <a:gd name="T78" fmla="*/ 559 w 931"/>
                  <a:gd name="T79" fmla="*/ 788 h 1179"/>
                  <a:gd name="T80" fmla="*/ 601 w 931"/>
                  <a:gd name="T81" fmla="*/ 820 h 1179"/>
                  <a:gd name="T82" fmla="*/ 634 w 931"/>
                  <a:gd name="T83" fmla="*/ 894 h 1179"/>
                  <a:gd name="T84" fmla="*/ 686 w 931"/>
                  <a:gd name="T85" fmla="*/ 916 h 1179"/>
                  <a:gd name="T86" fmla="*/ 705 w 931"/>
                  <a:gd name="T87" fmla="*/ 1010 h 1179"/>
                  <a:gd name="T88" fmla="*/ 689 w 931"/>
                  <a:gd name="T89" fmla="*/ 1079 h 1179"/>
                  <a:gd name="T90" fmla="*/ 675 w 931"/>
                  <a:gd name="T91" fmla="*/ 1163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31" h="1179">
                    <a:moveTo>
                      <a:pt x="675" y="1163"/>
                    </a:moveTo>
                    <a:lnTo>
                      <a:pt x="689" y="1179"/>
                    </a:lnTo>
                    <a:lnTo>
                      <a:pt x="713" y="1163"/>
                    </a:lnTo>
                    <a:lnTo>
                      <a:pt x="741" y="1121"/>
                    </a:lnTo>
                    <a:lnTo>
                      <a:pt x="755" y="1058"/>
                    </a:lnTo>
                    <a:lnTo>
                      <a:pt x="769" y="1052"/>
                    </a:lnTo>
                    <a:lnTo>
                      <a:pt x="779" y="1062"/>
                    </a:lnTo>
                    <a:lnTo>
                      <a:pt x="798" y="1042"/>
                    </a:lnTo>
                    <a:lnTo>
                      <a:pt x="793" y="1015"/>
                    </a:lnTo>
                    <a:lnTo>
                      <a:pt x="802" y="994"/>
                    </a:lnTo>
                    <a:lnTo>
                      <a:pt x="798" y="984"/>
                    </a:lnTo>
                    <a:lnTo>
                      <a:pt x="774" y="963"/>
                    </a:lnTo>
                    <a:lnTo>
                      <a:pt x="765" y="963"/>
                    </a:lnTo>
                    <a:lnTo>
                      <a:pt x="769" y="951"/>
                    </a:lnTo>
                    <a:lnTo>
                      <a:pt x="751" y="957"/>
                    </a:lnTo>
                    <a:lnTo>
                      <a:pt x="741" y="947"/>
                    </a:lnTo>
                    <a:lnTo>
                      <a:pt x="741" y="936"/>
                    </a:lnTo>
                    <a:lnTo>
                      <a:pt x="769" y="916"/>
                    </a:lnTo>
                    <a:lnTo>
                      <a:pt x="783" y="894"/>
                    </a:lnTo>
                    <a:lnTo>
                      <a:pt x="783" y="862"/>
                    </a:lnTo>
                    <a:lnTo>
                      <a:pt x="798" y="857"/>
                    </a:lnTo>
                    <a:lnTo>
                      <a:pt x="845" y="883"/>
                    </a:lnTo>
                    <a:lnTo>
                      <a:pt x="863" y="889"/>
                    </a:lnTo>
                    <a:lnTo>
                      <a:pt x="887" y="926"/>
                    </a:lnTo>
                    <a:lnTo>
                      <a:pt x="896" y="947"/>
                    </a:lnTo>
                    <a:lnTo>
                      <a:pt x="910" y="947"/>
                    </a:lnTo>
                    <a:lnTo>
                      <a:pt x="924" y="926"/>
                    </a:lnTo>
                    <a:lnTo>
                      <a:pt x="931" y="904"/>
                    </a:lnTo>
                    <a:lnTo>
                      <a:pt x="915" y="867"/>
                    </a:lnTo>
                    <a:lnTo>
                      <a:pt x="896" y="846"/>
                    </a:lnTo>
                    <a:lnTo>
                      <a:pt x="878" y="846"/>
                    </a:lnTo>
                    <a:lnTo>
                      <a:pt x="878" y="842"/>
                    </a:lnTo>
                    <a:lnTo>
                      <a:pt x="868" y="842"/>
                    </a:lnTo>
                    <a:lnTo>
                      <a:pt x="821" y="788"/>
                    </a:lnTo>
                    <a:lnTo>
                      <a:pt x="798" y="793"/>
                    </a:lnTo>
                    <a:lnTo>
                      <a:pt x="769" y="752"/>
                    </a:lnTo>
                    <a:lnTo>
                      <a:pt x="751" y="746"/>
                    </a:lnTo>
                    <a:lnTo>
                      <a:pt x="722" y="715"/>
                    </a:lnTo>
                    <a:lnTo>
                      <a:pt x="708" y="704"/>
                    </a:lnTo>
                    <a:lnTo>
                      <a:pt x="719" y="694"/>
                    </a:lnTo>
                    <a:lnTo>
                      <a:pt x="732" y="688"/>
                    </a:lnTo>
                    <a:lnTo>
                      <a:pt x="713" y="672"/>
                    </a:lnTo>
                    <a:lnTo>
                      <a:pt x="689" y="682"/>
                    </a:lnTo>
                    <a:lnTo>
                      <a:pt x="672" y="672"/>
                    </a:lnTo>
                    <a:lnTo>
                      <a:pt x="620" y="624"/>
                    </a:lnTo>
                    <a:lnTo>
                      <a:pt x="615" y="604"/>
                    </a:lnTo>
                    <a:lnTo>
                      <a:pt x="596" y="598"/>
                    </a:lnTo>
                    <a:lnTo>
                      <a:pt x="578" y="583"/>
                    </a:lnTo>
                    <a:lnTo>
                      <a:pt x="530" y="469"/>
                    </a:lnTo>
                    <a:lnTo>
                      <a:pt x="516" y="453"/>
                    </a:lnTo>
                    <a:lnTo>
                      <a:pt x="479" y="416"/>
                    </a:lnTo>
                    <a:lnTo>
                      <a:pt x="436" y="342"/>
                    </a:lnTo>
                    <a:lnTo>
                      <a:pt x="436" y="300"/>
                    </a:lnTo>
                    <a:lnTo>
                      <a:pt x="460" y="284"/>
                    </a:lnTo>
                    <a:lnTo>
                      <a:pt x="460" y="263"/>
                    </a:lnTo>
                    <a:lnTo>
                      <a:pt x="441" y="243"/>
                    </a:lnTo>
                    <a:lnTo>
                      <a:pt x="432" y="232"/>
                    </a:lnTo>
                    <a:lnTo>
                      <a:pt x="436" y="216"/>
                    </a:lnTo>
                    <a:lnTo>
                      <a:pt x="455" y="206"/>
                    </a:lnTo>
                    <a:lnTo>
                      <a:pt x="512" y="190"/>
                    </a:lnTo>
                    <a:lnTo>
                      <a:pt x="535" y="173"/>
                    </a:lnTo>
                    <a:lnTo>
                      <a:pt x="554" y="153"/>
                    </a:lnTo>
                    <a:lnTo>
                      <a:pt x="549" y="99"/>
                    </a:lnTo>
                    <a:lnTo>
                      <a:pt x="554" y="79"/>
                    </a:lnTo>
                    <a:lnTo>
                      <a:pt x="526" y="74"/>
                    </a:lnTo>
                    <a:lnTo>
                      <a:pt x="465" y="58"/>
                    </a:lnTo>
                    <a:lnTo>
                      <a:pt x="455" y="42"/>
                    </a:lnTo>
                    <a:lnTo>
                      <a:pt x="451" y="37"/>
                    </a:lnTo>
                    <a:lnTo>
                      <a:pt x="451" y="21"/>
                    </a:lnTo>
                    <a:lnTo>
                      <a:pt x="446" y="5"/>
                    </a:lnTo>
                    <a:lnTo>
                      <a:pt x="413" y="0"/>
                    </a:lnTo>
                    <a:lnTo>
                      <a:pt x="334" y="5"/>
                    </a:lnTo>
                    <a:lnTo>
                      <a:pt x="325" y="27"/>
                    </a:lnTo>
                    <a:lnTo>
                      <a:pt x="296" y="31"/>
                    </a:lnTo>
                    <a:lnTo>
                      <a:pt x="278" y="74"/>
                    </a:lnTo>
                    <a:lnTo>
                      <a:pt x="278" y="89"/>
                    </a:lnTo>
                    <a:lnTo>
                      <a:pt x="259" y="74"/>
                    </a:lnTo>
                    <a:lnTo>
                      <a:pt x="230" y="68"/>
                    </a:lnTo>
                    <a:lnTo>
                      <a:pt x="212" y="79"/>
                    </a:lnTo>
                    <a:lnTo>
                      <a:pt x="198" y="111"/>
                    </a:lnTo>
                    <a:lnTo>
                      <a:pt x="169" y="89"/>
                    </a:lnTo>
                    <a:lnTo>
                      <a:pt x="174" y="58"/>
                    </a:lnTo>
                    <a:lnTo>
                      <a:pt x="165" y="37"/>
                    </a:lnTo>
                    <a:lnTo>
                      <a:pt x="146" y="42"/>
                    </a:lnTo>
                    <a:lnTo>
                      <a:pt x="141" y="68"/>
                    </a:lnTo>
                    <a:lnTo>
                      <a:pt x="127" y="84"/>
                    </a:lnTo>
                    <a:lnTo>
                      <a:pt x="113" y="84"/>
                    </a:lnTo>
                    <a:lnTo>
                      <a:pt x="47" y="74"/>
                    </a:lnTo>
                    <a:lnTo>
                      <a:pt x="25" y="95"/>
                    </a:lnTo>
                    <a:lnTo>
                      <a:pt x="28" y="121"/>
                    </a:lnTo>
                    <a:lnTo>
                      <a:pt x="33" y="142"/>
                    </a:lnTo>
                    <a:lnTo>
                      <a:pt x="0" y="173"/>
                    </a:lnTo>
                    <a:lnTo>
                      <a:pt x="9" y="195"/>
                    </a:lnTo>
                    <a:lnTo>
                      <a:pt x="19" y="206"/>
                    </a:lnTo>
                    <a:lnTo>
                      <a:pt x="0" y="232"/>
                    </a:lnTo>
                    <a:lnTo>
                      <a:pt x="0" y="268"/>
                    </a:lnTo>
                    <a:lnTo>
                      <a:pt x="9" y="284"/>
                    </a:lnTo>
                    <a:lnTo>
                      <a:pt x="28" y="284"/>
                    </a:lnTo>
                    <a:lnTo>
                      <a:pt x="38" y="296"/>
                    </a:lnTo>
                    <a:lnTo>
                      <a:pt x="47" y="321"/>
                    </a:lnTo>
                    <a:lnTo>
                      <a:pt x="47" y="348"/>
                    </a:lnTo>
                    <a:lnTo>
                      <a:pt x="66" y="354"/>
                    </a:lnTo>
                    <a:lnTo>
                      <a:pt x="80" y="348"/>
                    </a:lnTo>
                    <a:lnTo>
                      <a:pt x="132" y="290"/>
                    </a:lnTo>
                    <a:lnTo>
                      <a:pt x="155" y="300"/>
                    </a:lnTo>
                    <a:lnTo>
                      <a:pt x="202" y="327"/>
                    </a:lnTo>
                    <a:lnTo>
                      <a:pt x="235" y="354"/>
                    </a:lnTo>
                    <a:lnTo>
                      <a:pt x="240" y="385"/>
                    </a:lnTo>
                    <a:lnTo>
                      <a:pt x="259" y="406"/>
                    </a:lnTo>
                    <a:lnTo>
                      <a:pt x="268" y="443"/>
                    </a:lnTo>
                    <a:lnTo>
                      <a:pt x="278" y="500"/>
                    </a:lnTo>
                    <a:lnTo>
                      <a:pt x="292" y="527"/>
                    </a:lnTo>
                    <a:lnTo>
                      <a:pt x="309" y="549"/>
                    </a:lnTo>
                    <a:lnTo>
                      <a:pt x="342" y="563"/>
                    </a:lnTo>
                    <a:lnTo>
                      <a:pt x="372" y="614"/>
                    </a:lnTo>
                    <a:lnTo>
                      <a:pt x="399" y="657"/>
                    </a:lnTo>
                    <a:lnTo>
                      <a:pt x="427" y="678"/>
                    </a:lnTo>
                    <a:lnTo>
                      <a:pt x="479" y="746"/>
                    </a:lnTo>
                    <a:lnTo>
                      <a:pt x="516" y="746"/>
                    </a:lnTo>
                    <a:lnTo>
                      <a:pt x="559" y="788"/>
                    </a:lnTo>
                    <a:lnTo>
                      <a:pt x="559" y="830"/>
                    </a:lnTo>
                    <a:lnTo>
                      <a:pt x="573" y="842"/>
                    </a:lnTo>
                    <a:lnTo>
                      <a:pt x="601" y="820"/>
                    </a:lnTo>
                    <a:lnTo>
                      <a:pt x="606" y="842"/>
                    </a:lnTo>
                    <a:lnTo>
                      <a:pt x="606" y="867"/>
                    </a:lnTo>
                    <a:lnTo>
                      <a:pt x="634" y="894"/>
                    </a:lnTo>
                    <a:lnTo>
                      <a:pt x="643" y="910"/>
                    </a:lnTo>
                    <a:lnTo>
                      <a:pt x="681" y="899"/>
                    </a:lnTo>
                    <a:lnTo>
                      <a:pt x="686" y="916"/>
                    </a:lnTo>
                    <a:lnTo>
                      <a:pt x="681" y="951"/>
                    </a:lnTo>
                    <a:lnTo>
                      <a:pt x="700" y="984"/>
                    </a:lnTo>
                    <a:lnTo>
                      <a:pt x="705" y="1010"/>
                    </a:lnTo>
                    <a:lnTo>
                      <a:pt x="713" y="1037"/>
                    </a:lnTo>
                    <a:lnTo>
                      <a:pt x="708" y="1058"/>
                    </a:lnTo>
                    <a:lnTo>
                      <a:pt x="689" y="1079"/>
                    </a:lnTo>
                    <a:lnTo>
                      <a:pt x="686" y="1105"/>
                    </a:lnTo>
                    <a:lnTo>
                      <a:pt x="672" y="1136"/>
                    </a:lnTo>
                    <a:lnTo>
                      <a:pt x="675" y="1163"/>
                    </a:lnTo>
                    <a:close/>
                  </a:path>
                </a:pathLst>
              </a:custGeom>
              <a:solidFill>
                <a:schemeClr val="accent1">
                  <a:lumMod val="20000"/>
                  <a:lumOff val="80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grpSp>
          <p:nvGrpSpPr>
            <p:cNvPr id="33" name="GR"/>
            <p:cNvGrpSpPr>
              <a:grpSpLocks/>
            </p:cNvGrpSpPr>
            <p:nvPr/>
          </p:nvGrpSpPr>
          <p:grpSpPr bwMode="auto">
            <a:xfrm>
              <a:off x="6856601" y="5199139"/>
              <a:ext cx="1093780" cy="1031887"/>
              <a:chOff x="3816299" y="5517315"/>
              <a:chExt cx="501" cy="535"/>
            </a:xfrm>
            <a:solidFill>
              <a:schemeClr val="bg1">
                <a:lumMod val="95000"/>
              </a:schemeClr>
            </a:solidFill>
            <a:effectLst/>
          </p:grpSpPr>
          <p:sp>
            <p:nvSpPr>
              <p:cNvPr id="64" name="Freeform 536"/>
              <p:cNvSpPr>
                <a:spLocks noChangeAspect="1"/>
              </p:cNvSpPr>
              <p:nvPr/>
            </p:nvSpPr>
            <p:spPr bwMode="auto">
              <a:xfrm>
                <a:off x="3816585" y="5517458"/>
                <a:ext cx="26" cy="24"/>
              </a:xfrm>
              <a:custGeom>
                <a:avLst/>
                <a:gdLst>
                  <a:gd name="T0" fmla="*/ 38 w 38"/>
                  <a:gd name="T1" fmla="*/ 0 h 40"/>
                  <a:gd name="T2" fmla="*/ 14 w 38"/>
                  <a:gd name="T3" fmla="*/ 0 h 40"/>
                  <a:gd name="T4" fmla="*/ 2 w 38"/>
                  <a:gd name="T5" fmla="*/ 9 h 40"/>
                  <a:gd name="T6" fmla="*/ 0 w 38"/>
                  <a:gd name="T7" fmla="*/ 22 h 40"/>
                  <a:gd name="T8" fmla="*/ 0 w 38"/>
                  <a:gd name="T9" fmla="*/ 37 h 40"/>
                  <a:gd name="T10" fmla="*/ 11 w 38"/>
                  <a:gd name="T11" fmla="*/ 40 h 40"/>
                  <a:gd name="T12" fmla="*/ 33 w 38"/>
                  <a:gd name="T13" fmla="*/ 25 h 40"/>
                  <a:gd name="T14" fmla="*/ 38 w 38"/>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0">
                    <a:moveTo>
                      <a:pt x="38" y="0"/>
                    </a:moveTo>
                    <a:lnTo>
                      <a:pt x="14" y="0"/>
                    </a:lnTo>
                    <a:lnTo>
                      <a:pt x="2" y="9"/>
                    </a:lnTo>
                    <a:lnTo>
                      <a:pt x="0" y="22"/>
                    </a:lnTo>
                    <a:lnTo>
                      <a:pt x="0" y="37"/>
                    </a:lnTo>
                    <a:lnTo>
                      <a:pt x="11" y="40"/>
                    </a:lnTo>
                    <a:lnTo>
                      <a:pt x="33" y="25"/>
                    </a:lnTo>
                    <a:lnTo>
                      <a:pt x="38"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5" name="Freeform 537"/>
              <p:cNvSpPr>
                <a:spLocks noChangeAspect="1"/>
              </p:cNvSpPr>
              <p:nvPr/>
            </p:nvSpPr>
            <p:spPr bwMode="auto">
              <a:xfrm>
                <a:off x="3816633" y="5517499"/>
                <a:ext cx="45" cy="33"/>
              </a:xfrm>
              <a:custGeom>
                <a:avLst/>
                <a:gdLst>
                  <a:gd name="T0" fmla="*/ 35 w 66"/>
                  <a:gd name="T1" fmla="*/ 0 h 52"/>
                  <a:gd name="T2" fmla="*/ 66 w 66"/>
                  <a:gd name="T3" fmla="*/ 37 h 52"/>
                  <a:gd name="T4" fmla="*/ 60 w 66"/>
                  <a:gd name="T5" fmla="*/ 47 h 52"/>
                  <a:gd name="T6" fmla="*/ 44 w 66"/>
                  <a:gd name="T7" fmla="*/ 52 h 52"/>
                  <a:gd name="T8" fmla="*/ 41 w 66"/>
                  <a:gd name="T9" fmla="*/ 40 h 52"/>
                  <a:gd name="T10" fmla="*/ 35 w 66"/>
                  <a:gd name="T11" fmla="*/ 34 h 52"/>
                  <a:gd name="T12" fmla="*/ 25 w 66"/>
                  <a:gd name="T13" fmla="*/ 40 h 52"/>
                  <a:gd name="T14" fmla="*/ 14 w 66"/>
                  <a:gd name="T15" fmla="*/ 31 h 52"/>
                  <a:gd name="T16" fmla="*/ 9 w 66"/>
                  <a:gd name="T17" fmla="*/ 24 h 52"/>
                  <a:gd name="T18" fmla="*/ 16 w 66"/>
                  <a:gd name="T19" fmla="*/ 18 h 52"/>
                  <a:gd name="T20" fmla="*/ 2 w 66"/>
                  <a:gd name="T21" fmla="*/ 27 h 52"/>
                  <a:gd name="T22" fmla="*/ 0 w 66"/>
                  <a:gd name="T23" fmla="*/ 18 h 52"/>
                  <a:gd name="T24" fmla="*/ 19 w 66"/>
                  <a:gd name="T25" fmla="*/ 10 h 52"/>
                  <a:gd name="T26" fmla="*/ 35 w 66"/>
                  <a:gd name="T2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52">
                    <a:moveTo>
                      <a:pt x="35" y="0"/>
                    </a:moveTo>
                    <a:lnTo>
                      <a:pt x="66" y="37"/>
                    </a:lnTo>
                    <a:lnTo>
                      <a:pt x="60" y="47"/>
                    </a:lnTo>
                    <a:lnTo>
                      <a:pt x="44" y="52"/>
                    </a:lnTo>
                    <a:lnTo>
                      <a:pt x="41" y="40"/>
                    </a:lnTo>
                    <a:lnTo>
                      <a:pt x="35" y="34"/>
                    </a:lnTo>
                    <a:lnTo>
                      <a:pt x="25" y="40"/>
                    </a:lnTo>
                    <a:lnTo>
                      <a:pt x="14" y="31"/>
                    </a:lnTo>
                    <a:lnTo>
                      <a:pt x="9" y="24"/>
                    </a:lnTo>
                    <a:lnTo>
                      <a:pt x="16" y="18"/>
                    </a:lnTo>
                    <a:lnTo>
                      <a:pt x="2" y="27"/>
                    </a:lnTo>
                    <a:lnTo>
                      <a:pt x="0" y="18"/>
                    </a:lnTo>
                    <a:lnTo>
                      <a:pt x="19" y="10"/>
                    </a:lnTo>
                    <a:lnTo>
                      <a:pt x="35"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6" name="Freeform 538"/>
              <p:cNvSpPr>
                <a:spLocks noChangeAspect="1"/>
              </p:cNvSpPr>
              <p:nvPr/>
            </p:nvSpPr>
            <p:spPr bwMode="auto">
              <a:xfrm>
                <a:off x="3816309" y="5517596"/>
                <a:ext cx="21" cy="22"/>
              </a:xfrm>
              <a:custGeom>
                <a:avLst/>
                <a:gdLst>
                  <a:gd name="T0" fmla="*/ 22 w 30"/>
                  <a:gd name="T1" fmla="*/ 0 h 36"/>
                  <a:gd name="T2" fmla="*/ 30 w 30"/>
                  <a:gd name="T3" fmla="*/ 10 h 36"/>
                  <a:gd name="T4" fmla="*/ 27 w 30"/>
                  <a:gd name="T5" fmla="*/ 23 h 36"/>
                  <a:gd name="T6" fmla="*/ 30 w 30"/>
                  <a:gd name="T7" fmla="*/ 33 h 36"/>
                  <a:gd name="T8" fmla="*/ 22 w 30"/>
                  <a:gd name="T9" fmla="*/ 36 h 36"/>
                  <a:gd name="T10" fmla="*/ 8 w 30"/>
                  <a:gd name="T11" fmla="*/ 33 h 36"/>
                  <a:gd name="T12" fmla="*/ 0 w 30"/>
                  <a:gd name="T13" fmla="*/ 20 h 36"/>
                  <a:gd name="T14" fmla="*/ 22 w 30"/>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6">
                    <a:moveTo>
                      <a:pt x="22" y="0"/>
                    </a:moveTo>
                    <a:lnTo>
                      <a:pt x="30" y="10"/>
                    </a:lnTo>
                    <a:lnTo>
                      <a:pt x="27" y="23"/>
                    </a:lnTo>
                    <a:lnTo>
                      <a:pt x="30" y="33"/>
                    </a:lnTo>
                    <a:lnTo>
                      <a:pt x="22" y="36"/>
                    </a:lnTo>
                    <a:lnTo>
                      <a:pt x="8" y="33"/>
                    </a:lnTo>
                    <a:lnTo>
                      <a:pt x="0" y="20"/>
                    </a:lnTo>
                    <a:lnTo>
                      <a:pt x="22"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7" name="Freeform 539"/>
              <p:cNvSpPr>
                <a:spLocks noChangeAspect="1"/>
              </p:cNvSpPr>
              <p:nvPr/>
            </p:nvSpPr>
            <p:spPr bwMode="auto">
              <a:xfrm>
                <a:off x="3816484" y="5517548"/>
                <a:ext cx="91" cy="76"/>
              </a:xfrm>
              <a:custGeom>
                <a:avLst/>
                <a:gdLst>
                  <a:gd name="T0" fmla="*/ 11 w 134"/>
                  <a:gd name="T1" fmla="*/ 0 h 124"/>
                  <a:gd name="T2" fmla="*/ 0 w 134"/>
                  <a:gd name="T3" fmla="*/ 10 h 124"/>
                  <a:gd name="T4" fmla="*/ 14 w 134"/>
                  <a:gd name="T5" fmla="*/ 37 h 124"/>
                  <a:gd name="T6" fmla="*/ 30 w 134"/>
                  <a:gd name="T7" fmla="*/ 43 h 124"/>
                  <a:gd name="T8" fmla="*/ 49 w 134"/>
                  <a:gd name="T9" fmla="*/ 65 h 124"/>
                  <a:gd name="T10" fmla="*/ 66 w 134"/>
                  <a:gd name="T11" fmla="*/ 77 h 124"/>
                  <a:gd name="T12" fmla="*/ 93 w 134"/>
                  <a:gd name="T13" fmla="*/ 100 h 124"/>
                  <a:gd name="T14" fmla="*/ 109 w 134"/>
                  <a:gd name="T15" fmla="*/ 108 h 124"/>
                  <a:gd name="T16" fmla="*/ 129 w 134"/>
                  <a:gd name="T17" fmla="*/ 124 h 124"/>
                  <a:gd name="T18" fmla="*/ 134 w 134"/>
                  <a:gd name="T19" fmla="*/ 115 h 124"/>
                  <a:gd name="T20" fmla="*/ 93 w 134"/>
                  <a:gd name="T21" fmla="*/ 80 h 124"/>
                  <a:gd name="T22" fmla="*/ 90 w 134"/>
                  <a:gd name="T23" fmla="*/ 63 h 124"/>
                  <a:gd name="T24" fmla="*/ 85 w 134"/>
                  <a:gd name="T25" fmla="*/ 47 h 124"/>
                  <a:gd name="T26" fmla="*/ 68 w 134"/>
                  <a:gd name="T27" fmla="*/ 28 h 124"/>
                  <a:gd name="T28" fmla="*/ 63 w 134"/>
                  <a:gd name="T29" fmla="*/ 31 h 124"/>
                  <a:gd name="T30" fmla="*/ 41 w 134"/>
                  <a:gd name="T31" fmla="*/ 13 h 124"/>
                  <a:gd name="T32" fmla="*/ 28 w 134"/>
                  <a:gd name="T33" fmla="*/ 6 h 124"/>
                  <a:gd name="T34" fmla="*/ 11 w 134"/>
                  <a:gd name="T3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4" h="124">
                    <a:moveTo>
                      <a:pt x="11" y="0"/>
                    </a:moveTo>
                    <a:lnTo>
                      <a:pt x="0" y="10"/>
                    </a:lnTo>
                    <a:lnTo>
                      <a:pt x="14" y="37"/>
                    </a:lnTo>
                    <a:lnTo>
                      <a:pt x="30" y="43"/>
                    </a:lnTo>
                    <a:lnTo>
                      <a:pt x="49" y="65"/>
                    </a:lnTo>
                    <a:lnTo>
                      <a:pt x="66" y="77"/>
                    </a:lnTo>
                    <a:lnTo>
                      <a:pt x="93" y="100"/>
                    </a:lnTo>
                    <a:lnTo>
                      <a:pt x="109" y="108"/>
                    </a:lnTo>
                    <a:lnTo>
                      <a:pt x="129" y="124"/>
                    </a:lnTo>
                    <a:lnTo>
                      <a:pt x="134" y="115"/>
                    </a:lnTo>
                    <a:lnTo>
                      <a:pt x="93" y="80"/>
                    </a:lnTo>
                    <a:lnTo>
                      <a:pt x="90" y="63"/>
                    </a:lnTo>
                    <a:lnTo>
                      <a:pt x="85" y="47"/>
                    </a:lnTo>
                    <a:lnTo>
                      <a:pt x="68" y="28"/>
                    </a:lnTo>
                    <a:lnTo>
                      <a:pt x="63" y="31"/>
                    </a:lnTo>
                    <a:lnTo>
                      <a:pt x="41" y="13"/>
                    </a:lnTo>
                    <a:lnTo>
                      <a:pt x="28" y="6"/>
                    </a:lnTo>
                    <a:lnTo>
                      <a:pt x="11"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8" name="Freeform 540"/>
              <p:cNvSpPr>
                <a:spLocks noChangeAspect="1"/>
              </p:cNvSpPr>
              <p:nvPr/>
            </p:nvSpPr>
            <p:spPr bwMode="auto">
              <a:xfrm>
                <a:off x="3816760" y="5517688"/>
                <a:ext cx="36" cy="20"/>
              </a:xfrm>
              <a:custGeom>
                <a:avLst/>
                <a:gdLst>
                  <a:gd name="T0" fmla="*/ 52 w 52"/>
                  <a:gd name="T1" fmla="*/ 8 h 31"/>
                  <a:gd name="T2" fmla="*/ 28 w 52"/>
                  <a:gd name="T3" fmla="*/ 31 h 31"/>
                  <a:gd name="T4" fmla="*/ 12 w 52"/>
                  <a:gd name="T5" fmla="*/ 31 h 31"/>
                  <a:gd name="T6" fmla="*/ 0 w 52"/>
                  <a:gd name="T7" fmla="*/ 21 h 31"/>
                  <a:gd name="T8" fmla="*/ 8 w 52"/>
                  <a:gd name="T9" fmla="*/ 2 h 31"/>
                  <a:gd name="T10" fmla="*/ 33 w 52"/>
                  <a:gd name="T11" fmla="*/ 0 h 31"/>
                  <a:gd name="T12" fmla="*/ 52 w 52"/>
                  <a:gd name="T13" fmla="*/ 8 h 31"/>
                </a:gdLst>
                <a:ahLst/>
                <a:cxnLst>
                  <a:cxn ang="0">
                    <a:pos x="T0" y="T1"/>
                  </a:cxn>
                  <a:cxn ang="0">
                    <a:pos x="T2" y="T3"/>
                  </a:cxn>
                  <a:cxn ang="0">
                    <a:pos x="T4" y="T5"/>
                  </a:cxn>
                  <a:cxn ang="0">
                    <a:pos x="T6" y="T7"/>
                  </a:cxn>
                  <a:cxn ang="0">
                    <a:pos x="T8" y="T9"/>
                  </a:cxn>
                  <a:cxn ang="0">
                    <a:pos x="T10" y="T11"/>
                  </a:cxn>
                  <a:cxn ang="0">
                    <a:pos x="T12" y="T13"/>
                  </a:cxn>
                </a:cxnLst>
                <a:rect l="0" t="0" r="r" b="b"/>
                <a:pathLst>
                  <a:path w="52" h="31">
                    <a:moveTo>
                      <a:pt x="52" y="8"/>
                    </a:moveTo>
                    <a:lnTo>
                      <a:pt x="28" y="31"/>
                    </a:lnTo>
                    <a:lnTo>
                      <a:pt x="12" y="31"/>
                    </a:lnTo>
                    <a:lnTo>
                      <a:pt x="0" y="21"/>
                    </a:lnTo>
                    <a:lnTo>
                      <a:pt x="8" y="2"/>
                    </a:lnTo>
                    <a:lnTo>
                      <a:pt x="33" y="0"/>
                    </a:lnTo>
                    <a:lnTo>
                      <a:pt x="52" y="8"/>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9" name="Freeform 541"/>
              <p:cNvSpPr>
                <a:spLocks noChangeAspect="1"/>
              </p:cNvSpPr>
              <p:nvPr/>
            </p:nvSpPr>
            <p:spPr bwMode="auto">
              <a:xfrm>
                <a:off x="3816767" y="5517732"/>
                <a:ext cx="33" cy="30"/>
              </a:xfrm>
              <a:custGeom>
                <a:avLst/>
                <a:gdLst>
                  <a:gd name="T0" fmla="*/ 53 w 53"/>
                  <a:gd name="T1" fmla="*/ 0 h 47"/>
                  <a:gd name="T2" fmla="*/ 53 w 53"/>
                  <a:gd name="T3" fmla="*/ 15 h 47"/>
                  <a:gd name="T4" fmla="*/ 20 w 53"/>
                  <a:gd name="T5" fmla="*/ 40 h 47"/>
                  <a:gd name="T6" fmla="*/ 6 w 53"/>
                  <a:gd name="T7" fmla="*/ 47 h 47"/>
                  <a:gd name="T8" fmla="*/ 0 w 53"/>
                  <a:gd name="T9" fmla="*/ 44 h 47"/>
                  <a:gd name="T10" fmla="*/ 5 w 53"/>
                  <a:gd name="T11" fmla="*/ 27 h 47"/>
                  <a:gd name="T12" fmla="*/ 28 w 53"/>
                  <a:gd name="T13" fmla="*/ 8 h 47"/>
                  <a:gd name="T14" fmla="*/ 53 w 53"/>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47">
                    <a:moveTo>
                      <a:pt x="53" y="0"/>
                    </a:moveTo>
                    <a:lnTo>
                      <a:pt x="53" y="15"/>
                    </a:lnTo>
                    <a:lnTo>
                      <a:pt x="20" y="40"/>
                    </a:lnTo>
                    <a:lnTo>
                      <a:pt x="6" y="47"/>
                    </a:lnTo>
                    <a:lnTo>
                      <a:pt x="0" y="44"/>
                    </a:lnTo>
                    <a:lnTo>
                      <a:pt x="5" y="27"/>
                    </a:lnTo>
                    <a:lnTo>
                      <a:pt x="28" y="8"/>
                    </a:lnTo>
                    <a:lnTo>
                      <a:pt x="53"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0" name="Freeform 542"/>
              <p:cNvSpPr>
                <a:spLocks noChangeAspect="1"/>
              </p:cNvSpPr>
              <p:nvPr/>
            </p:nvSpPr>
            <p:spPr bwMode="auto">
              <a:xfrm>
                <a:off x="3816352" y="5517605"/>
                <a:ext cx="158" cy="142"/>
              </a:xfrm>
              <a:custGeom>
                <a:avLst/>
                <a:gdLst>
                  <a:gd name="T0" fmla="*/ 33 w 233"/>
                  <a:gd name="T1" fmla="*/ 10 h 231"/>
                  <a:gd name="T2" fmla="*/ 21 w 233"/>
                  <a:gd name="T3" fmla="*/ 16 h 231"/>
                  <a:gd name="T4" fmla="*/ 25 w 233"/>
                  <a:gd name="T5" fmla="*/ 29 h 231"/>
                  <a:gd name="T6" fmla="*/ 14 w 233"/>
                  <a:gd name="T7" fmla="*/ 45 h 231"/>
                  <a:gd name="T8" fmla="*/ 5 w 233"/>
                  <a:gd name="T9" fmla="*/ 43 h 231"/>
                  <a:gd name="T10" fmla="*/ 0 w 233"/>
                  <a:gd name="T11" fmla="*/ 50 h 231"/>
                  <a:gd name="T12" fmla="*/ 2 w 233"/>
                  <a:gd name="T13" fmla="*/ 66 h 231"/>
                  <a:gd name="T14" fmla="*/ 40 w 233"/>
                  <a:gd name="T15" fmla="*/ 82 h 231"/>
                  <a:gd name="T16" fmla="*/ 49 w 233"/>
                  <a:gd name="T17" fmla="*/ 117 h 231"/>
                  <a:gd name="T18" fmla="*/ 60 w 233"/>
                  <a:gd name="T19" fmla="*/ 161 h 231"/>
                  <a:gd name="T20" fmla="*/ 74 w 233"/>
                  <a:gd name="T21" fmla="*/ 185 h 231"/>
                  <a:gd name="T22" fmla="*/ 91 w 233"/>
                  <a:gd name="T23" fmla="*/ 170 h 231"/>
                  <a:gd name="T24" fmla="*/ 112 w 233"/>
                  <a:gd name="T25" fmla="*/ 201 h 231"/>
                  <a:gd name="T26" fmla="*/ 134 w 233"/>
                  <a:gd name="T27" fmla="*/ 231 h 231"/>
                  <a:gd name="T28" fmla="*/ 143 w 233"/>
                  <a:gd name="T29" fmla="*/ 208 h 231"/>
                  <a:gd name="T30" fmla="*/ 136 w 233"/>
                  <a:gd name="T31" fmla="*/ 192 h 231"/>
                  <a:gd name="T32" fmla="*/ 145 w 233"/>
                  <a:gd name="T33" fmla="*/ 185 h 231"/>
                  <a:gd name="T34" fmla="*/ 178 w 233"/>
                  <a:gd name="T35" fmla="*/ 214 h 231"/>
                  <a:gd name="T36" fmla="*/ 188 w 233"/>
                  <a:gd name="T37" fmla="*/ 205 h 231"/>
                  <a:gd name="T38" fmla="*/ 191 w 233"/>
                  <a:gd name="T39" fmla="*/ 195 h 231"/>
                  <a:gd name="T40" fmla="*/ 174 w 233"/>
                  <a:gd name="T41" fmla="*/ 158 h 231"/>
                  <a:gd name="T42" fmla="*/ 174 w 233"/>
                  <a:gd name="T43" fmla="*/ 151 h 231"/>
                  <a:gd name="T44" fmla="*/ 159 w 233"/>
                  <a:gd name="T45" fmla="*/ 121 h 231"/>
                  <a:gd name="T46" fmla="*/ 153 w 233"/>
                  <a:gd name="T47" fmla="*/ 100 h 231"/>
                  <a:gd name="T48" fmla="*/ 159 w 233"/>
                  <a:gd name="T49" fmla="*/ 99 h 231"/>
                  <a:gd name="T50" fmla="*/ 178 w 233"/>
                  <a:gd name="T51" fmla="*/ 103 h 231"/>
                  <a:gd name="T52" fmla="*/ 200 w 233"/>
                  <a:gd name="T53" fmla="*/ 124 h 231"/>
                  <a:gd name="T54" fmla="*/ 211 w 233"/>
                  <a:gd name="T55" fmla="*/ 109 h 231"/>
                  <a:gd name="T56" fmla="*/ 230 w 233"/>
                  <a:gd name="T57" fmla="*/ 111 h 231"/>
                  <a:gd name="T58" fmla="*/ 233 w 233"/>
                  <a:gd name="T59" fmla="*/ 106 h 231"/>
                  <a:gd name="T60" fmla="*/ 209 w 233"/>
                  <a:gd name="T61" fmla="*/ 72 h 231"/>
                  <a:gd name="T62" fmla="*/ 191 w 233"/>
                  <a:gd name="T63" fmla="*/ 74 h 231"/>
                  <a:gd name="T64" fmla="*/ 186 w 233"/>
                  <a:gd name="T65" fmla="*/ 63 h 231"/>
                  <a:gd name="T66" fmla="*/ 174 w 233"/>
                  <a:gd name="T67" fmla="*/ 37 h 231"/>
                  <a:gd name="T68" fmla="*/ 164 w 233"/>
                  <a:gd name="T69" fmla="*/ 47 h 231"/>
                  <a:gd name="T70" fmla="*/ 141 w 233"/>
                  <a:gd name="T71" fmla="*/ 37 h 231"/>
                  <a:gd name="T72" fmla="*/ 126 w 233"/>
                  <a:gd name="T73" fmla="*/ 10 h 231"/>
                  <a:gd name="T74" fmla="*/ 98 w 233"/>
                  <a:gd name="T75" fmla="*/ 13 h 231"/>
                  <a:gd name="T76" fmla="*/ 77 w 233"/>
                  <a:gd name="T77" fmla="*/ 16 h 231"/>
                  <a:gd name="T78" fmla="*/ 63 w 233"/>
                  <a:gd name="T79" fmla="*/ 0 h 231"/>
                  <a:gd name="T80" fmla="*/ 52 w 233"/>
                  <a:gd name="T81" fmla="*/ 9 h 231"/>
                  <a:gd name="T82" fmla="*/ 33 w 233"/>
                  <a:gd name="T83" fmla="*/ 1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3" h="231">
                    <a:moveTo>
                      <a:pt x="33" y="10"/>
                    </a:moveTo>
                    <a:lnTo>
                      <a:pt x="21" y="16"/>
                    </a:lnTo>
                    <a:lnTo>
                      <a:pt x="25" y="29"/>
                    </a:lnTo>
                    <a:lnTo>
                      <a:pt x="14" y="45"/>
                    </a:lnTo>
                    <a:lnTo>
                      <a:pt x="5" y="43"/>
                    </a:lnTo>
                    <a:lnTo>
                      <a:pt x="0" y="50"/>
                    </a:lnTo>
                    <a:lnTo>
                      <a:pt x="2" y="66"/>
                    </a:lnTo>
                    <a:lnTo>
                      <a:pt x="40" y="82"/>
                    </a:lnTo>
                    <a:lnTo>
                      <a:pt x="49" y="117"/>
                    </a:lnTo>
                    <a:lnTo>
                      <a:pt x="60" y="161"/>
                    </a:lnTo>
                    <a:lnTo>
                      <a:pt x="74" y="185"/>
                    </a:lnTo>
                    <a:lnTo>
                      <a:pt x="91" y="170"/>
                    </a:lnTo>
                    <a:lnTo>
                      <a:pt x="112" y="201"/>
                    </a:lnTo>
                    <a:lnTo>
                      <a:pt x="134" y="231"/>
                    </a:lnTo>
                    <a:lnTo>
                      <a:pt x="143" y="208"/>
                    </a:lnTo>
                    <a:lnTo>
                      <a:pt x="136" y="192"/>
                    </a:lnTo>
                    <a:lnTo>
                      <a:pt x="145" y="185"/>
                    </a:lnTo>
                    <a:lnTo>
                      <a:pt x="178" y="214"/>
                    </a:lnTo>
                    <a:lnTo>
                      <a:pt x="188" y="205"/>
                    </a:lnTo>
                    <a:lnTo>
                      <a:pt x="191" y="195"/>
                    </a:lnTo>
                    <a:lnTo>
                      <a:pt x="174" y="158"/>
                    </a:lnTo>
                    <a:lnTo>
                      <a:pt x="174" y="151"/>
                    </a:lnTo>
                    <a:lnTo>
                      <a:pt x="159" y="121"/>
                    </a:lnTo>
                    <a:lnTo>
                      <a:pt x="153" y="100"/>
                    </a:lnTo>
                    <a:lnTo>
                      <a:pt x="159" y="99"/>
                    </a:lnTo>
                    <a:lnTo>
                      <a:pt x="178" y="103"/>
                    </a:lnTo>
                    <a:lnTo>
                      <a:pt x="200" y="124"/>
                    </a:lnTo>
                    <a:lnTo>
                      <a:pt x="211" y="109"/>
                    </a:lnTo>
                    <a:lnTo>
                      <a:pt x="230" y="111"/>
                    </a:lnTo>
                    <a:lnTo>
                      <a:pt x="233" y="106"/>
                    </a:lnTo>
                    <a:lnTo>
                      <a:pt x="209" y="72"/>
                    </a:lnTo>
                    <a:lnTo>
                      <a:pt x="191" y="74"/>
                    </a:lnTo>
                    <a:lnTo>
                      <a:pt x="186" y="63"/>
                    </a:lnTo>
                    <a:lnTo>
                      <a:pt x="174" y="37"/>
                    </a:lnTo>
                    <a:lnTo>
                      <a:pt x="164" y="47"/>
                    </a:lnTo>
                    <a:lnTo>
                      <a:pt x="141" y="37"/>
                    </a:lnTo>
                    <a:lnTo>
                      <a:pt x="126" y="10"/>
                    </a:lnTo>
                    <a:lnTo>
                      <a:pt x="98" y="13"/>
                    </a:lnTo>
                    <a:lnTo>
                      <a:pt x="77" y="16"/>
                    </a:lnTo>
                    <a:lnTo>
                      <a:pt x="63" y="0"/>
                    </a:lnTo>
                    <a:lnTo>
                      <a:pt x="52" y="9"/>
                    </a:lnTo>
                    <a:lnTo>
                      <a:pt x="33" y="10"/>
                    </a:lnTo>
                    <a:close/>
                  </a:path>
                </a:pathLst>
              </a:custGeom>
              <a:solidFill>
                <a:srgbClr val="F2F2F2"/>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1" name="Freeform 543"/>
              <p:cNvSpPr>
                <a:spLocks noChangeAspect="1"/>
              </p:cNvSpPr>
              <p:nvPr/>
            </p:nvSpPr>
            <p:spPr bwMode="auto">
              <a:xfrm>
                <a:off x="3816299" y="5517315"/>
                <a:ext cx="370" cy="338"/>
              </a:xfrm>
              <a:custGeom>
                <a:avLst/>
                <a:gdLst>
                  <a:gd name="T0" fmla="*/ 99 w 543"/>
                  <a:gd name="T1" fmla="*/ 145 h 549"/>
                  <a:gd name="T2" fmla="*/ 70 w 543"/>
                  <a:gd name="T3" fmla="*/ 238 h 549"/>
                  <a:gd name="T4" fmla="*/ 56 w 543"/>
                  <a:gd name="T5" fmla="*/ 259 h 549"/>
                  <a:gd name="T6" fmla="*/ 30 w 543"/>
                  <a:gd name="T7" fmla="*/ 285 h 549"/>
                  <a:gd name="T8" fmla="*/ 0 w 543"/>
                  <a:gd name="T9" fmla="*/ 290 h 549"/>
                  <a:gd name="T10" fmla="*/ 39 w 543"/>
                  <a:gd name="T11" fmla="*/ 370 h 549"/>
                  <a:gd name="T12" fmla="*/ 72 w 543"/>
                  <a:gd name="T13" fmla="*/ 370 h 549"/>
                  <a:gd name="T14" fmla="*/ 61 w 543"/>
                  <a:gd name="T15" fmla="*/ 395 h 549"/>
                  <a:gd name="T16" fmla="*/ 72 w 543"/>
                  <a:gd name="T17" fmla="*/ 438 h 549"/>
                  <a:gd name="T18" fmla="*/ 96 w 543"/>
                  <a:gd name="T19" fmla="*/ 469 h 549"/>
                  <a:gd name="T20" fmla="*/ 115 w 543"/>
                  <a:gd name="T21" fmla="*/ 451 h 549"/>
                  <a:gd name="T22" fmla="*/ 136 w 543"/>
                  <a:gd name="T23" fmla="*/ 454 h 549"/>
                  <a:gd name="T24" fmla="*/ 201 w 543"/>
                  <a:gd name="T25" fmla="*/ 462 h 549"/>
                  <a:gd name="T26" fmla="*/ 241 w 543"/>
                  <a:gd name="T27" fmla="*/ 485 h 549"/>
                  <a:gd name="T28" fmla="*/ 262 w 543"/>
                  <a:gd name="T29" fmla="*/ 515 h 549"/>
                  <a:gd name="T30" fmla="*/ 290 w 543"/>
                  <a:gd name="T31" fmla="*/ 502 h 549"/>
                  <a:gd name="T32" fmla="*/ 342 w 543"/>
                  <a:gd name="T33" fmla="*/ 549 h 549"/>
                  <a:gd name="T34" fmla="*/ 351 w 543"/>
                  <a:gd name="T35" fmla="*/ 522 h 549"/>
                  <a:gd name="T36" fmla="*/ 350 w 543"/>
                  <a:gd name="T37" fmla="*/ 478 h 549"/>
                  <a:gd name="T38" fmla="*/ 328 w 543"/>
                  <a:gd name="T39" fmla="*/ 459 h 549"/>
                  <a:gd name="T40" fmla="*/ 272 w 543"/>
                  <a:gd name="T41" fmla="*/ 420 h 549"/>
                  <a:gd name="T42" fmla="*/ 239 w 543"/>
                  <a:gd name="T43" fmla="*/ 407 h 549"/>
                  <a:gd name="T44" fmla="*/ 227 w 543"/>
                  <a:gd name="T45" fmla="*/ 388 h 549"/>
                  <a:gd name="T46" fmla="*/ 246 w 543"/>
                  <a:gd name="T47" fmla="*/ 367 h 549"/>
                  <a:gd name="T48" fmla="*/ 232 w 543"/>
                  <a:gd name="T49" fmla="*/ 336 h 549"/>
                  <a:gd name="T50" fmla="*/ 256 w 543"/>
                  <a:gd name="T51" fmla="*/ 349 h 549"/>
                  <a:gd name="T52" fmla="*/ 272 w 543"/>
                  <a:gd name="T53" fmla="*/ 339 h 549"/>
                  <a:gd name="T54" fmla="*/ 241 w 543"/>
                  <a:gd name="T55" fmla="*/ 287 h 549"/>
                  <a:gd name="T56" fmla="*/ 215 w 543"/>
                  <a:gd name="T57" fmla="*/ 228 h 549"/>
                  <a:gd name="T58" fmla="*/ 209 w 543"/>
                  <a:gd name="T59" fmla="*/ 191 h 549"/>
                  <a:gd name="T60" fmla="*/ 223 w 543"/>
                  <a:gd name="T61" fmla="*/ 166 h 549"/>
                  <a:gd name="T62" fmla="*/ 234 w 543"/>
                  <a:gd name="T63" fmla="*/ 198 h 549"/>
                  <a:gd name="T64" fmla="*/ 241 w 543"/>
                  <a:gd name="T65" fmla="*/ 209 h 549"/>
                  <a:gd name="T66" fmla="*/ 288 w 543"/>
                  <a:gd name="T67" fmla="*/ 250 h 549"/>
                  <a:gd name="T68" fmla="*/ 293 w 543"/>
                  <a:gd name="T69" fmla="*/ 222 h 549"/>
                  <a:gd name="T70" fmla="*/ 326 w 543"/>
                  <a:gd name="T71" fmla="*/ 250 h 549"/>
                  <a:gd name="T72" fmla="*/ 312 w 543"/>
                  <a:gd name="T73" fmla="*/ 216 h 549"/>
                  <a:gd name="T74" fmla="*/ 326 w 543"/>
                  <a:gd name="T75" fmla="*/ 201 h 549"/>
                  <a:gd name="T76" fmla="*/ 364 w 543"/>
                  <a:gd name="T77" fmla="*/ 211 h 549"/>
                  <a:gd name="T78" fmla="*/ 347 w 543"/>
                  <a:gd name="T79" fmla="*/ 185 h 549"/>
                  <a:gd name="T80" fmla="*/ 312 w 543"/>
                  <a:gd name="T81" fmla="*/ 161 h 549"/>
                  <a:gd name="T82" fmla="*/ 314 w 543"/>
                  <a:gd name="T83" fmla="*/ 139 h 549"/>
                  <a:gd name="T84" fmla="*/ 377 w 543"/>
                  <a:gd name="T85" fmla="*/ 124 h 549"/>
                  <a:gd name="T86" fmla="*/ 442 w 543"/>
                  <a:gd name="T87" fmla="*/ 117 h 549"/>
                  <a:gd name="T88" fmla="*/ 478 w 543"/>
                  <a:gd name="T89" fmla="*/ 124 h 549"/>
                  <a:gd name="T90" fmla="*/ 513 w 543"/>
                  <a:gd name="T91" fmla="*/ 108 h 549"/>
                  <a:gd name="T92" fmla="*/ 541 w 543"/>
                  <a:gd name="T93" fmla="*/ 68 h 549"/>
                  <a:gd name="T94" fmla="*/ 541 w 543"/>
                  <a:gd name="T95" fmla="*/ 9 h 549"/>
                  <a:gd name="T96" fmla="*/ 516 w 543"/>
                  <a:gd name="T97" fmla="*/ 0 h 549"/>
                  <a:gd name="T98" fmla="*/ 508 w 543"/>
                  <a:gd name="T99" fmla="*/ 28 h 549"/>
                  <a:gd name="T100" fmla="*/ 491 w 543"/>
                  <a:gd name="T101" fmla="*/ 50 h 549"/>
                  <a:gd name="T102" fmla="*/ 469 w 543"/>
                  <a:gd name="T103" fmla="*/ 64 h 549"/>
                  <a:gd name="T104" fmla="*/ 427 w 543"/>
                  <a:gd name="T105" fmla="*/ 47 h 549"/>
                  <a:gd name="T106" fmla="*/ 386 w 543"/>
                  <a:gd name="T107" fmla="*/ 28 h 549"/>
                  <a:gd name="T108" fmla="*/ 342 w 543"/>
                  <a:gd name="T109" fmla="*/ 64 h 549"/>
                  <a:gd name="T110" fmla="*/ 293 w 543"/>
                  <a:gd name="T111" fmla="*/ 80 h 549"/>
                  <a:gd name="T112" fmla="*/ 256 w 543"/>
                  <a:gd name="T113" fmla="*/ 87 h 549"/>
                  <a:gd name="T114" fmla="*/ 232 w 543"/>
                  <a:gd name="T115" fmla="*/ 111 h 549"/>
                  <a:gd name="T116" fmla="*/ 194 w 543"/>
                  <a:gd name="T117" fmla="*/ 117 h 549"/>
                  <a:gd name="T118" fmla="*/ 160 w 543"/>
                  <a:gd name="T119" fmla="*/ 138 h 549"/>
                  <a:gd name="T120" fmla="*/ 124 w 543"/>
                  <a:gd name="T121" fmla="*/ 1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3" h="549">
                    <a:moveTo>
                      <a:pt x="110" y="135"/>
                    </a:moveTo>
                    <a:lnTo>
                      <a:pt x="99" y="145"/>
                    </a:lnTo>
                    <a:lnTo>
                      <a:pt x="86" y="192"/>
                    </a:lnTo>
                    <a:lnTo>
                      <a:pt x="70" y="238"/>
                    </a:lnTo>
                    <a:lnTo>
                      <a:pt x="63" y="243"/>
                    </a:lnTo>
                    <a:lnTo>
                      <a:pt x="56" y="259"/>
                    </a:lnTo>
                    <a:lnTo>
                      <a:pt x="47" y="275"/>
                    </a:lnTo>
                    <a:lnTo>
                      <a:pt x="30" y="285"/>
                    </a:lnTo>
                    <a:lnTo>
                      <a:pt x="17" y="290"/>
                    </a:lnTo>
                    <a:lnTo>
                      <a:pt x="0" y="290"/>
                    </a:lnTo>
                    <a:lnTo>
                      <a:pt x="22" y="343"/>
                    </a:lnTo>
                    <a:lnTo>
                      <a:pt x="39" y="370"/>
                    </a:lnTo>
                    <a:lnTo>
                      <a:pt x="56" y="370"/>
                    </a:lnTo>
                    <a:lnTo>
                      <a:pt x="72" y="370"/>
                    </a:lnTo>
                    <a:lnTo>
                      <a:pt x="77" y="383"/>
                    </a:lnTo>
                    <a:lnTo>
                      <a:pt x="61" y="395"/>
                    </a:lnTo>
                    <a:lnTo>
                      <a:pt x="61" y="413"/>
                    </a:lnTo>
                    <a:lnTo>
                      <a:pt x="72" y="438"/>
                    </a:lnTo>
                    <a:lnTo>
                      <a:pt x="86" y="459"/>
                    </a:lnTo>
                    <a:lnTo>
                      <a:pt x="96" y="469"/>
                    </a:lnTo>
                    <a:lnTo>
                      <a:pt x="101" y="454"/>
                    </a:lnTo>
                    <a:lnTo>
                      <a:pt x="115" y="451"/>
                    </a:lnTo>
                    <a:lnTo>
                      <a:pt x="132" y="467"/>
                    </a:lnTo>
                    <a:lnTo>
                      <a:pt x="136" y="454"/>
                    </a:lnTo>
                    <a:lnTo>
                      <a:pt x="162" y="457"/>
                    </a:lnTo>
                    <a:lnTo>
                      <a:pt x="201" y="462"/>
                    </a:lnTo>
                    <a:lnTo>
                      <a:pt x="229" y="472"/>
                    </a:lnTo>
                    <a:lnTo>
                      <a:pt x="241" y="485"/>
                    </a:lnTo>
                    <a:lnTo>
                      <a:pt x="253" y="504"/>
                    </a:lnTo>
                    <a:lnTo>
                      <a:pt x="262" y="515"/>
                    </a:lnTo>
                    <a:lnTo>
                      <a:pt x="274" y="504"/>
                    </a:lnTo>
                    <a:lnTo>
                      <a:pt x="290" y="502"/>
                    </a:lnTo>
                    <a:lnTo>
                      <a:pt x="314" y="521"/>
                    </a:lnTo>
                    <a:lnTo>
                      <a:pt x="342" y="549"/>
                    </a:lnTo>
                    <a:lnTo>
                      <a:pt x="350" y="543"/>
                    </a:lnTo>
                    <a:lnTo>
                      <a:pt x="351" y="522"/>
                    </a:lnTo>
                    <a:lnTo>
                      <a:pt x="351" y="499"/>
                    </a:lnTo>
                    <a:lnTo>
                      <a:pt x="350" y="478"/>
                    </a:lnTo>
                    <a:lnTo>
                      <a:pt x="337" y="454"/>
                    </a:lnTo>
                    <a:lnTo>
                      <a:pt x="328" y="459"/>
                    </a:lnTo>
                    <a:lnTo>
                      <a:pt x="307" y="448"/>
                    </a:lnTo>
                    <a:lnTo>
                      <a:pt x="272" y="420"/>
                    </a:lnTo>
                    <a:lnTo>
                      <a:pt x="262" y="410"/>
                    </a:lnTo>
                    <a:lnTo>
                      <a:pt x="239" y="407"/>
                    </a:lnTo>
                    <a:lnTo>
                      <a:pt x="227" y="398"/>
                    </a:lnTo>
                    <a:lnTo>
                      <a:pt x="227" y="388"/>
                    </a:lnTo>
                    <a:lnTo>
                      <a:pt x="241" y="373"/>
                    </a:lnTo>
                    <a:lnTo>
                      <a:pt x="246" y="367"/>
                    </a:lnTo>
                    <a:lnTo>
                      <a:pt x="237" y="354"/>
                    </a:lnTo>
                    <a:lnTo>
                      <a:pt x="232" y="336"/>
                    </a:lnTo>
                    <a:lnTo>
                      <a:pt x="237" y="327"/>
                    </a:lnTo>
                    <a:lnTo>
                      <a:pt x="256" y="349"/>
                    </a:lnTo>
                    <a:lnTo>
                      <a:pt x="272" y="357"/>
                    </a:lnTo>
                    <a:lnTo>
                      <a:pt x="272" y="339"/>
                    </a:lnTo>
                    <a:lnTo>
                      <a:pt x="262" y="317"/>
                    </a:lnTo>
                    <a:lnTo>
                      <a:pt x="241" y="287"/>
                    </a:lnTo>
                    <a:lnTo>
                      <a:pt x="218" y="248"/>
                    </a:lnTo>
                    <a:lnTo>
                      <a:pt x="215" y="228"/>
                    </a:lnTo>
                    <a:lnTo>
                      <a:pt x="213" y="209"/>
                    </a:lnTo>
                    <a:lnTo>
                      <a:pt x="209" y="191"/>
                    </a:lnTo>
                    <a:lnTo>
                      <a:pt x="206" y="172"/>
                    </a:lnTo>
                    <a:lnTo>
                      <a:pt x="223" y="166"/>
                    </a:lnTo>
                    <a:lnTo>
                      <a:pt x="220" y="179"/>
                    </a:lnTo>
                    <a:lnTo>
                      <a:pt x="234" y="198"/>
                    </a:lnTo>
                    <a:lnTo>
                      <a:pt x="243" y="198"/>
                    </a:lnTo>
                    <a:lnTo>
                      <a:pt x="241" y="209"/>
                    </a:lnTo>
                    <a:lnTo>
                      <a:pt x="286" y="259"/>
                    </a:lnTo>
                    <a:lnTo>
                      <a:pt x="288" y="250"/>
                    </a:lnTo>
                    <a:lnTo>
                      <a:pt x="279" y="228"/>
                    </a:lnTo>
                    <a:lnTo>
                      <a:pt x="293" y="222"/>
                    </a:lnTo>
                    <a:lnTo>
                      <a:pt x="314" y="232"/>
                    </a:lnTo>
                    <a:lnTo>
                      <a:pt x="326" y="250"/>
                    </a:lnTo>
                    <a:lnTo>
                      <a:pt x="328" y="238"/>
                    </a:lnTo>
                    <a:lnTo>
                      <a:pt x="312" y="216"/>
                    </a:lnTo>
                    <a:lnTo>
                      <a:pt x="314" y="206"/>
                    </a:lnTo>
                    <a:lnTo>
                      <a:pt x="326" y="201"/>
                    </a:lnTo>
                    <a:lnTo>
                      <a:pt x="356" y="216"/>
                    </a:lnTo>
                    <a:lnTo>
                      <a:pt x="364" y="211"/>
                    </a:lnTo>
                    <a:lnTo>
                      <a:pt x="361" y="195"/>
                    </a:lnTo>
                    <a:lnTo>
                      <a:pt x="347" y="185"/>
                    </a:lnTo>
                    <a:lnTo>
                      <a:pt x="326" y="174"/>
                    </a:lnTo>
                    <a:lnTo>
                      <a:pt x="312" y="161"/>
                    </a:lnTo>
                    <a:lnTo>
                      <a:pt x="309" y="151"/>
                    </a:lnTo>
                    <a:lnTo>
                      <a:pt x="314" y="139"/>
                    </a:lnTo>
                    <a:lnTo>
                      <a:pt x="345" y="135"/>
                    </a:lnTo>
                    <a:lnTo>
                      <a:pt x="377" y="124"/>
                    </a:lnTo>
                    <a:lnTo>
                      <a:pt x="400" y="127"/>
                    </a:lnTo>
                    <a:lnTo>
                      <a:pt x="442" y="117"/>
                    </a:lnTo>
                    <a:lnTo>
                      <a:pt x="450" y="111"/>
                    </a:lnTo>
                    <a:lnTo>
                      <a:pt x="478" y="124"/>
                    </a:lnTo>
                    <a:lnTo>
                      <a:pt x="502" y="138"/>
                    </a:lnTo>
                    <a:lnTo>
                      <a:pt x="513" y="108"/>
                    </a:lnTo>
                    <a:lnTo>
                      <a:pt x="534" y="77"/>
                    </a:lnTo>
                    <a:lnTo>
                      <a:pt x="541" y="68"/>
                    </a:lnTo>
                    <a:lnTo>
                      <a:pt x="543" y="13"/>
                    </a:lnTo>
                    <a:lnTo>
                      <a:pt x="541" y="9"/>
                    </a:lnTo>
                    <a:lnTo>
                      <a:pt x="529" y="0"/>
                    </a:lnTo>
                    <a:lnTo>
                      <a:pt x="516" y="0"/>
                    </a:lnTo>
                    <a:lnTo>
                      <a:pt x="508" y="9"/>
                    </a:lnTo>
                    <a:lnTo>
                      <a:pt x="508" y="28"/>
                    </a:lnTo>
                    <a:lnTo>
                      <a:pt x="510" y="46"/>
                    </a:lnTo>
                    <a:lnTo>
                      <a:pt x="491" y="50"/>
                    </a:lnTo>
                    <a:lnTo>
                      <a:pt x="478" y="61"/>
                    </a:lnTo>
                    <a:lnTo>
                      <a:pt x="469" y="64"/>
                    </a:lnTo>
                    <a:lnTo>
                      <a:pt x="438" y="56"/>
                    </a:lnTo>
                    <a:lnTo>
                      <a:pt x="427" y="47"/>
                    </a:lnTo>
                    <a:lnTo>
                      <a:pt x="410" y="58"/>
                    </a:lnTo>
                    <a:lnTo>
                      <a:pt x="386" y="28"/>
                    </a:lnTo>
                    <a:lnTo>
                      <a:pt x="361" y="50"/>
                    </a:lnTo>
                    <a:lnTo>
                      <a:pt x="342" y="64"/>
                    </a:lnTo>
                    <a:lnTo>
                      <a:pt x="323" y="74"/>
                    </a:lnTo>
                    <a:lnTo>
                      <a:pt x="293" y="80"/>
                    </a:lnTo>
                    <a:lnTo>
                      <a:pt x="272" y="87"/>
                    </a:lnTo>
                    <a:lnTo>
                      <a:pt x="256" y="87"/>
                    </a:lnTo>
                    <a:lnTo>
                      <a:pt x="248" y="90"/>
                    </a:lnTo>
                    <a:lnTo>
                      <a:pt x="232" y="111"/>
                    </a:lnTo>
                    <a:lnTo>
                      <a:pt x="218" y="111"/>
                    </a:lnTo>
                    <a:lnTo>
                      <a:pt x="194" y="117"/>
                    </a:lnTo>
                    <a:lnTo>
                      <a:pt x="171" y="114"/>
                    </a:lnTo>
                    <a:lnTo>
                      <a:pt x="160" y="138"/>
                    </a:lnTo>
                    <a:lnTo>
                      <a:pt x="141" y="139"/>
                    </a:lnTo>
                    <a:lnTo>
                      <a:pt x="124" y="138"/>
                    </a:lnTo>
                    <a:lnTo>
                      <a:pt x="110" y="135"/>
                    </a:lnTo>
                    <a:close/>
                  </a:path>
                </a:pathLst>
              </a:custGeom>
              <a:solidFill>
                <a:srgbClr val="F2F2F2"/>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2" name="Freeform 544"/>
              <p:cNvSpPr>
                <a:spLocks noChangeAspect="1"/>
              </p:cNvSpPr>
              <p:nvPr/>
            </p:nvSpPr>
            <p:spPr bwMode="auto">
              <a:xfrm>
                <a:off x="3816513" y="5517804"/>
                <a:ext cx="170" cy="46"/>
              </a:xfrm>
              <a:custGeom>
                <a:avLst/>
                <a:gdLst>
                  <a:gd name="T0" fmla="*/ 52 w 253"/>
                  <a:gd name="T1" fmla="*/ 16 h 77"/>
                  <a:gd name="T2" fmla="*/ 71 w 253"/>
                  <a:gd name="T3" fmla="*/ 6 h 77"/>
                  <a:gd name="T4" fmla="*/ 80 w 253"/>
                  <a:gd name="T5" fmla="*/ 16 h 77"/>
                  <a:gd name="T6" fmla="*/ 88 w 253"/>
                  <a:gd name="T7" fmla="*/ 18 h 77"/>
                  <a:gd name="T8" fmla="*/ 101 w 253"/>
                  <a:gd name="T9" fmla="*/ 10 h 77"/>
                  <a:gd name="T10" fmla="*/ 110 w 253"/>
                  <a:gd name="T11" fmla="*/ 6 h 77"/>
                  <a:gd name="T12" fmla="*/ 151 w 253"/>
                  <a:gd name="T13" fmla="*/ 10 h 77"/>
                  <a:gd name="T14" fmla="*/ 190 w 253"/>
                  <a:gd name="T15" fmla="*/ 8 h 77"/>
                  <a:gd name="T16" fmla="*/ 202 w 253"/>
                  <a:gd name="T17" fmla="*/ 21 h 77"/>
                  <a:gd name="T18" fmla="*/ 202 w 253"/>
                  <a:gd name="T19" fmla="*/ 28 h 77"/>
                  <a:gd name="T20" fmla="*/ 229 w 253"/>
                  <a:gd name="T21" fmla="*/ 24 h 77"/>
                  <a:gd name="T22" fmla="*/ 245 w 253"/>
                  <a:gd name="T23" fmla="*/ 27 h 77"/>
                  <a:gd name="T24" fmla="*/ 253 w 253"/>
                  <a:gd name="T25" fmla="*/ 37 h 77"/>
                  <a:gd name="T26" fmla="*/ 245 w 253"/>
                  <a:gd name="T27" fmla="*/ 50 h 77"/>
                  <a:gd name="T28" fmla="*/ 220 w 253"/>
                  <a:gd name="T29" fmla="*/ 48 h 77"/>
                  <a:gd name="T30" fmla="*/ 204 w 253"/>
                  <a:gd name="T31" fmla="*/ 58 h 77"/>
                  <a:gd name="T32" fmla="*/ 176 w 253"/>
                  <a:gd name="T33" fmla="*/ 58 h 77"/>
                  <a:gd name="T34" fmla="*/ 148 w 253"/>
                  <a:gd name="T35" fmla="*/ 71 h 77"/>
                  <a:gd name="T36" fmla="*/ 124 w 253"/>
                  <a:gd name="T37" fmla="*/ 77 h 77"/>
                  <a:gd name="T38" fmla="*/ 105 w 253"/>
                  <a:gd name="T39" fmla="*/ 64 h 77"/>
                  <a:gd name="T40" fmla="*/ 80 w 253"/>
                  <a:gd name="T41" fmla="*/ 48 h 77"/>
                  <a:gd name="T42" fmla="*/ 55 w 253"/>
                  <a:gd name="T43" fmla="*/ 48 h 77"/>
                  <a:gd name="T44" fmla="*/ 22 w 253"/>
                  <a:gd name="T45" fmla="*/ 40 h 77"/>
                  <a:gd name="T46" fmla="*/ 9 w 253"/>
                  <a:gd name="T47" fmla="*/ 28 h 77"/>
                  <a:gd name="T48" fmla="*/ 0 w 253"/>
                  <a:gd name="T49" fmla="*/ 8 h 77"/>
                  <a:gd name="T50" fmla="*/ 5 w 253"/>
                  <a:gd name="T51" fmla="*/ 0 h 77"/>
                  <a:gd name="T52" fmla="*/ 33 w 253"/>
                  <a:gd name="T53" fmla="*/ 6 h 77"/>
                  <a:gd name="T54" fmla="*/ 52 w 253"/>
                  <a:gd name="T55" fmla="*/ 1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3" h="77">
                    <a:moveTo>
                      <a:pt x="52" y="16"/>
                    </a:moveTo>
                    <a:lnTo>
                      <a:pt x="71" y="6"/>
                    </a:lnTo>
                    <a:lnTo>
                      <a:pt x="80" y="16"/>
                    </a:lnTo>
                    <a:lnTo>
                      <a:pt x="88" y="18"/>
                    </a:lnTo>
                    <a:lnTo>
                      <a:pt x="101" y="10"/>
                    </a:lnTo>
                    <a:lnTo>
                      <a:pt x="110" y="6"/>
                    </a:lnTo>
                    <a:lnTo>
                      <a:pt x="151" y="10"/>
                    </a:lnTo>
                    <a:lnTo>
                      <a:pt x="190" y="8"/>
                    </a:lnTo>
                    <a:lnTo>
                      <a:pt x="202" y="21"/>
                    </a:lnTo>
                    <a:lnTo>
                      <a:pt x="202" y="28"/>
                    </a:lnTo>
                    <a:lnTo>
                      <a:pt x="229" y="24"/>
                    </a:lnTo>
                    <a:lnTo>
                      <a:pt x="245" y="27"/>
                    </a:lnTo>
                    <a:lnTo>
                      <a:pt x="253" y="37"/>
                    </a:lnTo>
                    <a:lnTo>
                      <a:pt x="245" y="50"/>
                    </a:lnTo>
                    <a:lnTo>
                      <a:pt x="220" y="48"/>
                    </a:lnTo>
                    <a:lnTo>
                      <a:pt x="204" y="58"/>
                    </a:lnTo>
                    <a:lnTo>
                      <a:pt x="176" y="58"/>
                    </a:lnTo>
                    <a:lnTo>
                      <a:pt x="148" y="71"/>
                    </a:lnTo>
                    <a:lnTo>
                      <a:pt x="124" y="77"/>
                    </a:lnTo>
                    <a:lnTo>
                      <a:pt x="105" y="64"/>
                    </a:lnTo>
                    <a:lnTo>
                      <a:pt x="80" y="48"/>
                    </a:lnTo>
                    <a:lnTo>
                      <a:pt x="55" y="48"/>
                    </a:lnTo>
                    <a:lnTo>
                      <a:pt x="22" y="40"/>
                    </a:lnTo>
                    <a:lnTo>
                      <a:pt x="9" y="28"/>
                    </a:lnTo>
                    <a:lnTo>
                      <a:pt x="0" y="8"/>
                    </a:lnTo>
                    <a:lnTo>
                      <a:pt x="5" y="0"/>
                    </a:lnTo>
                    <a:lnTo>
                      <a:pt x="33" y="6"/>
                    </a:lnTo>
                    <a:lnTo>
                      <a:pt x="52" y="16"/>
                    </a:lnTo>
                    <a:close/>
                  </a:path>
                </a:pathLst>
              </a:custGeom>
              <a:solidFill>
                <a:srgbClr val="F2F2F2"/>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sp>
          <p:nvSpPr>
            <p:cNvPr id="34" name="HU"/>
            <p:cNvSpPr>
              <a:spLocks noChangeAspect="1"/>
            </p:cNvSpPr>
            <p:nvPr/>
          </p:nvSpPr>
          <p:spPr bwMode="auto">
            <a:xfrm>
              <a:off x="6411913" y="4203700"/>
              <a:ext cx="782637" cy="431800"/>
            </a:xfrm>
            <a:custGeom>
              <a:avLst/>
              <a:gdLst>
                <a:gd name="T0" fmla="*/ 3 w 532"/>
                <a:gd name="T1" fmla="*/ 229 h 361"/>
                <a:gd name="T2" fmla="*/ 19 w 532"/>
                <a:gd name="T3" fmla="*/ 245 h 361"/>
                <a:gd name="T4" fmla="*/ 17 w 532"/>
                <a:gd name="T5" fmla="*/ 253 h 361"/>
                <a:gd name="T6" fmla="*/ 22 w 532"/>
                <a:gd name="T7" fmla="*/ 269 h 361"/>
                <a:gd name="T8" fmla="*/ 36 w 532"/>
                <a:gd name="T9" fmla="*/ 269 h 361"/>
                <a:gd name="T10" fmla="*/ 89 w 532"/>
                <a:gd name="T11" fmla="*/ 327 h 361"/>
                <a:gd name="T12" fmla="*/ 105 w 532"/>
                <a:gd name="T13" fmla="*/ 330 h 361"/>
                <a:gd name="T14" fmla="*/ 148 w 532"/>
                <a:gd name="T15" fmla="*/ 361 h 361"/>
                <a:gd name="T16" fmla="*/ 169 w 532"/>
                <a:gd name="T17" fmla="*/ 343 h 361"/>
                <a:gd name="T18" fmla="*/ 199 w 532"/>
                <a:gd name="T19" fmla="*/ 346 h 361"/>
                <a:gd name="T20" fmla="*/ 209 w 532"/>
                <a:gd name="T21" fmla="*/ 353 h 361"/>
                <a:gd name="T22" fmla="*/ 232 w 532"/>
                <a:gd name="T23" fmla="*/ 343 h 361"/>
                <a:gd name="T24" fmla="*/ 279 w 532"/>
                <a:gd name="T25" fmla="*/ 321 h 361"/>
                <a:gd name="T26" fmla="*/ 333 w 532"/>
                <a:gd name="T27" fmla="*/ 311 h 361"/>
                <a:gd name="T28" fmla="*/ 356 w 532"/>
                <a:gd name="T29" fmla="*/ 316 h 361"/>
                <a:gd name="T30" fmla="*/ 364 w 532"/>
                <a:gd name="T31" fmla="*/ 330 h 361"/>
                <a:gd name="T32" fmla="*/ 383 w 532"/>
                <a:gd name="T33" fmla="*/ 306 h 361"/>
                <a:gd name="T34" fmla="*/ 408 w 532"/>
                <a:gd name="T35" fmla="*/ 296 h 361"/>
                <a:gd name="T36" fmla="*/ 432 w 532"/>
                <a:gd name="T37" fmla="*/ 292 h 361"/>
                <a:gd name="T38" fmla="*/ 474 w 532"/>
                <a:gd name="T39" fmla="*/ 245 h 361"/>
                <a:gd name="T40" fmla="*/ 485 w 532"/>
                <a:gd name="T41" fmla="*/ 216 h 361"/>
                <a:gd name="T42" fmla="*/ 490 w 532"/>
                <a:gd name="T43" fmla="*/ 161 h 361"/>
                <a:gd name="T44" fmla="*/ 495 w 532"/>
                <a:gd name="T45" fmla="*/ 115 h 361"/>
                <a:gd name="T46" fmla="*/ 512 w 532"/>
                <a:gd name="T47" fmla="*/ 114 h 361"/>
                <a:gd name="T48" fmla="*/ 525 w 532"/>
                <a:gd name="T49" fmla="*/ 97 h 361"/>
                <a:gd name="T50" fmla="*/ 532 w 532"/>
                <a:gd name="T51" fmla="*/ 84 h 361"/>
                <a:gd name="T52" fmla="*/ 516 w 532"/>
                <a:gd name="T53" fmla="*/ 71 h 361"/>
                <a:gd name="T54" fmla="*/ 507 w 532"/>
                <a:gd name="T55" fmla="*/ 77 h 361"/>
                <a:gd name="T56" fmla="*/ 483 w 532"/>
                <a:gd name="T57" fmla="*/ 71 h 361"/>
                <a:gd name="T58" fmla="*/ 469 w 532"/>
                <a:gd name="T59" fmla="*/ 50 h 361"/>
                <a:gd name="T60" fmla="*/ 455 w 532"/>
                <a:gd name="T61" fmla="*/ 21 h 361"/>
                <a:gd name="T62" fmla="*/ 439 w 532"/>
                <a:gd name="T63" fmla="*/ 21 h 361"/>
                <a:gd name="T64" fmla="*/ 413 w 532"/>
                <a:gd name="T65" fmla="*/ 0 h 361"/>
                <a:gd name="T66" fmla="*/ 399 w 532"/>
                <a:gd name="T67" fmla="*/ 3 h 361"/>
                <a:gd name="T68" fmla="*/ 347 w 532"/>
                <a:gd name="T69" fmla="*/ 10 h 361"/>
                <a:gd name="T70" fmla="*/ 337 w 532"/>
                <a:gd name="T71" fmla="*/ 27 h 361"/>
                <a:gd name="T72" fmla="*/ 323 w 532"/>
                <a:gd name="T73" fmla="*/ 47 h 361"/>
                <a:gd name="T74" fmla="*/ 304 w 532"/>
                <a:gd name="T75" fmla="*/ 58 h 361"/>
                <a:gd name="T76" fmla="*/ 287 w 532"/>
                <a:gd name="T77" fmla="*/ 63 h 361"/>
                <a:gd name="T78" fmla="*/ 274 w 532"/>
                <a:gd name="T79" fmla="*/ 58 h 361"/>
                <a:gd name="T80" fmla="*/ 262 w 532"/>
                <a:gd name="T81" fmla="*/ 50 h 361"/>
                <a:gd name="T82" fmla="*/ 254 w 532"/>
                <a:gd name="T83" fmla="*/ 47 h 361"/>
                <a:gd name="T84" fmla="*/ 237 w 532"/>
                <a:gd name="T85" fmla="*/ 55 h 361"/>
                <a:gd name="T86" fmla="*/ 216 w 532"/>
                <a:gd name="T87" fmla="*/ 68 h 361"/>
                <a:gd name="T88" fmla="*/ 171 w 532"/>
                <a:gd name="T89" fmla="*/ 90 h 361"/>
                <a:gd name="T90" fmla="*/ 152 w 532"/>
                <a:gd name="T91" fmla="*/ 92 h 361"/>
                <a:gd name="T92" fmla="*/ 105 w 532"/>
                <a:gd name="T93" fmla="*/ 90 h 361"/>
                <a:gd name="T94" fmla="*/ 99 w 532"/>
                <a:gd name="T95" fmla="*/ 87 h 361"/>
                <a:gd name="T96" fmla="*/ 86 w 532"/>
                <a:gd name="T97" fmla="*/ 65 h 361"/>
                <a:gd name="T98" fmla="*/ 71 w 532"/>
                <a:gd name="T99" fmla="*/ 55 h 361"/>
                <a:gd name="T100" fmla="*/ 66 w 532"/>
                <a:gd name="T101" fmla="*/ 63 h 361"/>
                <a:gd name="T102" fmla="*/ 64 w 532"/>
                <a:gd name="T103" fmla="*/ 84 h 361"/>
                <a:gd name="T104" fmla="*/ 55 w 532"/>
                <a:gd name="T105" fmla="*/ 105 h 361"/>
                <a:gd name="T106" fmla="*/ 38 w 532"/>
                <a:gd name="T107" fmla="*/ 105 h 361"/>
                <a:gd name="T108" fmla="*/ 33 w 532"/>
                <a:gd name="T109" fmla="*/ 111 h 361"/>
                <a:gd name="T110" fmla="*/ 42 w 532"/>
                <a:gd name="T111" fmla="*/ 132 h 361"/>
                <a:gd name="T112" fmla="*/ 40 w 532"/>
                <a:gd name="T113" fmla="*/ 154 h 361"/>
                <a:gd name="T114" fmla="*/ 28 w 532"/>
                <a:gd name="T115" fmla="*/ 173 h 361"/>
                <a:gd name="T116" fmla="*/ 19 w 532"/>
                <a:gd name="T117" fmla="*/ 182 h 361"/>
                <a:gd name="T118" fmla="*/ 5 w 532"/>
                <a:gd name="T119" fmla="*/ 189 h 361"/>
                <a:gd name="T120" fmla="*/ 0 w 532"/>
                <a:gd name="T121" fmla="*/ 206 h 361"/>
                <a:gd name="T122" fmla="*/ 3 w 532"/>
                <a:gd name="T123" fmla="*/ 229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2" h="361">
                  <a:moveTo>
                    <a:pt x="3" y="229"/>
                  </a:moveTo>
                  <a:lnTo>
                    <a:pt x="19" y="245"/>
                  </a:lnTo>
                  <a:lnTo>
                    <a:pt x="17" y="253"/>
                  </a:lnTo>
                  <a:lnTo>
                    <a:pt x="22" y="269"/>
                  </a:lnTo>
                  <a:lnTo>
                    <a:pt x="36" y="269"/>
                  </a:lnTo>
                  <a:lnTo>
                    <a:pt x="89" y="327"/>
                  </a:lnTo>
                  <a:lnTo>
                    <a:pt x="105" y="330"/>
                  </a:lnTo>
                  <a:lnTo>
                    <a:pt x="148" y="361"/>
                  </a:lnTo>
                  <a:lnTo>
                    <a:pt x="169" y="343"/>
                  </a:lnTo>
                  <a:lnTo>
                    <a:pt x="199" y="346"/>
                  </a:lnTo>
                  <a:lnTo>
                    <a:pt x="209" y="353"/>
                  </a:lnTo>
                  <a:lnTo>
                    <a:pt x="232" y="343"/>
                  </a:lnTo>
                  <a:lnTo>
                    <a:pt x="279" y="321"/>
                  </a:lnTo>
                  <a:lnTo>
                    <a:pt x="333" y="311"/>
                  </a:lnTo>
                  <a:lnTo>
                    <a:pt x="356" y="316"/>
                  </a:lnTo>
                  <a:lnTo>
                    <a:pt x="364" y="330"/>
                  </a:lnTo>
                  <a:lnTo>
                    <a:pt x="383" y="306"/>
                  </a:lnTo>
                  <a:lnTo>
                    <a:pt x="408" y="296"/>
                  </a:lnTo>
                  <a:lnTo>
                    <a:pt x="432" y="292"/>
                  </a:lnTo>
                  <a:lnTo>
                    <a:pt x="474" y="245"/>
                  </a:lnTo>
                  <a:lnTo>
                    <a:pt x="485" y="216"/>
                  </a:lnTo>
                  <a:lnTo>
                    <a:pt x="490" y="161"/>
                  </a:lnTo>
                  <a:lnTo>
                    <a:pt x="495" y="115"/>
                  </a:lnTo>
                  <a:lnTo>
                    <a:pt x="512" y="114"/>
                  </a:lnTo>
                  <a:lnTo>
                    <a:pt x="525" y="97"/>
                  </a:lnTo>
                  <a:lnTo>
                    <a:pt x="532" y="84"/>
                  </a:lnTo>
                  <a:lnTo>
                    <a:pt x="516" y="71"/>
                  </a:lnTo>
                  <a:lnTo>
                    <a:pt x="507" y="77"/>
                  </a:lnTo>
                  <a:lnTo>
                    <a:pt x="483" y="71"/>
                  </a:lnTo>
                  <a:lnTo>
                    <a:pt x="469" y="50"/>
                  </a:lnTo>
                  <a:lnTo>
                    <a:pt x="455" y="21"/>
                  </a:lnTo>
                  <a:lnTo>
                    <a:pt x="439" y="21"/>
                  </a:lnTo>
                  <a:lnTo>
                    <a:pt x="413" y="0"/>
                  </a:lnTo>
                  <a:lnTo>
                    <a:pt x="399" y="3"/>
                  </a:lnTo>
                  <a:lnTo>
                    <a:pt x="347" y="10"/>
                  </a:lnTo>
                  <a:lnTo>
                    <a:pt x="337" y="27"/>
                  </a:lnTo>
                  <a:lnTo>
                    <a:pt x="323" y="47"/>
                  </a:lnTo>
                  <a:lnTo>
                    <a:pt x="304" y="58"/>
                  </a:lnTo>
                  <a:lnTo>
                    <a:pt x="287" y="63"/>
                  </a:lnTo>
                  <a:lnTo>
                    <a:pt x="274" y="58"/>
                  </a:lnTo>
                  <a:lnTo>
                    <a:pt x="262" y="50"/>
                  </a:lnTo>
                  <a:lnTo>
                    <a:pt x="254" y="47"/>
                  </a:lnTo>
                  <a:lnTo>
                    <a:pt x="237" y="55"/>
                  </a:lnTo>
                  <a:lnTo>
                    <a:pt x="216" y="68"/>
                  </a:lnTo>
                  <a:lnTo>
                    <a:pt x="171" y="90"/>
                  </a:lnTo>
                  <a:lnTo>
                    <a:pt x="152" y="92"/>
                  </a:lnTo>
                  <a:lnTo>
                    <a:pt x="105" y="90"/>
                  </a:lnTo>
                  <a:lnTo>
                    <a:pt x="99" y="87"/>
                  </a:lnTo>
                  <a:lnTo>
                    <a:pt x="86" y="65"/>
                  </a:lnTo>
                  <a:lnTo>
                    <a:pt x="71" y="55"/>
                  </a:lnTo>
                  <a:lnTo>
                    <a:pt x="66" y="63"/>
                  </a:lnTo>
                  <a:lnTo>
                    <a:pt x="64" y="84"/>
                  </a:lnTo>
                  <a:lnTo>
                    <a:pt x="55" y="105"/>
                  </a:lnTo>
                  <a:lnTo>
                    <a:pt x="38" y="105"/>
                  </a:lnTo>
                  <a:lnTo>
                    <a:pt x="33" y="111"/>
                  </a:lnTo>
                  <a:lnTo>
                    <a:pt x="42" y="132"/>
                  </a:lnTo>
                  <a:lnTo>
                    <a:pt x="40" y="154"/>
                  </a:lnTo>
                  <a:lnTo>
                    <a:pt x="28" y="173"/>
                  </a:lnTo>
                  <a:lnTo>
                    <a:pt x="19" y="182"/>
                  </a:lnTo>
                  <a:lnTo>
                    <a:pt x="5" y="189"/>
                  </a:lnTo>
                  <a:lnTo>
                    <a:pt x="0" y="206"/>
                  </a:lnTo>
                  <a:lnTo>
                    <a:pt x="3" y="229"/>
                  </a:lnTo>
                  <a:close/>
                </a:path>
              </a:pathLst>
            </a:custGeom>
            <a:solidFill>
              <a:schemeClr val="accent4">
                <a:lumMod val="20000"/>
                <a:lumOff val="80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35" name="RO"/>
            <p:cNvSpPr>
              <a:spLocks noChangeAspect="1"/>
            </p:cNvSpPr>
            <p:nvPr/>
          </p:nvSpPr>
          <p:spPr bwMode="auto">
            <a:xfrm>
              <a:off x="6938963" y="4241800"/>
              <a:ext cx="1028700" cy="677863"/>
            </a:xfrm>
            <a:custGeom>
              <a:avLst/>
              <a:gdLst>
                <a:gd name="T0" fmla="*/ 155 w 696"/>
                <a:gd name="T1" fmla="*/ 65 h 572"/>
                <a:gd name="T2" fmla="*/ 129 w 696"/>
                <a:gd name="T3" fmla="*/ 81 h 572"/>
                <a:gd name="T4" fmla="*/ 121 w 696"/>
                <a:gd name="T5" fmla="*/ 185 h 572"/>
                <a:gd name="T6" fmla="*/ 79 w 696"/>
                <a:gd name="T7" fmla="*/ 240 h 572"/>
                <a:gd name="T8" fmla="*/ 24 w 696"/>
                <a:gd name="T9" fmla="*/ 269 h 572"/>
                <a:gd name="T10" fmla="*/ 0 w 696"/>
                <a:gd name="T11" fmla="*/ 306 h 572"/>
                <a:gd name="T12" fmla="*/ 22 w 696"/>
                <a:gd name="T13" fmla="*/ 337 h 572"/>
                <a:gd name="T14" fmla="*/ 22 w 696"/>
                <a:gd name="T15" fmla="*/ 367 h 572"/>
                <a:gd name="T16" fmla="*/ 52 w 696"/>
                <a:gd name="T17" fmla="*/ 374 h 572"/>
                <a:gd name="T18" fmla="*/ 66 w 696"/>
                <a:gd name="T19" fmla="*/ 420 h 572"/>
                <a:gd name="T20" fmla="*/ 75 w 696"/>
                <a:gd name="T21" fmla="*/ 461 h 572"/>
                <a:gd name="T22" fmla="*/ 97 w 696"/>
                <a:gd name="T23" fmla="*/ 461 h 572"/>
                <a:gd name="T24" fmla="*/ 132 w 696"/>
                <a:gd name="T25" fmla="*/ 464 h 572"/>
                <a:gd name="T26" fmla="*/ 132 w 696"/>
                <a:gd name="T27" fmla="*/ 488 h 572"/>
                <a:gd name="T28" fmla="*/ 155 w 696"/>
                <a:gd name="T29" fmla="*/ 509 h 572"/>
                <a:gd name="T30" fmla="*/ 155 w 696"/>
                <a:gd name="T31" fmla="*/ 538 h 572"/>
                <a:gd name="T32" fmla="*/ 203 w 696"/>
                <a:gd name="T33" fmla="*/ 551 h 572"/>
                <a:gd name="T34" fmla="*/ 270 w 696"/>
                <a:gd name="T35" fmla="*/ 572 h 572"/>
                <a:gd name="T36" fmla="*/ 319 w 696"/>
                <a:gd name="T37" fmla="*/ 556 h 572"/>
                <a:gd name="T38" fmla="*/ 376 w 696"/>
                <a:gd name="T39" fmla="*/ 562 h 572"/>
                <a:gd name="T40" fmla="*/ 409 w 696"/>
                <a:gd name="T41" fmla="*/ 541 h 572"/>
                <a:gd name="T42" fmla="*/ 503 w 696"/>
                <a:gd name="T43" fmla="*/ 492 h 572"/>
                <a:gd name="T44" fmla="*/ 558 w 696"/>
                <a:gd name="T45" fmla="*/ 498 h 572"/>
                <a:gd name="T46" fmla="*/ 599 w 696"/>
                <a:gd name="T47" fmla="*/ 506 h 572"/>
                <a:gd name="T48" fmla="*/ 625 w 696"/>
                <a:gd name="T49" fmla="*/ 482 h 572"/>
                <a:gd name="T50" fmla="*/ 627 w 696"/>
                <a:gd name="T51" fmla="*/ 401 h 572"/>
                <a:gd name="T52" fmla="*/ 651 w 696"/>
                <a:gd name="T53" fmla="*/ 374 h 572"/>
                <a:gd name="T54" fmla="*/ 674 w 696"/>
                <a:gd name="T55" fmla="*/ 374 h 572"/>
                <a:gd name="T56" fmla="*/ 679 w 696"/>
                <a:gd name="T57" fmla="*/ 353 h 572"/>
                <a:gd name="T58" fmla="*/ 696 w 696"/>
                <a:gd name="T59" fmla="*/ 334 h 572"/>
                <a:gd name="T60" fmla="*/ 660 w 696"/>
                <a:gd name="T61" fmla="*/ 322 h 572"/>
                <a:gd name="T62" fmla="*/ 618 w 696"/>
                <a:gd name="T63" fmla="*/ 331 h 572"/>
                <a:gd name="T64" fmla="*/ 578 w 696"/>
                <a:gd name="T65" fmla="*/ 322 h 572"/>
                <a:gd name="T66" fmla="*/ 571 w 696"/>
                <a:gd name="T67" fmla="*/ 285 h 572"/>
                <a:gd name="T68" fmla="*/ 558 w 696"/>
                <a:gd name="T69" fmla="*/ 248 h 572"/>
                <a:gd name="T70" fmla="*/ 550 w 696"/>
                <a:gd name="T71" fmla="*/ 211 h 572"/>
                <a:gd name="T72" fmla="*/ 552 w 696"/>
                <a:gd name="T73" fmla="*/ 176 h 572"/>
                <a:gd name="T74" fmla="*/ 522 w 696"/>
                <a:gd name="T75" fmla="*/ 124 h 572"/>
                <a:gd name="T76" fmla="*/ 512 w 696"/>
                <a:gd name="T77" fmla="*/ 87 h 572"/>
                <a:gd name="T78" fmla="*/ 482 w 696"/>
                <a:gd name="T79" fmla="*/ 58 h 572"/>
                <a:gd name="T80" fmla="*/ 461 w 696"/>
                <a:gd name="T81" fmla="*/ 13 h 572"/>
                <a:gd name="T82" fmla="*/ 440 w 696"/>
                <a:gd name="T83" fmla="*/ 0 h 572"/>
                <a:gd name="T84" fmla="*/ 416 w 696"/>
                <a:gd name="T85" fmla="*/ 19 h 572"/>
                <a:gd name="T86" fmla="*/ 388 w 696"/>
                <a:gd name="T87" fmla="*/ 21 h 572"/>
                <a:gd name="T88" fmla="*/ 364 w 696"/>
                <a:gd name="T89" fmla="*/ 37 h 572"/>
                <a:gd name="T90" fmla="*/ 327 w 696"/>
                <a:gd name="T91" fmla="*/ 43 h 572"/>
                <a:gd name="T92" fmla="*/ 297 w 696"/>
                <a:gd name="T93" fmla="*/ 19 h 572"/>
                <a:gd name="T94" fmla="*/ 259 w 696"/>
                <a:gd name="T95" fmla="*/ 34 h 572"/>
                <a:gd name="T96" fmla="*/ 228 w 696"/>
                <a:gd name="T97" fmla="*/ 31 h 572"/>
                <a:gd name="T98" fmla="*/ 190 w 696"/>
                <a:gd name="T99" fmla="*/ 29 h 572"/>
                <a:gd name="T100" fmla="*/ 171 w 696"/>
                <a:gd name="T101" fmla="*/ 40 h 572"/>
                <a:gd name="T102" fmla="*/ 162 w 696"/>
                <a:gd name="T103" fmla="*/ 4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6" h="572">
                  <a:moveTo>
                    <a:pt x="167" y="50"/>
                  </a:moveTo>
                  <a:lnTo>
                    <a:pt x="155" y="65"/>
                  </a:lnTo>
                  <a:lnTo>
                    <a:pt x="146" y="77"/>
                  </a:lnTo>
                  <a:lnTo>
                    <a:pt x="129" y="81"/>
                  </a:lnTo>
                  <a:lnTo>
                    <a:pt x="122" y="169"/>
                  </a:lnTo>
                  <a:lnTo>
                    <a:pt x="121" y="185"/>
                  </a:lnTo>
                  <a:lnTo>
                    <a:pt x="102" y="219"/>
                  </a:lnTo>
                  <a:lnTo>
                    <a:pt x="79" y="240"/>
                  </a:lnTo>
                  <a:lnTo>
                    <a:pt x="64" y="259"/>
                  </a:lnTo>
                  <a:lnTo>
                    <a:pt x="24" y="269"/>
                  </a:lnTo>
                  <a:lnTo>
                    <a:pt x="4" y="289"/>
                  </a:lnTo>
                  <a:lnTo>
                    <a:pt x="0" y="306"/>
                  </a:lnTo>
                  <a:lnTo>
                    <a:pt x="14" y="319"/>
                  </a:lnTo>
                  <a:lnTo>
                    <a:pt x="22" y="337"/>
                  </a:lnTo>
                  <a:lnTo>
                    <a:pt x="19" y="350"/>
                  </a:lnTo>
                  <a:lnTo>
                    <a:pt x="22" y="367"/>
                  </a:lnTo>
                  <a:lnTo>
                    <a:pt x="33" y="374"/>
                  </a:lnTo>
                  <a:lnTo>
                    <a:pt x="52" y="374"/>
                  </a:lnTo>
                  <a:lnTo>
                    <a:pt x="59" y="390"/>
                  </a:lnTo>
                  <a:lnTo>
                    <a:pt x="66" y="420"/>
                  </a:lnTo>
                  <a:lnTo>
                    <a:pt x="69" y="442"/>
                  </a:lnTo>
                  <a:lnTo>
                    <a:pt x="75" y="461"/>
                  </a:lnTo>
                  <a:lnTo>
                    <a:pt x="88" y="467"/>
                  </a:lnTo>
                  <a:lnTo>
                    <a:pt x="97" y="461"/>
                  </a:lnTo>
                  <a:lnTo>
                    <a:pt x="113" y="448"/>
                  </a:lnTo>
                  <a:lnTo>
                    <a:pt x="132" y="464"/>
                  </a:lnTo>
                  <a:lnTo>
                    <a:pt x="129" y="479"/>
                  </a:lnTo>
                  <a:lnTo>
                    <a:pt x="132" y="488"/>
                  </a:lnTo>
                  <a:lnTo>
                    <a:pt x="141" y="492"/>
                  </a:lnTo>
                  <a:lnTo>
                    <a:pt x="155" y="509"/>
                  </a:lnTo>
                  <a:lnTo>
                    <a:pt x="151" y="528"/>
                  </a:lnTo>
                  <a:lnTo>
                    <a:pt x="155" y="538"/>
                  </a:lnTo>
                  <a:lnTo>
                    <a:pt x="176" y="538"/>
                  </a:lnTo>
                  <a:lnTo>
                    <a:pt x="203" y="551"/>
                  </a:lnTo>
                  <a:lnTo>
                    <a:pt x="251" y="572"/>
                  </a:lnTo>
                  <a:lnTo>
                    <a:pt x="270" y="572"/>
                  </a:lnTo>
                  <a:lnTo>
                    <a:pt x="297" y="566"/>
                  </a:lnTo>
                  <a:lnTo>
                    <a:pt x="319" y="556"/>
                  </a:lnTo>
                  <a:lnTo>
                    <a:pt x="357" y="563"/>
                  </a:lnTo>
                  <a:lnTo>
                    <a:pt x="376" y="562"/>
                  </a:lnTo>
                  <a:lnTo>
                    <a:pt x="385" y="559"/>
                  </a:lnTo>
                  <a:lnTo>
                    <a:pt x="409" y="541"/>
                  </a:lnTo>
                  <a:lnTo>
                    <a:pt x="463" y="506"/>
                  </a:lnTo>
                  <a:lnTo>
                    <a:pt x="503" y="492"/>
                  </a:lnTo>
                  <a:lnTo>
                    <a:pt x="525" y="491"/>
                  </a:lnTo>
                  <a:lnTo>
                    <a:pt x="558" y="498"/>
                  </a:lnTo>
                  <a:lnTo>
                    <a:pt x="585" y="501"/>
                  </a:lnTo>
                  <a:lnTo>
                    <a:pt x="599" y="506"/>
                  </a:lnTo>
                  <a:lnTo>
                    <a:pt x="621" y="504"/>
                  </a:lnTo>
                  <a:lnTo>
                    <a:pt x="625" y="482"/>
                  </a:lnTo>
                  <a:lnTo>
                    <a:pt x="625" y="442"/>
                  </a:lnTo>
                  <a:lnTo>
                    <a:pt x="627" y="401"/>
                  </a:lnTo>
                  <a:lnTo>
                    <a:pt x="639" y="380"/>
                  </a:lnTo>
                  <a:lnTo>
                    <a:pt x="651" y="374"/>
                  </a:lnTo>
                  <a:lnTo>
                    <a:pt x="663" y="383"/>
                  </a:lnTo>
                  <a:lnTo>
                    <a:pt x="674" y="374"/>
                  </a:lnTo>
                  <a:lnTo>
                    <a:pt x="682" y="364"/>
                  </a:lnTo>
                  <a:lnTo>
                    <a:pt x="679" y="353"/>
                  </a:lnTo>
                  <a:lnTo>
                    <a:pt x="693" y="349"/>
                  </a:lnTo>
                  <a:lnTo>
                    <a:pt x="696" y="334"/>
                  </a:lnTo>
                  <a:lnTo>
                    <a:pt x="682" y="327"/>
                  </a:lnTo>
                  <a:lnTo>
                    <a:pt x="660" y="322"/>
                  </a:lnTo>
                  <a:lnTo>
                    <a:pt x="644" y="327"/>
                  </a:lnTo>
                  <a:lnTo>
                    <a:pt x="618" y="331"/>
                  </a:lnTo>
                  <a:lnTo>
                    <a:pt x="594" y="331"/>
                  </a:lnTo>
                  <a:lnTo>
                    <a:pt x="578" y="322"/>
                  </a:lnTo>
                  <a:lnTo>
                    <a:pt x="571" y="306"/>
                  </a:lnTo>
                  <a:lnTo>
                    <a:pt x="571" y="285"/>
                  </a:lnTo>
                  <a:lnTo>
                    <a:pt x="569" y="263"/>
                  </a:lnTo>
                  <a:lnTo>
                    <a:pt x="558" y="248"/>
                  </a:lnTo>
                  <a:lnTo>
                    <a:pt x="550" y="232"/>
                  </a:lnTo>
                  <a:lnTo>
                    <a:pt x="550" y="211"/>
                  </a:lnTo>
                  <a:lnTo>
                    <a:pt x="552" y="189"/>
                  </a:lnTo>
                  <a:lnTo>
                    <a:pt x="552" y="176"/>
                  </a:lnTo>
                  <a:lnTo>
                    <a:pt x="541" y="145"/>
                  </a:lnTo>
                  <a:lnTo>
                    <a:pt x="522" y="124"/>
                  </a:lnTo>
                  <a:lnTo>
                    <a:pt x="514" y="102"/>
                  </a:lnTo>
                  <a:lnTo>
                    <a:pt x="512" y="87"/>
                  </a:lnTo>
                  <a:lnTo>
                    <a:pt x="508" y="80"/>
                  </a:lnTo>
                  <a:lnTo>
                    <a:pt x="482" y="58"/>
                  </a:lnTo>
                  <a:lnTo>
                    <a:pt x="473" y="40"/>
                  </a:lnTo>
                  <a:lnTo>
                    <a:pt x="461" y="13"/>
                  </a:lnTo>
                  <a:lnTo>
                    <a:pt x="451" y="3"/>
                  </a:lnTo>
                  <a:lnTo>
                    <a:pt x="440" y="0"/>
                  </a:lnTo>
                  <a:lnTo>
                    <a:pt x="428" y="6"/>
                  </a:lnTo>
                  <a:lnTo>
                    <a:pt x="416" y="19"/>
                  </a:lnTo>
                  <a:lnTo>
                    <a:pt x="409" y="21"/>
                  </a:lnTo>
                  <a:lnTo>
                    <a:pt x="388" y="21"/>
                  </a:lnTo>
                  <a:lnTo>
                    <a:pt x="374" y="24"/>
                  </a:lnTo>
                  <a:lnTo>
                    <a:pt x="364" y="37"/>
                  </a:lnTo>
                  <a:lnTo>
                    <a:pt x="346" y="44"/>
                  </a:lnTo>
                  <a:lnTo>
                    <a:pt x="327" y="43"/>
                  </a:lnTo>
                  <a:lnTo>
                    <a:pt x="317" y="31"/>
                  </a:lnTo>
                  <a:lnTo>
                    <a:pt x="297" y="19"/>
                  </a:lnTo>
                  <a:lnTo>
                    <a:pt x="280" y="24"/>
                  </a:lnTo>
                  <a:lnTo>
                    <a:pt x="259" y="34"/>
                  </a:lnTo>
                  <a:lnTo>
                    <a:pt x="242" y="37"/>
                  </a:lnTo>
                  <a:lnTo>
                    <a:pt x="228" y="31"/>
                  </a:lnTo>
                  <a:lnTo>
                    <a:pt x="212" y="21"/>
                  </a:lnTo>
                  <a:lnTo>
                    <a:pt x="190" y="29"/>
                  </a:lnTo>
                  <a:lnTo>
                    <a:pt x="176" y="37"/>
                  </a:lnTo>
                  <a:lnTo>
                    <a:pt x="171" y="40"/>
                  </a:lnTo>
                  <a:lnTo>
                    <a:pt x="167" y="43"/>
                  </a:lnTo>
                  <a:lnTo>
                    <a:pt x="162" y="44"/>
                  </a:lnTo>
                  <a:lnTo>
                    <a:pt x="167" y="50"/>
                  </a:lnTo>
                  <a:close/>
                </a:path>
              </a:pathLst>
            </a:custGeom>
            <a:solidFill>
              <a:srgbClr val="F2F2F2"/>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36" name="LT"/>
            <p:cNvSpPr>
              <a:spLocks noChangeAspect="1"/>
            </p:cNvSpPr>
            <p:nvPr/>
          </p:nvSpPr>
          <p:spPr bwMode="auto">
            <a:xfrm>
              <a:off x="6938963" y="3040063"/>
              <a:ext cx="538162" cy="381000"/>
            </a:xfrm>
            <a:custGeom>
              <a:avLst/>
              <a:gdLst>
                <a:gd name="T0" fmla="*/ 3 w 364"/>
                <a:gd name="T1" fmla="*/ 34 h 318"/>
                <a:gd name="T2" fmla="*/ 0 w 364"/>
                <a:gd name="T3" fmla="*/ 44 h 318"/>
                <a:gd name="T4" fmla="*/ 6 w 364"/>
                <a:gd name="T5" fmla="*/ 81 h 318"/>
                <a:gd name="T6" fmla="*/ 22 w 364"/>
                <a:gd name="T7" fmla="*/ 136 h 318"/>
                <a:gd name="T8" fmla="*/ 36 w 364"/>
                <a:gd name="T9" fmla="*/ 152 h 318"/>
                <a:gd name="T10" fmla="*/ 69 w 364"/>
                <a:gd name="T11" fmla="*/ 166 h 318"/>
                <a:gd name="T12" fmla="*/ 83 w 364"/>
                <a:gd name="T13" fmla="*/ 170 h 318"/>
                <a:gd name="T14" fmla="*/ 85 w 364"/>
                <a:gd name="T15" fmla="*/ 189 h 318"/>
                <a:gd name="T16" fmla="*/ 85 w 364"/>
                <a:gd name="T17" fmla="*/ 220 h 318"/>
                <a:gd name="T18" fmla="*/ 118 w 364"/>
                <a:gd name="T19" fmla="*/ 257 h 318"/>
                <a:gd name="T20" fmla="*/ 138 w 364"/>
                <a:gd name="T21" fmla="*/ 268 h 318"/>
                <a:gd name="T22" fmla="*/ 149 w 364"/>
                <a:gd name="T23" fmla="*/ 274 h 318"/>
                <a:gd name="T24" fmla="*/ 176 w 364"/>
                <a:gd name="T25" fmla="*/ 312 h 318"/>
                <a:gd name="T26" fmla="*/ 185 w 364"/>
                <a:gd name="T27" fmla="*/ 305 h 318"/>
                <a:gd name="T28" fmla="*/ 204 w 364"/>
                <a:gd name="T29" fmla="*/ 303 h 318"/>
                <a:gd name="T30" fmla="*/ 226 w 364"/>
                <a:gd name="T31" fmla="*/ 318 h 318"/>
                <a:gd name="T32" fmla="*/ 242 w 364"/>
                <a:gd name="T33" fmla="*/ 308 h 318"/>
                <a:gd name="T34" fmla="*/ 265 w 364"/>
                <a:gd name="T35" fmla="*/ 278 h 318"/>
                <a:gd name="T36" fmla="*/ 282 w 364"/>
                <a:gd name="T37" fmla="*/ 268 h 318"/>
                <a:gd name="T38" fmla="*/ 298 w 364"/>
                <a:gd name="T39" fmla="*/ 276 h 318"/>
                <a:gd name="T40" fmla="*/ 308 w 364"/>
                <a:gd name="T41" fmla="*/ 271 h 318"/>
                <a:gd name="T42" fmla="*/ 309 w 364"/>
                <a:gd name="T43" fmla="*/ 260 h 318"/>
                <a:gd name="T44" fmla="*/ 312 w 364"/>
                <a:gd name="T45" fmla="*/ 200 h 318"/>
                <a:gd name="T46" fmla="*/ 322 w 364"/>
                <a:gd name="T47" fmla="*/ 182 h 318"/>
                <a:gd name="T48" fmla="*/ 322 w 364"/>
                <a:gd name="T49" fmla="*/ 155 h 318"/>
                <a:gd name="T50" fmla="*/ 326 w 364"/>
                <a:gd name="T51" fmla="*/ 145 h 318"/>
                <a:gd name="T52" fmla="*/ 345 w 364"/>
                <a:gd name="T53" fmla="*/ 129 h 318"/>
                <a:gd name="T54" fmla="*/ 364 w 364"/>
                <a:gd name="T55" fmla="*/ 126 h 318"/>
                <a:gd name="T56" fmla="*/ 364 w 364"/>
                <a:gd name="T57" fmla="*/ 96 h 318"/>
                <a:gd name="T58" fmla="*/ 359 w 364"/>
                <a:gd name="T59" fmla="*/ 74 h 318"/>
                <a:gd name="T60" fmla="*/ 345 w 364"/>
                <a:gd name="T61" fmla="*/ 65 h 318"/>
                <a:gd name="T62" fmla="*/ 339 w 364"/>
                <a:gd name="T63" fmla="*/ 68 h 318"/>
                <a:gd name="T64" fmla="*/ 315 w 364"/>
                <a:gd name="T65" fmla="*/ 44 h 318"/>
                <a:gd name="T66" fmla="*/ 301 w 364"/>
                <a:gd name="T67" fmla="*/ 27 h 318"/>
                <a:gd name="T68" fmla="*/ 284 w 364"/>
                <a:gd name="T69" fmla="*/ 27 h 318"/>
                <a:gd name="T70" fmla="*/ 251 w 364"/>
                <a:gd name="T71" fmla="*/ 27 h 318"/>
                <a:gd name="T72" fmla="*/ 245 w 364"/>
                <a:gd name="T73" fmla="*/ 21 h 318"/>
                <a:gd name="T74" fmla="*/ 237 w 364"/>
                <a:gd name="T75" fmla="*/ 2 h 318"/>
                <a:gd name="T76" fmla="*/ 228 w 364"/>
                <a:gd name="T77" fmla="*/ 0 h 318"/>
                <a:gd name="T78" fmla="*/ 199 w 364"/>
                <a:gd name="T79" fmla="*/ 0 h 318"/>
                <a:gd name="T80" fmla="*/ 188 w 364"/>
                <a:gd name="T81" fmla="*/ 15 h 318"/>
                <a:gd name="T82" fmla="*/ 176 w 364"/>
                <a:gd name="T83" fmla="*/ 12 h 318"/>
                <a:gd name="T84" fmla="*/ 157 w 364"/>
                <a:gd name="T85" fmla="*/ 8 h 318"/>
                <a:gd name="T86" fmla="*/ 149 w 364"/>
                <a:gd name="T87" fmla="*/ 5 h 318"/>
                <a:gd name="T88" fmla="*/ 135 w 364"/>
                <a:gd name="T89" fmla="*/ 10 h 318"/>
                <a:gd name="T90" fmla="*/ 125 w 364"/>
                <a:gd name="T91" fmla="*/ 18 h 318"/>
                <a:gd name="T92" fmla="*/ 106 w 364"/>
                <a:gd name="T93" fmla="*/ 10 h 318"/>
                <a:gd name="T94" fmla="*/ 66 w 364"/>
                <a:gd name="T95" fmla="*/ 2 h 318"/>
                <a:gd name="T96" fmla="*/ 56 w 364"/>
                <a:gd name="T97" fmla="*/ 0 h 318"/>
                <a:gd name="T98" fmla="*/ 45 w 364"/>
                <a:gd name="T99" fmla="*/ 10 h 318"/>
                <a:gd name="T100" fmla="*/ 26 w 364"/>
                <a:gd name="T101" fmla="*/ 24 h 318"/>
                <a:gd name="T102" fmla="*/ 3 w 364"/>
                <a:gd name="T103" fmla="*/ 34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18">
                  <a:moveTo>
                    <a:pt x="3" y="34"/>
                  </a:moveTo>
                  <a:lnTo>
                    <a:pt x="0" y="44"/>
                  </a:lnTo>
                  <a:lnTo>
                    <a:pt x="6" y="81"/>
                  </a:lnTo>
                  <a:lnTo>
                    <a:pt x="22" y="136"/>
                  </a:lnTo>
                  <a:lnTo>
                    <a:pt x="36" y="152"/>
                  </a:lnTo>
                  <a:lnTo>
                    <a:pt x="69" y="166"/>
                  </a:lnTo>
                  <a:lnTo>
                    <a:pt x="83" y="170"/>
                  </a:lnTo>
                  <a:lnTo>
                    <a:pt x="85" y="189"/>
                  </a:lnTo>
                  <a:lnTo>
                    <a:pt x="85" y="220"/>
                  </a:lnTo>
                  <a:lnTo>
                    <a:pt x="118" y="257"/>
                  </a:lnTo>
                  <a:lnTo>
                    <a:pt x="138" y="268"/>
                  </a:lnTo>
                  <a:lnTo>
                    <a:pt x="149" y="274"/>
                  </a:lnTo>
                  <a:lnTo>
                    <a:pt x="176" y="312"/>
                  </a:lnTo>
                  <a:lnTo>
                    <a:pt x="185" y="305"/>
                  </a:lnTo>
                  <a:lnTo>
                    <a:pt x="204" y="303"/>
                  </a:lnTo>
                  <a:lnTo>
                    <a:pt x="226" y="318"/>
                  </a:lnTo>
                  <a:lnTo>
                    <a:pt x="242" y="308"/>
                  </a:lnTo>
                  <a:lnTo>
                    <a:pt x="265" y="278"/>
                  </a:lnTo>
                  <a:lnTo>
                    <a:pt x="282" y="268"/>
                  </a:lnTo>
                  <a:lnTo>
                    <a:pt x="298" y="276"/>
                  </a:lnTo>
                  <a:lnTo>
                    <a:pt x="308" y="271"/>
                  </a:lnTo>
                  <a:lnTo>
                    <a:pt x="309" y="260"/>
                  </a:lnTo>
                  <a:lnTo>
                    <a:pt x="312" y="200"/>
                  </a:lnTo>
                  <a:lnTo>
                    <a:pt x="322" y="182"/>
                  </a:lnTo>
                  <a:lnTo>
                    <a:pt x="322" y="155"/>
                  </a:lnTo>
                  <a:lnTo>
                    <a:pt x="326" y="145"/>
                  </a:lnTo>
                  <a:lnTo>
                    <a:pt x="345" y="129"/>
                  </a:lnTo>
                  <a:lnTo>
                    <a:pt x="364" y="126"/>
                  </a:lnTo>
                  <a:lnTo>
                    <a:pt x="364" y="96"/>
                  </a:lnTo>
                  <a:lnTo>
                    <a:pt x="359" y="74"/>
                  </a:lnTo>
                  <a:lnTo>
                    <a:pt x="345" y="65"/>
                  </a:lnTo>
                  <a:lnTo>
                    <a:pt x="339" y="68"/>
                  </a:lnTo>
                  <a:lnTo>
                    <a:pt x="315" y="44"/>
                  </a:lnTo>
                  <a:lnTo>
                    <a:pt x="301" y="27"/>
                  </a:lnTo>
                  <a:lnTo>
                    <a:pt x="284" y="27"/>
                  </a:lnTo>
                  <a:lnTo>
                    <a:pt x="251" y="27"/>
                  </a:lnTo>
                  <a:lnTo>
                    <a:pt x="245" y="21"/>
                  </a:lnTo>
                  <a:lnTo>
                    <a:pt x="237" y="2"/>
                  </a:lnTo>
                  <a:lnTo>
                    <a:pt x="228" y="0"/>
                  </a:lnTo>
                  <a:lnTo>
                    <a:pt x="199" y="0"/>
                  </a:lnTo>
                  <a:lnTo>
                    <a:pt x="188" y="15"/>
                  </a:lnTo>
                  <a:lnTo>
                    <a:pt x="176" y="12"/>
                  </a:lnTo>
                  <a:lnTo>
                    <a:pt x="157" y="8"/>
                  </a:lnTo>
                  <a:lnTo>
                    <a:pt x="149" y="5"/>
                  </a:lnTo>
                  <a:lnTo>
                    <a:pt x="135" y="10"/>
                  </a:lnTo>
                  <a:lnTo>
                    <a:pt x="125" y="18"/>
                  </a:lnTo>
                  <a:lnTo>
                    <a:pt x="106" y="10"/>
                  </a:lnTo>
                  <a:lnTo>
                    <a:pt x="66" y="2"/>
                  </a:lnTo>
                  <a:lnTo>
                    <a:pt x="56" y="0"/>
                  </a:lnTo>
                  <a:lnTo>
                    <a:pt x="45" y="10"/>
                  </a:lnTo>
                  <a:lnTo>
                    <a:pt x="26" y="24"/>
                  </a:lnTo>
                  <a:lnTo>
                    <a:pt x="3" y="34"/>
                  </a:lnTo>
                  <a:close/>
                </a:path>
              </a:pathLst>
            </a:custGeom>
            <a:solidFill>
              <a:schemeClr val="bg1">
                <a:lumMod val="95000"/>
              </a:schemeClr>
            </a:solidFill>
            <a:ln w="3175">
              <a:solidFill>
                <a:schemeClr val="bg1"/>
              </a:solidFill>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nvGrpSpPr>
            <p:cNvPr id="37" name="EE"/>
            <p:cNvGrpSpPr>
              <a:grpSpLocks/>
            </p:cNvGrpSpPr>
            <p:nvPr/>
          </p:nvGrpSpPr>
          <p:grpSpPr bwMode="auto">
            <a:xfrm>
              <a:off x="6978582" y="2528348"/>
              <a:ext cx="541339" cy="327025"/>
              <a:chOff x="3930663" y="2840721"/>
              <a:chExt cx="247" cy="169"/>
            </a:xfrm>
            <a:solidFill>
              <a:schemeClr val="bg1">
                <a:lumMod val="95000"/>
              </a:schemeClr>
            </a:solidFill>
            <a:effectLst/>
          </p:grpSpPr>
          <p:sp>
            <p:nvSpPr>
              <p:cNvPr id="61" name="Freeform 533" descr="80%"/>
              <p:cNvSpPr>
                <a:spLocks noChangeAspect="1"/>
              </p:cNvSpPr>
              <p:nvPr/>
            </p:nvSpPr>
            <p:spPr bwMode="auto">
              <a:xfrm>
                <a:off x="3930673" y="2840778"/>
                <a:ext cx="38" cy="31"/>
              </a:xfrm>
              <a:custGeom>
                <a:avLst/>
                <a:gdLst>
                  <a:gd name="T0" fmla="*/ 33 w 56"/>
                  <a:gd name="T1" fmla="*/ 0 h 52"/>
                  <a:gd name="T2" fmla="*/ 7 w 56"/>
                  <a:gd name="T3" fmla="*/ 18 h 52"/>
                  <a:gd name="T4" fmla="*/ 0 w 56"/>
                  <a:gd name="T5" fmla="*/ 28 h 52"/>
                  <a:gd name="T6" fmla="*/ 16 w 56"/>
                  <a:gd name="T7" fmla="*/ 34 h 52"/>
                  <a:gd name="T8" fmla="*/ 30 w 56"/>
                  <a:gd name="T9" fmla="*/ 52 h 52"/>
                  <a:gd name="T10" fmla="*/ 42 w 56"/>
                  <a:gd name="T11" fmla="*/ 40 h 52"/>
                  <a:gd name="T12" fmla="*/ 56 w 56"/>
                  <a:gd name="T13" fmla="*/ 28 h 52"/>
                  <a:gd name="T14" fmla="*/ 44 w 56"/>
                  <a:gd name="T15" fmla="*/ 15 h 52"/>
                  <a:gd name="T16" fmla="*/ 33 w 56"/>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2">
                    <a:moveTo>
                      <a:pt x="33" y="0"/>
                    </a:moveTo>
                    <a:lnTo>
                      <a:pt x="7" y="18"/>
                    </a:lnTo>
                    <a:lnTo>
                      <a:pt x="0" y="28"/>
                    </a:lnTo>
                    <a:lnTo>
                      <a:pt x="16" y="34"/>
                    </a:lnTo>
                    <a:lnTo>
                      <a:pt x="30" y="52"/>
                    </a:lnTo>
                    <a:lnTo>
                      <a:pt x="42" y="40"/>
                    </a:lnTo>
                    <a:lnTo>
                      <a:pt x="56" y="28"/>
                    </a:lnTo>
                    <a:lnTo>
                      <a:pt x="44" y="15"/>
                    </a:lnTo>
                    <a:lnTo>
                      <a:pt x="33"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2" name="Freeform 534" descr="80%"/>
              <p:cNvSpPr>
                <a:spLocks noChangeAspect="1"/>
              </p:cNvSpPr>
              <p:nvPr/>
            </p:nvSpPr>
            <p:spPr bwMode="auto">
              <a:xfrm>
                <a:off x="3930663" y="2840819"/>
                <a:ext cx="55" cy="59"/>
              </a:xfrm>
              <a:custGeom>
                <a:avLst/>
                <a:gdLst>
                  <a:gd name="T0" fmla="*/ 69 w 83"/>
                  <a:gd name="T1" fmla="*/ 0 h 95"/>
                  <a:gd name="T2" fmla="*/ 41 w 83"/>
                  <a:gd name="T3" fmla="*/ 6 h 95"/>
                  <a:gd name="T4" fmla="*/ 31 w 83"/>
                  <a:gd name="T5" fmla="*/ 0 h 95"/>
                  <a:gd name="T6" fmla="*/ 14 w 83"/>
                  <a:gd name="T7" fmla="*/ 24 h 95"/>
                  <a:gd name="T8" fmla="*/ 8 w 83"/>
                  <a:gd name="T9" fmla="*/ 18 h 95"/>
                  <a:gd name="T10" fmla="*/ 0 w 83"/>
                  <a:gd name="T11" fmla="*/ 34 h 95"/>
                  <a:gd name="T12" fmla="*/ 9 w 83"/>
                  <a:gd name="T13" fmla="*/ 43 h 95"/>
                  <a:gd name="T14" fmla="*/ 9 w 83"/>
                  <a:gd name="T15" fmla="*/ 82 h 95"/>
                  <a:gd name="T16" fmla="*/ 17 w 83"/>
                  <a:gd name="T17" fmla="*/ 95 h 95"/>
                  <a:gd name="T18" fmla="*/ 59 w 83"/>
                  <a:gd name="T19" fmla="*/ 43 h 95"/>
                  <a:gd name="T20" fmla="*/ 75 w 83"/>
                  <a:gd name="T21" fmla="*/ 43 h 95"/>
                  <a:gd name="T22" fmla="*/ 83 w 83"/>
                  <a:gd name="T23" fmla="*/ 28 h 95"/>
                  <a:gd name="T24" fmla="*/ 80 w 83"/>
                  <a:gd name="T25" fmla="*/ 21 h 95"/>
                  <a:gd name="T26" fmla="*/ 69 w 83"/>
                  <a:gd name="T2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95">
                    <a:moveTo>
                      <a:pt x="69" y="0"/>
                    </a:moveTo>
                    <a:lnTo>
                      <a:pt x="41" y="6"/>
                    </a:lnTo>
                    <a:lnTo>
                      <a:pt x="31" y="0"/>
                    </a:lnTo>
                    <a:lnTo>
                      <a:pt x="14" y="24"/>
                    </a:lnTo>
                    <a:lnTo>
                      <a:pt x="8" y="18"/>
                    </a:lnTo>
                    <a:lnTo>
                      <a:pt x="0" y="34"/>
                    </a:lnTo>
                    <a:lnTo>
                      <a:pt x="9" y="43"/>
                    </a:lnTo>
                    <a:lnTo>
                      <a:pt x="9" y="82"/>
                    </a:lnTo>
                    <a:lnTo>
                      <a:pt x="17" y="95"/>
                    </a:lnTo>
                    <a:lnTo>
                      <a:pt x="59" y="43"/>
                    </a:lnTo>
                    <a:lnTo>
                      <a:pt x="75" y="43"/>
                    </a:lnTo>
                    <a:lnTo>
                      <a:pt x="83" y="28"/>
                    </a:lnTo>
                    <a:lnTo>
                      <a:pt x="80" y="21"/>
                    </a:lnTo>
                    <a:lnTo>
                      <a:pt x="69"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3" name="Freeform 535" descr="80%"/>
              <p:cNvSpPr>
                <a:spLocks noChangeAspect="1"/>
              </p:cNvSpPr>
              <p:nvPr/>
            </p:nvSpPr>
            <p:spPr bwMode="auto">
              <a:xfrm>
                <a:off x="3930728" y="2840721"/>
                <a:ext cx="182" cy="169"/>
              </a:xfrm>
              <a:custGeom>
                <a:avLst/>
                <a:gdLst>
                  <a:gd name="T0" fmla="*/ 262 w 271"/>
                  <a:gd name="T1" fmla="*/ 256 h 272"/>
                  <a:gd name="T2" fmla="*/ 260 w 271"/>
                  <a:gd name="T3" fmla="*/ 241 h 272"/>
                  <a:gd name="T4" fmla="*/ 269 w 271"/>
                  <a:gd name="T5" fmla="*/ 226 h 272"/>
                  <a:gd name="T6" fmla="*/ 269 w 271"/>
                  <a:gd name="T7" fmla="*/ 206 h 272"/>
                  <a:gd name="T8" fmla="*/ 250 w 271"/>
                  <a:gd name="T9" fmla="*/ 191 h 272"/>
                  <a:gd name="T10" fmla="*/ 243 w 271"/>
                  <a:gd name="T11" fmla="*/ 182 h 272"/>
                  <a:gd name="T12" fmla="*/ 238 w 271"/>
                  <a:gd name="T13" fmla="*/ 155 h 272"/>
                  <a:gd name="T14" fmla="*/ 227 w 271"/>
                  <a:gd name="T15" fmla="*/ 132 h 272"/>
                  <a:gd name="T16" fmla="*/ 214 w 271"/>
                  <a:gd name="T17" fmla="*/ 114 h 272"/>
                  <a:gd name="T18" fmla="*/ 214 w 271"/>
                  <a:gd name="T19" fmla="*/ 98 h 272"/>
                  <a:gd name="T20" fmla="*/ 222 w 271"/>
                  <a:gd name="T21" fmla="*/ 87 h 272"/>
                  <a:gd name="T22" fmla="*/ 252 w 271"/>
                  <a:gd name="T23" fmla="*/ 90 h 272"/>
                  <a:gd name="T24" fmla="*/ 264 w 271"/>
                  <a:gd name="T25" fmla="*/ 74 h 272"/>
                  <a:gd name="T26" fmla="*/ 271 w 271"/>
                  <a:gd name="T27" fmla="*/ 34 h 272"/>
                  <a:gd name="T28" fmla="*/ 269 w 271"/>
                  <a:gd name="T29" fmla="*/ 21 h 272"/>
                  <a:gd name="T30" fmla="*/ 255 w 271"/>
                  <a:gd name="T31" fmla="*/ 19 h 272"/>
                  <a:gd name="T32" fmla="*/ 230 w 271"/>
                  <a:gd name="T33" fmla="*/ 21 h 272"/>
                  <a:gd name="T34" fmla="*/ 194 w 271"/>
                  <a:gd name="T35" fmla="*/ 21 h 272"/>
                  <a:gd name="T36" fmla="*/ 167 w 271"/>
                  <a:gd name="T37" fmla="*/ 9 h 272"/>
                  <a:gd name="T38" fmla="*/ 148 w 271"/>
                  <a:gd name="T39" fmla="*/ 3 h 272"/>
                  <a:gd name="T40" fmla="*/ 132 w 271"/>
                  <a:gd name="T41" fmla="*/ 0 h 272"/>
                  <a:gd name="T42" fmla="*/ 116 w 271"/>
                  <a:gd name="T43" fmla="*/ 24 h 272"/>
                  <a:gd name="T44" fmla="*/ 97 w 271"/>
                  <a:gd name="T45" fmla="*/ 40 h 272"/>
                  <a:gd name="T46" fmla="*/ 69 w 271"/>
                  <a:gd name="T47" fmla="*/ 37 h 272"/>
                  <a:gd name="T48" fmla="*/ 52 w 271"/>
                  <a:gd name="T49" fmla="*/ 50 h 272"/>
                  <a:gd name="T50" fmla="*/ 26 w 271"/>
                  <a:gd name="T51" fmla="*/ 80 h 272"/>
                  <a:gd name="T52" fmla="*/ 5 w 271"/>
                  <a:gd name="T53" fmla="*/ 98 h 272"/>
                  <a:gd name="T54" fmla="*/ 0 w 271"/>
                  <a:gd name="T55" fmla="*/ 111 h 272"/>
                  <a:gd name="T56" fmla="*/ 12 w 271"/>
                  <a:gd name="T57" fmla="*/ 135 h 272"/>
                  <a:gd name="T58" fmla="*/ 24 w 271"/>
                  <a:gd name="T59" fmla="*/ 167 h 272"/>
                  <a:gd name="T60" fmla="*/ 38 w 271"/>
                  <a:gd name="T61" fmla="*/ 185 h 272"/>
                  <a:gd name="T62" fmla="*/ 52 w 271"/>
                  <a:gd name="T63" fmla="*/ 179 h 272"/>
                  <a:gd name="T64" fmla="*/ 76 w 271"/>
                  <a:gd name="T65" fmla="*/ 169 h 272"/>
                  <a:gd name="T66" fmla="*/ 74 w 271"/>
                  <a:gd name="T67" fmla="*/ 195 h 272"/>
                  <a:gd name="T68" fmla="*/ 66 w 271"/>
                  <a:gd name="T69" fmla="*/ 226 h 272"/>
                  <a:gd name="T70" fmla="*/ 69 w 271"/>
                  <a:gd name="T71" fmla="*/ 232 h 272"/>
                  <a:gd name="T72" fmla="*/ 80 w 271"/>
                  <a:gd name="T73" fmla="*/ 232 h 272"/>
                  <a:gd name="T74" fmla="*/ 97 w 271"/>
                  <a:gd name="T75" fmla="*/ 226 h 272"/>
                  <a:gd name="T76" fmla="*/ 132 w 271"/>
                  <a:gd name="T77" fmla="*/ 231 h 272"/>
                  <a:gd name="T78" fmla="*/ 142 w 271"/>
                  <a:gd name="T79" fmla="*/ 245 h 272"/>
                  <a:gd name="T80" fmla="*/ 162 w 271"/>
                  <a:gd name="T81" fmla="*/ 253 h 272"/>
                  <a:gd name="T82" fmla="*/ 179 w 271"/>
                  <a:gd name="T83" fmla="*/ 272 h 272"/>
                  <a:gd name="T84" fmla="*/ 190 w 271"/>
                  <a:gd name="T85" fmla="*/ 269 h 272"/>
                  <a:gd name="T86" fmla="*/ 212 w 271"/>
                  <a:gd name="T87" fmla="*/ 256 h 272"/>
                  <a:gd name="T88" fmla="*/ 233 w 271"/>
                  <a:gd name="T89" fmla="*/ 253 h 272"/>
                  <a:gd name="T90" fmla="*/ 262 w 271"/>
                  <a:gd name="T91" fmla="*/ 256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1" h="272">
                    <a:moveTo>
                      <a:pt x="262" y="256"/>
                    </a:moveTo>
                    <a:lnTo>
                      <a:pt x="260" y="241"/>
                    </a:lnTo>
                    <a:lnTo>
                      <a:pt x="269" y="226"/>
                    </a:lnTo>
                    <a:lnTo>
                      <a:pt x="269" y="206"/>
                    </a:lnTo>
                    <a:lnTo>
                      <a:pt x="250" y="191"/>
                    </a:lnTo>
                    <a:lnTo>
                      <a:pt x="243" y="182"/>
                    </a:lnTo>
                    <a:lnTo>
                      <a:pt x="238" y="155"/>
                    </a:lnTo>
                    <a:lnTo>
                      <a:pt x="227" y="132"/>
                    </a:lnTo>
                    <a:lnTo>
                      <a:pt x="214" y="114"/>
                    </a:lnTo>
                    <a:lnTo>
                      <a:pt x="214" y="98"/>
                    </a:lnTo>
                    <a:lnTo>
                      <a:pt x="222" y="87"/>
                    </a:lnTo>
                    <a:lnTo>
                      <a:pt x="252" y="90"/>
                    </a:lnTo>
                    <a:lnTo>
                      <a:pt x="264" y="74"/>
                    </a:lnTo>
                    <a:lnTo>
                      <a:pt x="271" y="34"/>
                    </a:lnTo>
                    <a:lnTo>
                      <a:pt x="269" y="21"/>
                    </a:lnTo>
                    <a:lnTo>
                      <a:pt x="255" y="19"/>
                    </a:lnTo>
                    <a:lnTo>
                      <a:pt x="230" y="21"/>
                    </a:lnTo>
                    <a:lnTo>
                      <a:pt x="194" y="21"/>
                    </a:lnTo>
                    <a:lnTo>
                      <a:pt x="167" y="9"/>
                    </a:lnTo>
                    <a:lnTo>
                      <a:pt x="148" y="3"/>
                    </a:lnTo>
                    <a:lnTo>
                      <a:pt x="132" y="0"/>
                    </a:lnTo>
                    <a:lnTo>
                      <a:pt x="116" y="24"/>
                    </a:lnTo>
                    <a:lnTo>
                      <a:pt x="97" y="40"/>
                    </a:lnTo>
                    <a:lnTo>
                      <a:pt x="69" y="37"/>
                    </a:lnTo>
                    <a:lnTo>
                      <a:pt x="52" y="50"/>
                    </a:lnTo>
                    <a:lnTo>
                      <a:pt x="26" y="80"/>
                    </a:lnTo>
                    <a:lnTo>
                      <a:pt x="5" y="98"/>
                    </a:lnTo>
                    <a:lnTo>
                      <a:pt x="0" y="111"/>
                    </a:lnTo>
                    <a:lnTo>
                      <a:pt x="12" y="135"/>
                    </a:lnTo>
                    <a:lnTo>
                      <a:pt x="24" y="167"/>
                    </a:lnTo>
                    <a:lnTo>
                      <a:pt x="38" y="185"/>
                    </a:lnTo>
                    <a:lnTo>
                      <a:pt x="52" y="179"/>
                    </a:lnTo>
                    <a:lnTo>
                      <a:pt x="76" y="169"/>
                    </a:lnTo>
                    <a:lnTo>
                      <a:pt x="74" y="195"/>
                    </a:lnTo>
                    <a:lnTo>
                      <a:pt x="66" y="226"/>
                    </a:lnTo>
                    <a:lnTo>
                      <a:pt x="69" y="232"/>
                    </a:lnTo>
                    <a:lnTo>
                      <a:pt x="80" y="232"/>
                    </a:lnTo>
                    <a:lnTo>
                      <a:pt x="97" y="226"/>
                    </a:lnTo>
                    <a:lnTo>
                      <a:pt x="132" y="231"/>
                    </a:lnTo>
                    <a:lnTo>
                      <a:pt x="142" y="245"/>
                    </a:lnTo>
                    <a:lnTo>
                      <a:pt x="162" y="253"/>
                    </a:lnTo>
                    <a:lnTo>
                      <a:pt x="179" y="272"/>
                    </a:lnTo>
                    <a:lnTo>
                      <a:pt x="190" y="269"/>
                    </a:lnTo>
                    <a:lnTo>
                      <a:pt x="212" y="256"/>
                    </a:lnTo>
                    <a:lnTo>
                      <a:pt x="233" y="253"/>
                    </a:lnTo>
                    <a:lnTo>
                      <a:pt x="262" y="256"/>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sp>
          <p:nvSpPr>
            <p:cNvPr id="38" name="LV"/>
            <p:cNvSpPr>
              <a:spLocks noChangeAspect="1"/>
            </p:cNvSpPr>
            <p:nvPr/>
          </p:nvSpPr>
          <p:spPr bwMode="auto">
            <a:xfrm>
              <a:off x="6916738" y="2794000"/>
              <a:ext cx="695325" cy="327025"/>
            </a:xfrm>
            <a:custGeom>
              <a:avLst/>
              <a:gdLst>
                <a:gd name="T0" fmla="*/ 115 w 468"/>
                <a:gd name="T1" fmla="*/ 93 h 275"/>
                <a:gd name="T2" fmla="*/ 105 w 468"/>
                <a:gd name="T3" fmla="*/ 56 h 275"/>
                <a:gd name="T4" fmla="*/ 74 w 468"/>
                <a:gd name="T5" fmla="*/ 37 h 275"/>
                <a:gd name="T6" fmla="*/ 41 w 468"/>
                <a:gd name="T7" fmla="*/ 66 h 275"/>
                <a:gd name="T8" fmla="*/ 21 w 468"/>
                <a:gd name="T9" fmla="*/ 127 h 275"/>
                <a:gd name="T10" fmla="*/ 16 w 468"/>
                <a:gd name="T11" fmla="*/ 148 h 275"/>
                <a:gd name="T12" fmla="*/ 0 w 468"/>
                <a:gd name="T13" fmla="*/ 170 h 275"/>
                <a:gd name="T14" fmla="*/ 5 w 468"/>
                <a:gd name="T15" fmla="*/ 212 h 275"/>
                <a:gd name="T16" fmla="*/ 19 w 468"/>
                <a:gd name="T17" fmla="*/ 241 h 275"/>
                <a:gd name="T18" fmla="*/ 60 w 468"/>
                <a:gd name="T19" fmla="*/ 217 h 275"/>
                <a:gd name="T20" fmla="*/ 88 w 468"/>
                <a:gd name="T21" fmla="*/ 212 h 275"/>
                <a:gd name="T22" fmla="*/ 124 w 468"/>
                <a:gd name="T23" fmla="*/ 222 h 275"/>
                <a:gd name="T24" fmla="*/ 159 w 468"/>
                <a:gd name="T25" fmla="*/ 212 h 275"/>
                <a:gd name="T26" fmla="*/ 182 w 468"/>
                <a:gd name="T27" fmla="*/ 219 h 275"/>
                <a:gd name="T28" fmla="*/ 212 w 468"/>
                <a:gd name="T29" fmla="*/ 212 h 275"/>
                <a:gd name="T30" fmla="*/ 248 w 468"/>
                <a:gd name="T31" fmla="*/ 209 h 275"/>
                <a:gd name="T32" fmla="*/ 283 w 468"/>
                <a:gd name="T33" fmla="*/ 235 h 275"/>
                <a:gd name="T34" fmla="*/ 330 w 468"/>
                <a:gd name="T35" fmla="*/ 258 h 275"/>
                <a:gd name="T36" fmla="*/ 358 w 468"/>
                <a:gd name="T37" fmla="*/ 275 h 275"/>
                <a:gd name="T38" fmla="*/ 400 w 468"/>
                <a:gd name="T39" fmla="*/ 262 h 275"/>
                <a:gd name="T40" fmla="*/ 421 w 468"/>
                <a:gd name="T41" fmla="*/ 238 h 275"/>
                <a:gd name="T42" fmla="*/ 461 w 468"/>
                <a:gd name="T43" fmla="*/ 191 h 275"/>
                <a:gd name="T44" fmla="*/ 463 w 468"/>
                <a:gd name="T45" fmla="*/ 130 h 275"/>
                <a:gd name="T46" fmla="*/ 430 w 468"/>
                <a:gd name="T47" fmla="*/ 98 h 275"/>
                <a:gd name="T48" fmla="*/ 412 w 468"/>
                <a:gd name="T49" fmla="*/ 47 h 275"/>
                <a:gd name="T50" fmla="*/ 382 w 468"/>
                <a:gd name="T51" fmla="*/ 27 h 275"/>
                <a:gd name="T52" fmla="*/ 328 w 468"/>
                <a:gd name="T53" fmla="*/ 43 h 275"/>
                <a:gd name="T54" fmla="*/ 297 w 468"/>
                <a:gd name="T55" fmla="*/ 27 h 275"/>
                <a:gd name="T56" fmla="*/ 269 w 468"/>
                <a:gd name="T57" fmla="*/ 6 h 275"/>
                <a:gd name="T58" fmla="*/ 241 w 468"/>
                <a:gd name="T59" fmla="*/ 0 h 275"/>
                <a:gd name="T60" fmla="*/ 211 w 468"/>
                <a:gd name="T61" fmla="*/ 6 h 275"/>
                <a:gd name="T62" fmla="*/ 196 w 468"/>
                <a:gd name="T63" fmla="*/ 27 h 275"/>
                <a:gd name="T64" fmla="*/ 201 w 468"/>
                <a:gd name="T65" fmla="*/ 87 h 275"/>
                <a:gd name="T66" fmla="*/ 182 w 468"/>
                <a:gd name="T67" fmla="*/ 121 h 275"/>
                <a:gd name="T68" fmla="*/ 162 w 468"/>
                <a:gd name="T69" fmla="*/ 12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8" h="275">
                  <a:moveTo>
                    <a:pt x="138" y="108"/>
                  </a:moveTo>
                  <a:lnTo>
                    <a:pt x="115" y="93"/>
                  </a:lnTo>
                  <a:lnTo>
                    <a:pt x="110" y="74"/>
                  </a:lnTo>
                  <a:lnTo>
                    <a:pt x="105" y="56"/>
                  </a:lnTo>
                  <a:lnTo>
                    <a:pt x="93" y="37"/>
                  </a:lnTo>
                  <a:lnTo>
                    <a:pt x="74" y="37"/>
                  </a:lnTo>
                  <a:lnTo>
                    <a:pt x="60" y="46"/>
                  </a:lnTo>
                  <a:lnTo>
                    <a:pt x="41" y="66"/>
                  </a:lnTo>
                  <a:lnTo>
                    <a:pt x="19" y="114"/>
                  </a:lnTo>
                  <a:lnTo>
                    <a:pt x="21" y="127"/>
                  </a:lnTo>
                  <a:lnTo>
                    <a:pt x="21" y="140"/>
                  </a:lnTo>
                  <a:lnTo>
                    <a:pt x="16" y="148"/>
                  </a:lnTo>
                  <a:lnTo>
                    <a:pt x="7" y="158"/>
                  </a:lnTo>
                  <a:lnTo>
                    <a:pt x="0" y="170"/>
                  </a:lnTo>
                  <a:lnTo>
                    <a:pt x="5" y="182"/>
                  </a:lnTo>
                  <a:lnTo>
                    <a:pt x="5" y="212"/>
                  </a:lnTo>
                  <a:lnTo>
                    <a:pt x="8" y="235"/>
                  </a:lnTo>
                  <a:lnTo>
                    <a:pt x="19" y="241"/>
                  </a:lnTo>
                  <a:lnTo>
                    <a:pt x="38" y="232"/>
                  </a:lnTo>
                  <a:lnTo>
                    <a:pt x="60" y="217"/>
                  </a:lnTo>
                  <a:lnTo>
                    <a:pt x="70" y="207"/>
                  </a:lnTo>
                  <a:lnTo>
                    <a:pt x="88" y="212"/>
                  </a:lnTo>
                  <a:lnTo>
                    <a:pt x="107" y="217"/>
                  </a:lnTo>
                  <a:lnTo>
                    <a:pt x="124" y="222"/>
                  </a:lnTo>
                  <a:lnTo>
                    <a:pt x="135" y="228"/>
                  </a:lnTo>
                  <a:lnTo>
                    <a:pt x="159" y="212"/>
                  </a:lnTo>
                  <a:lnTo>
                    <a:pt x="170" y="212"/>
                  </a:lnTo>
                  <a:lnTo>
                    <a:pt x="182" y="219"/>
                  </a:lnTo>
                  <a:lnTo>
                    <a:pt x="198" y="225"/>
                  </a:lnTo>
                  <a:lnTo>
                    <a:pt x="212" y="212"/>
                  </a:lnTo>
                  <a:lnTo>
                    <a:pt x="234" y="207"/>
                  </a:lnTo>
                  <a:lnTo>
                    <a:pt x="248" y="209"/>
                  </a:lnTo>
                  <a:lnTo>
                    <a:pt x="259" y="232"/>
                  </a:lnTo>
                  <a:lnTo>
                    <a:pt x="283" y="235"/>
                  </a:lnTo>
                  <a:lnTo>
                    <a:pt x="311" y="232"/>
                  </a:lnTo>
                  <a:lnTo>
                    <a:pt x="330" y="258"/>
                  </a:lnTo>
                  <a:lnTo>
                    <a:pt x="344" y="272"/>
                  </a:lnTo>
                  <a:lnTo>
                    <a:pt x="358" y="275"/>
                  </a:lnTo>
                  <a:lnTo>
                    <a:pt x="379" y="265"/>
                  </a:lnTo>
                  <a:lnTo>
                    <a:pt x="400" y="262"/>
                  </a:lnTo>
                  <a:lnTo>
                    <a:pt x="414" y="251"/>
                  </a:lnTo>
                  <a:lnTo>
                    <a:pt x="421" y="238"/>
                  </a:lnTo>
                  <a:lnTo>
                    <a:pt x="447" y="207"/>
                  </a:lnTo>
                  <a:lnTo>
                    <a:pt x="461" y="191"/>
                  </a:lnTo>
                  <a:lnTo>
                    <a:pt x="468" y="167"/>
                  </a:lnTo>
                  <a:lnTo>
                    <a:pt x="463" y="130"/>
                  </a:lnTo>
                  <a:lnTo>
                    <a:pt x="452" y="121"/>
                  </a:lnTo>
                  <a:lnTo>
                    <a:pt x="430" y="98"/>
                  </a:lnTo>
                  <a:lnTo>
                    <a:pt x="421" y="74"/>
                  </a:lnTo>
                  <a:lnTo>
                    <a:pt x="412" y="47"/>
                  </a:lnTo>
                  <a:lnTo>
                    <a:pt x="393" y="29"/>
                  </a:lnTo>
                  <a:lnTo>
                    <a:pt x="382" y="27"/>
                  </a:lnTo>
                  <a:lnTo>
                    <a:pt x="344" y="29"/>
                  </a:lnTo>
                  <a:lnTo>
                    <a:pt x="328" y="43"/>
                  </a:lnTo>
                  <a:lnTo>
                    <a:pt x="316" y="47"/>
                  </a:lnTo>
                  <a:lnTo>
                    <a:pt x="297" y="27"/>
                  </a:lnTo>
                  <a:lnTo>
                    <a:pt x="281" y="19"/>
                  </a:lnTo>
                  <a:lnTo>
                    <a:pt x="269" y="6"/>
                  </a:lnTo>
                  <a:lnTo>
                    <a:pt x="262" y="3"/>
                  </a:lnTo>
                  <a:lnTo>
                    <a:pt x="241" y="0"/>
                  </a:lnTo>
                  <a:lnTo>
                    <a:pt x="225" y="6"/>
                  </a:lnTo>
                  <a:lnTo>
                    <a:pt x="211" y="6"/>
                  </a:lnTo>
                  <a:lnTo>
                    <a:pt x="203" y="13"/>
                  </a:lnTo>
                  <a:lnTo>
                    <a:pt x="196" y="27"/>
                  </a:lnTo>
                  <a:lnTo>
                    <a:pt x="196" y="56"/>
                  </a:lnTo>
                  <a:lnTo>
                    <a:pt x="201" y="87"/>
                  </a:lnTo>
                  <a:lnTo>
                    <a:pt x="201" y="101"/>
                  </a:lnTo>
                  <a:lnTo>
                    <a:pt x="182" y="121"/>
                  </a:lnTo>
                  <a:lnTo>
                    <a:pt x="170" y="133"/>
                  </a:lnTo>
                  <a:lnTo>
                    <a:pt x="162" y="120"/>
                  </a:lnTo>
                  <a:lnTo>
                    <a:pt x="138" y="108"/>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39" name="SK"/>
            <p:cNvSpPr>
              <a:spLocks noChangeAspect="1"/>
            </p:cNvSpPr>
            <p:nvPr/>
          </p:nvSpPr>
          <p:spPr bwMode="auto">
            <a:xfrm>
              <a:off x="6489700" y="4046538"/>
              <a:ext cx="658813" cy="266700"/>
            </a:xfrm>
            <a:custGeom>
              <a:avLst/>
              <a:gdLst>
                <a:gd name="T0" fmla="*/ 151 w 445"/>
                <a:gd name="T1" fmla="*/ 11 h 222"/>
                <a:gd name="T2" fmla="*/ 167 w 445"/>
                <a:gd name="T3" fmla="*/ 0 h 222"/>
                <a:gd name="T4" fmla="*/ 184 w 445"/>
                <a:gd name="T5" fmla="*/ 0 h 222"/>
                <a:gd name="T6" fmla="*/ 192 w 445"/>
                <a:gd name="T7" fmla="*/ 16 h 222"/>
                <a:gd name="T8" fmla="*/ 208 w 445"/>
                <a:gd name="T9" fmla="*/ 3 h 222"/>
                <a:gd name="T10" fmla="*/ 225 w 445"/>
                <a:gd name="T11" fmla="*/ 9 h 222"/>
                <a:gd name="T12" fmla="*/ 250 w 445"/>
                <a:gd name="T13" fmla="*/ 37 h 222"/>
                <a:gd name="T14" fmla="*/ 278 w 445"/>
                <a:gd name="T15" fmla="*/ 50 h 222"/>
                <a:gd name="T16" fmla="*/ 288 w 445"/>
                <a:gd name="T17" fmla="*/ 53 h 222"/>
                <a:gd name="T18" fmla="*/ 302 w 445"/>
                <a:gd name="T19" fmla="*/ 40 h 222"/>
                <a:gd name="T20" fmla="*/ 316 w 445"/>
                <a:gd name="T21" fmla="*/ 34 h 222"/>
                <a:gd name="T22" fmla="*/ 354 w 445"/>
                <a:gd name="T23" fmla="*/ 46 h 222"/>
                <a:gd name="T24" fmla="*/ 405 w 445"/>
                <a:gd name="T25" fmla="*/ 58 h 222"/>
                <a:gd name="T26" fmla="*/ 445 w 445"/>
                <a:gd name="T27" fmla="*/ 71 h 222"/>
                <a:gd name="T28" fmla="*/ 431 w 445"/>
                <a:gd name="T29" fmla="*/ 90 h 222"/>
                <a:gd name="T30" fmla="*/ 405 w 445"/>
                <a:gd name="T31" fmla="*/ 120 h 222"/>
                <a:gd name="T32" fmla="*/ 398 w 445"/>
                <a:gd name="T33" fmla="*/ 129 h 222"/>
                <a:gd name="T34" fmla="*/ 401 w 445"/>
                <a:gd name="T35" fmla="*/ 151 h 222"/>
                <a:gd name="T36" fmla="*/ 382 w 445"/>
                <a:gd name="T37" fmla="*/ 151 h 222"/>
                <a:gd name="T38" fmla="*/ 363 w 445"/>
                <a:gd name="T39" fmla="*/ 135 h 222"/>
                <a:gd name="T40" fmla="*/ 344 w 445"/>
                <a:gd name="T41" fmla="*/ 129 h 222"/>
                <a:gd name="T42" fmla="*/ 295 w 445"/>
                <a:gd name="T43" fmla="*/ 142 h 222"/>
                <a:gd name="T44" fmla="*/ 282 w 445"/>
                <a:gd name="T45" fmla="*/ 155 h 222"/>
                <a:gd name="T46" fmla="*/ 268 w 445"/>
                <a:gd name="T47" fmla="*/ 175 h 222"/>
                <a:gd name="T48" fmla="*/ 241 w 445"/>
                <a:gd name="T49" fmla="*/ 194 h 222"/>
                <a:gd name="T50" fmla="*/ 226 w 445"/>
                <a:gd name="T51" fmla="*/ 194 h 222"/>
                <a:gd name="T52" fmla="*/ 210 w 445"/>
                <a:gd name="T53" fmla="*/ 178 h 222"/>
                <a:gd name="T54" fmla="*/ 196 w 445"/>
                <a:gd name="T55" fmla="*/ 178 h 222"/>
                <a:gd name="T56" fmla="*/ 145 w 445"/>
                <a:gd name="T57" fmla="*/ 205 h 222"/>
                <a:gd name="T58" fmla="*/ 121 w 445"/>
                <a:gd name="T59" fmla="*/ 219 h 222"/>
                <a:gd name="T60" fmla="*/ 103 w 445"/>
                <a:gd name="T61" fmla="*/ 222 h 222"/>
                <a:gd name="T62" fmla="*/ 63 w 445"/>
                <a:gd name="T63" fmla="*/ 219 h 222"/>
                <a:gd name="T64" fmla="*/ 46 w 445"/>
                <a:gd name="T65" fmla="*/ 219 h 222"/>
                <a:gd name="T66" fmla="*/ 34 w 445"/>
                <a:gd name="T67" fmla="*/ 198 h 222"/>
                <a:gd name="T68" fmla="*/ 27 w 445"/>
                <a:gd name="T69" fmla="*/ 191 h 222"/>
                <a:gd name="T70" fmla="*/ 13 w 445"/>
                <a:gd name="T71" fmla="*/ 182 h 222"/>
                <a:gd name="T72" fmla="*/ 6 w 445"/>
                <a:gd name="T73" fmla="*/ 172 h 222"/>
                <a:gd name="T74" fmla="*/ 0 w 445"/>
                <a:gd name="T75" fmla="*/ 151 h 222"/>
                <a:gd name="T76" fmla="*/ 0 w 445"/>
                <a:gd name="T77" fmla="*/ 127 h 222"/>
                <a:gd name="T78" fmla="*/ 43 w 445"/>
                <a:gd name="T79" fmla="*/ 107 h 222"/>
                <a:gd name="T80" fmla="*/ 91 w 445"/>
                <a:gd name="T81" fmla="*/ 107 h 222"/>
                <a:gd name="T82" fmla="*/ 120 w 445"/>
                <a:gd name="T83" fmla="*/ 77 h 222"/>
                <a:gd name="T84" fmla="*/ 124 w 445"/>
                <a:gd name="T85" fmla="*/ 26 h 222"/>
                <a:gd name="T86" fmla="*/ 151 w 445"/>
                <a:gd name="T87" fmla="*/ 1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5" h="222">
                  <a:moveTo>
                    <a:pt x="151" y="11"/>
                  </a:moveTo>
                  <a:lnTo>
                    <a:pt x="167" y="0"/>
                  </a:lnTo>
                  <a:lnTo>
                    <a:pt x="184" y="0"/>
                  </a:lnTo>
                  <a:lnTo>
                    <a:pt x="192" y="16"/>
                  </a:lnTo>
                  <a:lnTo>
                    <a:pt x="208" y="3"/>
                  </a:lnTo>
                  <a:lnTo>
                    <a:pt x="225" y="9"/>
                  </a:lnTo>
                  <a:lnTo>
                    <a:pt x="250" y="37"/>
                  </a:lnTo>
                  <a:lnTo>
                    <a:pt x="278" y="50"/>
                  </a:lnTo>
                  <a:lnTo>
                    <a:pt x="288" y="53"/>
                  </a:lnTo>
                  <a:lnTo>
                    <a:pt x="302" y="40"/>
                  </a:lnTo>
                  <a:lnTo>
                    <a:pt x="316" y="34"/>
                  </a:lnTo>
                  <a:lnTo>
                    <a:pt x="354" y="46"/>
                  </a:lnTo>
                  <a:lnTo>
                    <a:pt x="405" y="58"/>
                  </a:lnTo>
                  <a:lnTo>
                    <a:pt x="445" y="71"/>
                  </a:lnTo>
                  <a:lnTo>
                    <a:pt x="431" y="90"/>
                  </a:lnTo>
                  <a:lnTo>
                    <a:pt x="405" y="120"/>
                  </a:lnTo>
                  <a:lnTo>
                    <a:pt x="398" y="129"/>
                  </a:lnTo>
                  <a:lnTo>
                    <a:pt x="401" y="151"/>
                  </a:lnTo>
                  <a:lnTo>
                    <a:pt x="382" y="151"/>
                  </a:lnTo>
                  <a:lnTo>
                    <a:pt x="363" y="135"/>
                  </a:lnTo>
                  <a:lnTo>
                    <a:pt x="344" y="129"/>
                  </a:lnTo>
                  <a:lnTo>
                    <a:pt x="295" y="142"/>
                  </a:lnTo>
                  <a:lnTo>
                    <a:pt x="282" y="155"/>
                  </a:lnTo>
                  <a:lnTo>
                    <a:pt x="268" y="175"/>
                  </a:lnTo>
                  <a:lnTo>
                    <a:pt x="241" y="194"/>
                  </a:lnTo>
                  <a:lnTo>
                    <a:pt x="226" y="194"/>
                  </a:lnTo>
                  <a:lnTo>
                    <a:pt x="210" y="178"/>
                  </a:lnTo>
                  <a:lnTo>
                    <a:pt x="196" y="178"/>
                  </a:lnTo>
                  <a:lnTo>
                    <a:pt x="145" y="205"/>
                  </a:lnTo>
                  <a:lnTo>
                    <a:pt x="121" y="219"/>
                  </a:lnTo>
                  <a:lnTo>
                    <a:pt x="103" y="222"/>
                  </a:lnTo>
                  <a:lnTo>
                    <a:pt x="63" y="219"/>
                  </a:lnTo>
                  <a:lnTo>
                    <a:pt x="46" y="219"/>
                  </a:lnTo>
                  <a:lnTo>
                    <a:pt x="34" y="198"/>
                  </a:lnTo>
                  <a:lnTo>
                    <a:pt x="27" y="191"/>
                  </a:lnTo>
                  <a:lnTo>
                    <a:pt x="13" y="182"/>
                  </a:lnTo>
                  <a:lnTo>
                    <a:pt x="6" y="172"/>
                  </a:lnTo>
                  <a:lnTo>
                    <a:pt x="0" y="151"/>
                  </a:lnTo>
                  <a:lnTo>
                    <a:pt x="0" y="127"/>
                  </a:lnTo>
                  <a:lnTo>
                    <a:pt x="43" y="107"/>
                  </a:lnTo>
                  <a:lnTo>
                    <a:pt x="91" y="107"/>
                  </a:lnTo>
                  <a:lnTo>
                    <a:pt x="120" y="77"/>
                  </a:lnTo>
                  <a:lnTo>
                    <a:pt x="124" y="26"/>
                  </a:lnTo>
                  <a:lnTo>
                    <a:pt x="151" y="11"/>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40" name="xb"/>
            <p:cNvSpPr>
              <a:spLocks noChangeAspect="1"/>
            </p:cNvSpPr>
            <p:nvPr/>
          </p:nvSpPr>
          <p:spPr bwMode="auto">
            <a:xfrm>
              <a:off x="7581900" y="4206875"/>
              <a:ext cx="442913" cy="439738"/>
            </a:xfrm>
            <a:custGeom>
              <a:avLst/>
              <a:gdLst>
                <a:gd name="T0" fmla="*/ 153 w 285"/>
                <a:gd name="T1" fmla="*/ 355 h 355"/>
                <a:gd name="T2" fmla="*/ 136 w 285"/>
                <a:gd name="T3" fmla="*/ 335 h 355"/>
                <a:gd name="T4" fmla="*/ 133 w 285"/>
                <a:gd name="T5" fmla="*/ 288 h 355"/>
                <a:gd name="T6" fmla="*/ 115 w 285"/>
                <a:gd name="T7" fmla="*/ 254 h 355"/>
                <a:gd name="T8" fmla="*/ 114 w 285"/>
                <a:gd name="T9" fmla="*/ 224 h 355"/>
                <a:gd name="T10" fmla="*/ 119 w 285"/>
                <a:gd name="T11" fmla="*/ 202 h 355"/>
                <a:gd name="T12" fmla="*/ 104 w 285"/>
                <a:gd name="T13" fmla="*/ 171 h 355"/>
                <a:gd name="T14" fmla="*/ 85 w 285"/>
                <a:gd name="T15" fmla="*/ 147 h 355"/>
                <a:gd name="T16" fmla="*/ 77 w 285"/>
                <a:gd name="T17" fmla="*/ 121 h 355"/>
                <a:gd name="T18" fmla="*/ 73 w 285"/>
                <a:gd name="T19" fmla="*/ 104 h 355"/>
                <a:gd name="T20" fmla="*/ 50 w 285"/>
                <a:gd name="T21" fmla="*/ 87 h 355"/>
                <a:gd name="T22" fmla="*/ 38 w 285"/>
                <a:gd name="T23" fmla="*/ 64 h 355"/>
                <a:gd name="T24" fmla="*/ 24 w 285"/>
                <a:gd name="T25" fmla="*/ 39 h 355"/>
                <a:gd name="T26" fmla="*/ 0 w 285"/>
                <a:gd name="T27" fmla="*/ 22 h 355"/>
                <a:gd name="T28" fmla="*/ 38 w 285"/>
                <a:gd name="T29" fmla="*/ 0 h 355"/>
                <a:gd name="T30" fmla="*/ 68 w 285"/>
                <a:gd name="T31" fmla="*/ 5 h 355"/>
                <a:gd name="T32" fmla="*/ 87 w 285"/>
                <a:gd name="T33" fmla="*/ 9 h 355"/>
                <a:gd name="T34" fmla="*/ 136 w 285"/>
                <a:gd name="T35" fmla="*/ 49 h 355"/>
                <a:gd name="T36" fmla="*/ 148 w 285"/>
                <a:gd name="T37" fmla="*/ 56 h 355"/>
                <a:gd name="T38" fmla="*/ 183 w 285"/>
                <a:gd name="T39" fmla="*/ 64 h 355"/>
                <a:gd name="T40" fmla="*/ 205 w 285"/>
                <a:gd name="T41" fmla="*/ 99 h 355"/>
                <a:gd name="T42" fmla="*/ 195 w 285"/>
                <a:gd name="T43" fmla="*/ 124 h 355"/>
                <a:gd name="T44" fmla="*/ 209 w 285"/>
                <a:gd name="T45" fmla="*/ 158 h 355"/>
                <a:gd name="T46" fmla="*/ 243 w 285"/>
                <a:gd name="T47" fmla="*/ 184 h 355"/>
                <a:gd name="T48" fmla="*/ 256 w 285"/>
                <a:gd name="T49" fmla="*/ 205 h 355"/>
                <a:gd name="T50" fmla="*/ 277 w 285"/>
                <a:gd name="T51" fmla="*/ 214 h 355"/>
                <a:gd name="T52" fmla="*/ 285 w 285"/>
                <a:gd name="T53" fmla="*/ 215 h 355"/>
                <a:gd name="T54" fmla="*/ 271 w 285"/>
                <a:gd name="T55" fmla="*/ 227 h 355"/>
                <a:gd name="T56" fmla="*/ 235 w 285"/>
                <a:gd name="T57" fmla="*/ 227 h 355"/>
                <a:gd name="T58" fmla="*/ 205 w 285"/>
                <a:gd name="T59" fmla="*/ 224 h 355"/>
                <a:gd name="T60" fmla="*/ 191 w 285"/>
                <a:gd name="T61" fmla="*/ 231 h 355"/>
                <a:gd name="T62" fmla="*/ 195 w 285"/>
                <a:gd name="T63" fmla="*/ 269 h 355"/>
                <a:gd name="T64" fmla="*/ 190 w 285"/>
                <a:gd name="T65" fmla="*/ 299 h 355"/>
                <a:gd name="T66" fmla="*/ 159 w 285"/>
                <a:gd name="T67" fmla="*/ 335 h 355"/>
                <a:gd name="T68" fmla="*/ 153 w 285"/>
                <a:gd name="T69"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355">
                  <a:moveTo>
                    <a:pt x="153" y="355"/>
                  </a:moveTo>
                  <a:lnTo>
                    <a:pt x="136" y="335"/>
                  </a:lnTo>
                  <a:lnTo>
                    <a:pt x="133" y="288"/>
                  </a:lnTo>
                  <a:lnTo>
                    <a:pt x="115" y="254"/>
                  </a:lnTo>
                  <a:lnTo>
                    <a:pt x="114" y="224"/>
                  </a:lnTo>
                  <a:lnTo>
                    <a:pt x="119" y="202"/>
                  </a:lnTo>
                  <a:lnTo>
                    <a:pt x="104" y="171"/>
                  </a:lnTo>
                  <a:lnTo>
                    <a:pt x="85" y="147"/>
                  </a:lnTo>
                  <a:lnTo>
                    <a:pt x="77" y="121"/>
                  </a:lnTo>
                  <a:lnTo>
                    <a:pt x="73" y="104"/>
                  </a:lnTo>
                  <a:lnTo>
                    <a:pt x="50" y="87"/>
                  </a:lnTo>
                  <a:lnTo>
                    <a:pt x="38" y="64"/>
                  </a:lnTo>
                  <a:lnTo>
                    <a:pt x="24" y="39"/>
                  </a:lnTo>
                  <a:lnTo>
                    <a:pt x="0" y="22"/>
                  </a:lnTo>
                  <a:lnTo>
                    <a:pt x="38" y="0"/>
                  </a:lnTo>
                  <a:lnTo>
                    <a:pt x="68" y="5"/>
                  </a:lnTo>
                  <a:lnTo>
                    <a:pt x="87" y="9"/>
                  </a:lnTo>
                  <a:lnTo>
                    <a:pt x="136" y="49"/>
                  </a:lnTo>
                  <a:lnTo>
                    <a:pt x="148" y="56"/>
                  </a:lnTo>
                  <a:lnTo>
                    <a:pt x="183" y="64"/>
                  </a:lnTo>
                  <a:lnTo>
                    <a:pt x="205" y="99"/>
                  </a:lnTo>
                  <a:lnTo>
                    <a:pt x="195" y="124"/>
                  </a:lnTo>
                  <a:lnTo>
                    <a:pt x="209" y="158"/>
                  </a:lnTo>
                  <a:lnTo>
                    <a:pt x="243" y="184"/>
                  </a:lnTo>
                  <a:lnTo>
                    <a:pt x="256" y="205"/>
                  </a:lnTo>
                  <a:lnTo>
                    <a:pt x="277" y="214"/>
                  </a:lnTo>
                  <a:lnTo>
                    <a:pt x="285" y="215"/>
                  </a:lnTo>
                  <a:lnTo>
                    <a:pt x="271" y="227"/>
                  </a:lnTo>
                  <a:lnTo>
                    <a:pt x="235" y="227"/>
                  </a:lnTo>
                  <a:lnTo>
                    <a:pt x="205" y="224"/>
                  </a:lnTo>
                  <a:lnTo>
                    <a:pt x="191" y="231"/>
                  </a:lnTo>
                  <a:lnTo>
                    <a:pt x="195" y="269"/>
                  </a:lnTo>
                  <a:lnTo>
                    <a:pt x="190" y="299"/>
                  </a:lnTo>
                  <a:lnTo>
                    <a:pt x="159" y="335"/>
                  </a:lnTo>
                  <a:lnTo>
                    <a:pt x="153" y="355"/>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nvGrpSpPr>
            <p:cNvPr id="41" name="xx"/>
            <p:cNvGrpSpPr/>
            <p:nvPr/>
          </p:nvGrpSpPr>
          <p:grpSpPr>
            <a:xfrm>
              <a:off x="5729208" y="2794006"/>
              <a:ext cx="272411" cy="405364"/>
              <a:chOff x="2681289" y="3112181"/>
              <a:chExt cx="272411" cy="405364"/>
            </a:xfrm>
            <a:solidFill>
              <a:schemeClr val="bg1">
                <a:lumMod val="95000"/>
              </a:schemeClr>
            </a:solidFill>
            <a:effectLst/>
          </p:grpSpPr>
          <p:sp>
            <p:nvSpPr>
              <p:cNvPr id="59" name="Freeform 531"/>
              <p:cNvSpPr>
                <a:spLocks noChangeAspect="1"/>
              </p:cNvSpPr>
              <p:nvPr/>
            </p:nvSpPr>
            <p:spPr bwMode="auto">
              <a:xfrm>
                <a:off x="2681289" y="3211098"/>
                <a:ext cx="272411" cy="306447"/>
              </a:xfrm>
              <a:custGeom>
                <a:avLst/>
                <a:gdLst>
                  <a:gd name="T0" fmla="*/ 14 w 183"/>
                  <a:gd name="T1" fmla="*/ 216 h 253"/>
                  <a:gd name="T2" fmla="*/ 24 w 183"/>
                  <a:gd name="T3" fmla="*/ 234 h 253"/>
                  <a:gd name="T4" fmla="*/ 44 w 183"/>
                  <a:gd name="T5" fmla="*/ 234 h 253"/>
                  <a:gd name="T6" fmla="*/ 63 w 183"/>
                  <a:gd name="T7" fmla="*/ 240 h 253"/>
                  <a:gd name="T8" fmla="*/ 77 w 183"/>
                  <a:gd name="T9" fmla="*/ 253 h 253"/>
                  <a:gd name="T10" fmla="*/ 92 w 183"/>
                  <a:gd name="T11" fmla="*/ 253 h 253"/>
                  <a:gd name="T12" fmla="*/ 82 w 183"/>
                  <a:gd name="T13" fmla="*/ 237 h 253"/>
                  <a:gd name="T14" fmla="*/ 90 w 183"/>
                  <a:gd name="T15" fmla="*/ 216 h 253"/>
                  <a:gd name="T16" fmla="*/ 98 w 183"/>
                  <a:gd name="T17" fmla="*/ 192 h 253"/>
                  <a:gd name="T18" fmla="*/ 103 w 183"/>
                  <a:gd name="T19" fmla="*/ 166 h 253"/>
                  <a:gd name="T20" fmla="*/ 125 w 183"/>
                  <a:gd name="T21" fmla="*/ 150 h 253"/>
                  <a:gd name="T22" fmla="*/ 143 w 183"/>
                  <a:gd name="T23" fmla="*/ 139 h 253"/>
                  <a:gd name="T24" fmla="*/ 141 w 183"/>
                  <a:gd name="T25" fmla="*/ 123 h 253"/>
                  <a:gd name="T26" fmla="*/ 141 w 183"/>
                  <a:gd name="T27" fmla="*/ 98 h 253"/>
                  <a:gd name="T28" fmla="*/ 145 w 183"/>
                  <a:gd name="T29" fmla="*/ 86 h 253"/>
                  <a:gd name="T30" fmla="*/ 162 w 183"/>
                  <a:gd name="T31" fmla="*/ 83 h 253"/>
                  <a:gd name="T32" fmla="*/ 169 w 183"/>
                  <a:gd name="T33" fmla="*/ 89 h 253"/>
                  <a:gd name="T34" fmla="*/ 183 w 183"/>
                  <a:gd name="T35" fmla="*/ 71 h 253"/>
                  <a:gd name="T36" fmla="*/ 178 w 183"/>
                  <a:gd name="T37" fmla="*/ 55 h 253"/>
                  <a:gd name="T38" fmla="*/ 169 w 183"/>
                  <a:gd name="T39" fmla="*/ 52 h 253"/>
                  <a:gd name="T40" fmla="*/ 153 w 183"/>
                  <a:gd name="T41" fmla="*/ 52 h 253"/>
                  <a:gd name="T42" fmla="*/ 145 w 183"/>
                  <a:gd name="T43" fmla="*/ 52 h 253"/>
                  <a:gd name="T44" fmla="*/ 141 w 183"/>
                  <a:gd name="T45" fmla="*/ 28 h 253"/>
                  <a:gd name="T46" fmla="*/ 143 w 183"/>
                  <a:gd name="T47" fmla="*/ 5 h 253"/>
                  <a:gd name="T48" fmla="*/ 131 w 183"/>
                  <a:gd name="T49" fmla="*/ 0 h 253"/>
                  <a:gd name="T50" fmla="*/ 126 w 183"/>
                  <a:gd name="T51" fmla="*/ 8 h 253"/>
                  <a:gd name="T52" fmla="*/ 98 w 183"/>
                  <a:gd name="T53" fmla="*/ 2 h 253"/>
                  <a:gd name="T54" fmla="*/ 92 w 183"/>
                  <a:gd name="T55" fmla="*/ 9 h 253"/>
                  <a:gd name="T56" fmla="*/ 98 w 183"/>
                  <a:gd name="T57" fmla="*/ 31 h 253"/>
                  <a:gd name="T58" fmla="*/ 96 w 183"/>
                  <a:gd name="T59" fmla="*/ 52 h 253"/>
                  <a:gd name="T60" fmla="*/ 84 w 183"/>
                  <a:gd name="T61" fmla="*/ 37 h 253"/>
                  <a:gd name="T62" fmla="*/ 79 w 183"/>
                  <a:gd name="T63" fmla="*/ 24 h 253"/>
                  <a:gd name="T64" fmla="*/ 63 w 183"/>
                  <a:gd name="T65" fmla="*/ 27 h 253"/>
                  <a:gd name="T66" fmla="*/ 57 w 183"/>
                  <a:gd name="T67" fmla="*/ 39 h 253"/>
                  <a:gd name="T68" fmla="*/ 52 w 183"/>
                  <a:gd name="T69" fmla="*/ 45 h 253"/>
                  <a:gd name="T70" fmla="*/ 52 w 183"/>
                  <a:gd name="T71" fmla="*/ 64 h 253"/>
                  <a:gd name="T72" fmla="*/ 49 w 183"/>
                  <a:gd name="T73" fmla="*/ 61 h 253"/>
                  <a:gd name="T74" fmla="*/ 35 w 183"/>
                  <a:gd name="T75" fmla="*/ 37 h 253"/>
                  <a:gd name="T76" fmla="*/ 27 w 183"/>
                  <a:gd name="T77" fmla="*/ 28 h 253"/>
                  <a:gd name="T78" fmla="*/ 19 w 183"/>
                  <a:gd name="T79" fmla="*/ 34 h 253"/>
                  <a:gd name="T80" fmla="*/ 21 w 183"/>
                  <a:gd name="T81" fmla="*/ 46 h 253"/>
                  <a:gd name="T82" fmla="*/ 21 w 183"/>
                  <a:gd name="T83" fmla="*/ 55 h 253"/>
                  <a:gd name="T84" fmla="*/ 8 w 183"/>
                  <a:gd name="T85" fmla="*/ 61 h 253"/>
                  <a:gd name="T86" fmla="*/ 8 w 183"/>
                  <a:gd name="T87" fmla="*/ 79 h 253"/>
                  <a:gd name="T88" fmla="*/ 19 w 183"/>
                  <a:gd name="T89" fmla="*/ 98 h 253"/>
                  <a:gd name="T90" fmla="*/ 19 w 183"/>
                  <a:gd name="T91" fmla="*/ 110 h 253"/>
                  <a:gd name="T92" fmla="*/ 14 w 183"/>
                  <a:gd name="T93" fmla="*/ 123 h 253"/>
                  <a:gd name="T94" fmla="*/ 0 w 183"/>
                  <a:gd name="T95" fmla="*/ 136 h 253"/>
                  <a:gd name="T96" fmla="*/ 2 w 183"/>
                  <a:gd name="T97" fmla="*/ 150 h 253"/>
                  <a:gd name="T98" fmla="*/ 16 w 183"/>
                  <a:gd name="T99" fmla="*/ 163 h 253"/>
                  <a:gd name="T100" fmla="*/ 21 w 183"/>
                  <a:gd name="T101" fmla="*/ 176 h 253"/>
                  <a:gd name="T102" fmla="*/ 19 w 183"/>
                  <a:gd name="T103" fmla="*/ 200 h 253"/>
                  <a:gd name="T104" fmla="*/ 14 w 183"/>
                  <a:gd name="T105" fmla="*/ 21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3" h="253">
                    <a:moveTo>
                      <a:pt x="14" y="216"/>
                    </a:moveTo>
                    <a:lnTo>
                      <a:pt x="24" y="234"/>
                    </a:lnTo>
                    <a:lnTo>
                      <a:pt x="44" y="234"/>
                    </a:lnTo>
                    <a:lnTo>
                      <a:pt x="63" y="240"/>
                    </a:lnTo>
                    <a:lnTo>
                      <a:pt x="77" y="253"/>
                    </a:lnTo>
                    <a:lnTo>
                      <a:pt x="92" y="253"/>
                    </a:lnTo>
                    <a:lnTo>
                      <a:pt x="82" y="237"/>
                    </a:lnTo>
                    <a:lnTo>
                      <a:pt x="90" y="216"/>
                    </a:lnTo>
                    <a:lnTo>
                      <a:pt x="98" y="192"/>
                    </a:lnTo>
                    <a:lnTo>
                      <a:pt x="103" y="166"/>
                    </a:lnTo>
                    <a:lnTo>
                      <a:pt x="125" y="150"/>
                    </a:lnTo>
                    <a:lnTo>
                      <a:pt x="143" y="139"/>
                    </a:lnTo>
                    <a:lnTo>
                      <a:pt x="141" y="123"/>
                    </a:lnTo>
                    <a:lnTo>
                      <a:pt x="141" y="98"/>
                    </a:lnTo>
                    <a:lnTo>
                      <a:pt x="145" y="86"/>
                    </a:lnTo>
                    <a:lnTo>
                      <a:pt x="162" y="83"/>
                    </a:lnTo>
                    <a:lnTo>
                      <a:pt x="169" y="89"/>
                    </a:lnTo>
                    <a:lnTo>
                      <a:pt x="183" y="71"/>
                    </a:lnTo>
                    <a:lnTo>
                      <a:pt x="178" y="55"/>
                    </a:lnTo>
                    <a:lnTo>
                      <a:pt x="169" y="52"/>
                    </a:lnTo>
                    <a:lnTo>
                      <a:pt x="153" y="52"/>
                    </a:lnTo>
                    <a:lnTo>
                      <a:pt x="145" y="52"/>
                    </a:lnTo>
                    <a:lnTo>
                      <a:pt x="141" y="28"/>
                    </a:lnTo>
                    <a:lnTo>
                      <a:pt x="143" y="5"/>
                    </a:lnTo>
                    <a:lnTo>
                      <a:pt x="131" y="0"/>
                    </a:lnTo>
                    <a:lnTo>
                      <a:pt x="126" y="8"/>
                    </a:lnTo>
                    <a:lnTo>
                      <a:pt x="98" y="2"/>
                    </a:lnTo>
                    <a:lnTo>
                      <a:pt x="92" y="9"/>
                    </a:lnTo>
                    <a:lnTo>
                      <a:pt x="98" y="31"/>
                    </a:lnTo>
                    <a:lnTo>
                      <a:pt x="96" y="52"/>
                    </a:lnTo>
                    <a:lnTo>
                      <a:pt x="84" y="37"/>
                    </a:lnTo>
                    <a:lnTo>
                      <a:pt x="79" y="24"/>
                    </a:lnTo>
                    <a:lnTo>
                      <a:pt x="63" y="27"/>
                    </a:lnTo>
                    <a:lnTo>
                      <a:pt x="57" y="39"/>
                    </a:lnTo>
                    <a:lnTo>
                      <a:pt x="52" y="45"/>
                    </a:lnTo>
                    <a:lnTo>
                      <a:pt x="52" y="64"/>
                    </a:lnTo>
                    <a:lnTo>
                      <a:pt x="49" y="61"/>
                    </a:lnTo>
                    <a:lnTo>
                      <a:pt x="35" y="37"/>
                    </a:lnTo>
                    <a:lnTo>
                      <a:pt x="27" y="28"/>
                    </a:lnTo>
                    <a:lnTo>
                      <a:pt x="19" y="34"/>
                    </a:lnTo>
                    <a:lnTo>
                      <a:pt x="21" y="46"/>
                    </a:lnTo>
                    <a:lnTo>
                      <a:pt x="21" y="55"/>
                    </a:lnTo>
                    <a:lnTo>
                      <a:pt x="8" y="61"/>
                    </a:lnTo>
                    <a:lnTo>
                      <a:pt x="8" y="79"/>
                    </a:lnTo>
                    <a:lnTo>
                      <a:pt x="19" y="98"/>
                    </a:lnTo>
                    <a:lnTo>
                      <a:pt x="19" y="110"/>
                    </a:lnTo>
                    <a:lnTo>
                      <a:pt x="14" y="123"/>
                    </a:lnTo>
                    <a:lnTo>
                      <a:pt x="0" y="136"/>
                    </a:lnTo>
                    <a:lnTo>
                      <a:pt x="2" y="150"/>
                    </a:lnTo>
                    <a:lnTo>
                      <a:pt x="16" y="163"/>
                    </a:lnTo>
                    <a:lnTo>
                      <a:pt x="21" y="176"/>
                    </a:lnTo>
                    <a:lnTo>
                      <a:pt x="19" y="200"/>
                    </a:lnTo>
                    <a:lnTo>
                      <a:pt x="14" y="216"/>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0" name="Freeform 532"/>
              <p:cNvSpPr>
                <a:spLocks noChangeAspect="1"/>
              </p:cNvSpPr>
              <p:nvPr/>
            </p:nvSpPr>
            <p:spPr bwMode="auto">
              <a:xfrm>
                <a:off x="2705261" y="3112181"/>
                <a:ext cx="202674" cy="118312"/>
              </a:xfrm>
              <a:custGeom>
                <a:avLst/>
                <a:gdLst>
                  <a:gd name="T0" fmla="*/ 0 w 138"/>
                  <a:gd name="T1" fmla="*/ 94 h 97"/>
                  <a:gd name="T2" fmla="*/ 11 w 138"/>
                  <a:gd name="T3" fmla="*/ 97 h 97"/>
                  <a:gd name="T4" fmla="*/ 25 w 138"/>
                  <a:gd name="T5" fmla="*/ 86 h 97"/>
                  <a:gd name="T6" fmla="*/ 39 w 138"/>
                  <a:gd name="T7" fmla="*/ 67 h 97"/>
                  <a:gd name="T8" fmla="*/ 77 w 138"/>
                  <a:gd name="T9" fmla="*/ 67 h 97"/>
                  <a:gd name="T10" fmla="*/ 110 w 138"/>
                  <a:gd name="T11" fmla="*/ 60 h 97"/>
                  <a:gd name="T12" fmla="*/ 129 w 138"/>
                  <a:gd name="T13" fmla="*/ 43 h 97"/>
                  <a:gd name="T14" fmla="*/ 135 w 138"/>
                  <a:gd name="T15" fmla="*/ 22 h 97"/>
                  <a:gd name="T16" fmla="*/ 138 w 138"/>
                  <a:gd name="T17" fmla="*/ 0 h 97"/>
                  <a:gd name="T18" fmla="*/ 112 w 138"/>
                  <a:gd name="T19" fmla="*/ 13 h 97"/>
                  <a:gd name="T20" fmla="*/ 65 w 138"/>
                  <a:gd name="T21" fmla="*/ 37 h 97"/>
                  <a:gd name="T22" fmla="*/ 53 w 138"/>
                  <a:gd name="T23" fmla="*/ 40 h 97"/>
                  <a:gd name="T24" fmla="*/ 39 w 138"/>
                  <a:gd name="T25" fmla="*/ 52 h 97"/>
                  <a:gd name="T26" fmla="*/ 11 w 138"/>
                  <a:gd name="T27" fmla="*/ 57 h 97"/>
                  <a:gd name="T28" fmla="*/ 0 w 138"/>
                  <a:gd name="T29" fmla="*/ 64 h 97"/>
                  <a:gd name="T30" fmla="*/ 0 w 138"/>
                  <a:gd name="T31" fmla="*/ 9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8" h="97">
                    <a:moveTo>
                      <a:pt x="0" y="94"/>
                    </a:moveTo>
                    <a:lnTo>
                      <a:pt x="11" y="97"/>
                    </a:lnTo>
                    <a:lnTo>
                      <a:pt x="25" y="86"/>
                    </a:lnTo>
                    <a:lnTo>
                      <a:pt x="39" y="67"/>
                    </a:lnTo>
                    <a:lnTo>
                      <a:pt x="77" y="67"/>
                    </a:lnTo>
                    <a:lnTo>
                      <a:pt x="110" y="60"/>
                    </a:lnTo>
                    <a:lnTo>
                      <a:pt x="129" y="43"/>
                    </a:lnTo>
                    <a:lnTo>
                      <a:pt x="135" y="22"/>
                    </a:lnTo>
                    <a:lnTo>
                      <a:pt x="138" y="0"/>
                    </a:lnTo>
                    <a:lnTo>
                      <a:pt x="112" y="13"/>
                    </a:lnTo>
                    <a:lnTo>
                      <a:pt x="65" y="37"/>
                    </a:lnTo>
                    <a:lnTo>
                      <a:pt x="53" y="40"/>
                    </a:lnTo>
                    <a:lnTo>
                      <a:pt x="39" y="52"/>
                    </a:lnTo>
                    <a:lnTo>
                      <a:pt x="11" y="57"/>
                    </a:lnTo>
                    <a:lnTo>
                      <a:pt x="0" y="64"/>
                    </a:lnTo>
                    <a:lnTo>
                      <a:pt x="0" y="94"/>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grpSp>
          <p:nvGrpSpPr>
            <p:cNvPr id="42" name="DD"/>
            <p:cNvGrpSpPr/>
            <p:nvPr/>
          </p:nvGrpSpPr>
          <p:grpSpPr>
            <a:xfrm>
              <a:off x="5882872" y="3020383"/>
              <a:ext cx="224686" cy="228283"/>
              <a:chOff x="2834953" y="3338558"/>
              <a:chExt cx="224686" cy="228283"/>
            </a:xfrm>
            <a:solidFill>
              <a:schemeClr val="bg1">
                <a:lumMod val="95000"/>
              </a:schemeClr>
            </a:solidFill>
            <a:effectLst/>
          </p:grpSpPr>
          <p:sp>
            <p:nvSpPr>
              <p:cNvPr id="56" name="Freeform 528"/>
              <p:cNvSpPr>
                <a:spLocks noChangeAspect="1"/>
              </p:cNvSpPr>
              <p:nvPr/>
            </p:nvSpPr>
            <p:spPr bwMode="auto">
              <a:xfrm>
                <a:off x="2834953" y="3388403"/>
                <a:ext cx="89351" cy="96977"/>
              </a:xfrm>
              <a:custGeom>
                <a:avLst/>
                <a:gdLst>
                  <a:gd name="T0" fmla="*/ 19 w 59"/>
                  <a:gd name="T1" fmla="*/ 0 h 80"/>
                  <a:gd name="T2" fmla="*/ 57 w 59"/>
                  <a:gd name="T3" fmla="*/ 27 h 80"/>
                  <a:gd name="T4" fmla="*/ 59 w 59"/>
                  <a:gd name="T5" fmla="*/ 40 h 80"/>
                  <a:gd name="T6" fmla="*/ 45 w 59"/>
                  <a:gd name="T7" fmla="*/ 55 h 80"/>
                  <a:gd name="T8" fmla="*/ 32 w 59"/>
                  <a:gd name="T9" fmla="*/ 67 h 80"/>
                  <a:gd name="T10" fmla="*/ 35 w 59"/>
                  <a:gd name="T11" fmla="*/ 80 h 80"/>
                  <a:gd name="T12" fmla="*/ 19 w 59"/>
                  <a:gd name="T13" fmla="*/ 77 h 80"/>
                  <a:gd name="T14" fmla="*/ 2 w 59"/>
                  <a:gd name="T15" fmla="*/ 55 h 80"/>
                  <a:gd name="T16" fmla="*/ 0 w 59"/>
                  <a:gd name="T17" fmla="*/ 40 h 80"/>
                  <a:gd name="T18" fmla="*/ 7 w 59"/>
                  <a:gd name="T19" fmla="*/ 23 h 80"/>
                  <a:gd name="T20" fmla="*/ 19 w 59"/>
                  <a:gd name="T2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80">
                    <a:moveTo>
                      <a:pt x="19" y="0"/>
                    </a:moveTo>
                    <a:lnTo>
                      <a:pt x="57" y="27"/>
                    </a:lnTo>
                    <a:lnTo>
                      <a:pt x="59" y="40"/>
                    </a:lnTo>
                    <a:lnTo>
                      <a:pt x="45" y="55"/>
                    </a:lnTo>
                    <a:lnTo>
                      <a:pt x="32" y="67"/>
                    </a:lnTo>
                    <a:lnTo>
                      <a:pt x="35" y="80"/>
                    </a:lnTo>
                    <a:lnTo>
                      <a:pt x="19" y="77"/>
                    </a:lnTo>
                    <a:lnTo>
                      <a:pt x="2" y="55"/>
                    </a:lnTo>
                    <a:lnTo>
                      <a:pt x="0" y="40"/>
                    </a:lnTo>
                    <a:lnTo>
                      <a:pt x="7" y="23"/>
                    </a:lnTo>
                    <a:lnTo>
                      <a:pt x="19"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57" name="Freeform 529"/>
              <p:cNvSpPr>
                <a:spLocks noChangeAspect="1"/>
              </p:cNvSpPr>
              <p:nvPr/>
            </p:nvSpPr>
            <p:spPr bwMode="auto">
              <a:xfrm>
                <a:off x="2885728" y="3338558"/>
                <a:ext cx="173911" cy="198220"/>
              </a:xfrm>
              <a:custGeom>
                <a:avLst/>
                <a:gdLst>
                  <a:gd name="T0" fmla="*/ 83 w 88"/>
                  <a:gd name="T1" fmla="*/ 0 h 117"/>
                  <a:gd name="T2" fmla="*/ 88 w 88"/>
                  <a:gd name="T3" fmla="*/ 6 h 117"/>
                  <a:gd name="T4" fmla="*/ 83 w 88"/>
                  <a:gd name="T5" fmla="*/ 13 h 117"/>
                  <a:gd name="T6" fmla="*/ 88 w 88"/>
                  <a:gd name="T7" fmla="*/ 26 h 117"/>
                  <a:gd name="T8" fmla="*/ 81 w 88"/>
                  <a:gd name="T9" fmla="*/ 41 h 117"/>
                  <a:gd name="T10" fmla="*/ 69 w 88"/>
                  <a:gd name="T11" fmla="*/ 51 h 117"/>
                  <a:gd name="T12" fmla="*/ 74 w 88"/>
                  <a:gd name="T13" fmla="*/ 64 h 117"/>
                  <a:gd name="T14" fmla="*/ 69 w 88"/>
                  <a:gd name="T15" fmla="*/ 75 h 117"/>
                  <a:gd name="T16" fmla="*/ 74 w 88"/>
                  <a:gd name="T17" fmla="*/ 88 h 117"/>
                  <a:gd name="T18" fmla="*/ 57 w 88"/>
                  <a:gd name="T19" fmla="*/ 117 h 117"/>
                  <a:gd name="T20" fmla="*/ 20 w 88"/>
                  <a:gd name="T21" fmla="*/ 88 h 117"/>
                  <a:gd name="T22" fmla="*/ 0 w 88"/>
                  <a:gd name="T23" fmla="*/ 73 h 117"/>
                  <a:gd name="T24" fmla="*/ 12 w 88"/>
                  <a:gd name="T25" fmla="*/ 64 h 117"/>
                  <a:gd name="T26" fmla="*/ 12 w 88"/>
                  <a:gd name="T27" fmla="*/ 46 h 117"/>
                  <a:gd name="T28" fmla="*/ 34 w 88"/>
                  <a:gd name="T29" fmla="*/ 31 h 117"/>
                  <a:gd name="T30" fmla="*/ 46 w 88"/>
                  <a:gd name="T31" fmla="*/ 37 h 117"/>
                  <a:gd name="T32" fmla="*/ 57 w 88"/>
                  <a:gd name="T33" fmla="*/ 31 h 117"/>
                  <a:gd name="T34" fmla="*/ 76 w 88"/>
                  <a:gd name="T35" fmla="*/ 16 h 117"/>
                  <a:gd name="T36" fmla="*/ 83 w 88"/>
                  <a:gd name="T37"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117">
                    <a:moveTo>
                      <a:pt x="83" y="0"/>
                    </a:moveTo>
                    <a:lnTo>
                      <a:pt x="88" y="6"/>
                    </a:lnTo>
                    <a:lnTo>
                      <a:pt x="83" y="13"/>
                    </a:lnTo>
                    <a:lnTo>
                      <a:pt x="88" y="26"/>
                    </a:lnTo>
                    <a:lnTo>
                      <a:pt x="81" y="41"/>
                    </a:lnTo>
                    <a:lnTo>
                      <a:pt x="69" y="51"/>
                    </a:lnTo>
                    <a:lnTo>
                      <a:pt x="74" y="64"/>
                    </a:lnTo>
                    <a:lnTo>
                      <a:pt x="69" y="75"/>
                    </a:lnTo>
                    <a:lnTo>
                      <a:pt x="74" y="88"/>
                    </a:lnTo>
                    <a:lnTo>
                      <a:pt x="57" y="117"/>
                    </a:lnTo>
                    <a:lnTo>
                      <a:pt x="20" y="88"/>
                    </a:lnTo>
                    <a:lnTo>
                      <a:pt x="0" y="73"/>
                    </a:lnTo>
                    <a:lnTo>
                      <a:pt x="12" y="64"/>
                    </a:lnTo>
                    <a:lnTo>
                      <a:pt x="12" y="46"/>
                    </a:lnTo>
                    <a:lnTo>
                      <a:pt x="34" y="31"/>
                    </a:lnTo>
                    <a:lnTo>
                      <a:pt x="46" y="37"/>
                    </a:lnTo>
                    <a:lnTo>
                      <a:pt x="57" y="31"/>
                    </a:lnTo>
                    <a:lnTo>
                      <a:pt x="76" y="16"/>
                    </a:lnTo>
                    <a:lnTo>
                      <a:pt x="83"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58" name="Freeform 530"/>
              <p:cNvSpPr>
                <a:spLocks noChangeAspect="1"/>
              </p:cNvSpPr>
              <p:nvPr/>
            </p:nvSpPr>
            <p:spPr bwMode="auto">
              <a:xfrm>
                <a:off x="2924304" y="3506715"/>
                <a:ext cx="52303" cy="60126"/>
              </a:xfrm>
              <a:custGeom>
                <a:avLst/>
                <a:gdLst>
                  <a:gd name="T0" fmla="*/ 0 w 35"/>
                  <a:gd name="T1" fmla="*/ 0 h 50"/>
                  <a:gd name="T2" fmla="*/ 24 w 35"/>
                  <a:gd name="T3" fmla="*/ 9 h 50"/>
                  <a:gd name="T4" fmla="*/ 33 w 35"/>
                  <a:gd name="T5" fmla="*/ 21 h 50"/>
                  <a:gd name="T6" fmla="*/ 35 w 35"/>
                  <a:gd name="T7" fmla="*/ 40 h 50"/>
                  <a:gd name="T8" fmla="*/ 24 w 35"/>
                  <a:gd name="T9" fmla="*/ 50 h 50"/>
                  <a:gd name="T10" fmla="*/ 6 w 35"/>
                  <a:gd name="T11" fmla="*/ 41 h 50"/>
                  <a:gd name="T12" fmla="*/ 2 w 35"/>
                  <a:gd name="T13" fmla="*/ 28 h 50"/>
                  <a:gd name="T14" fmla="*/ 0 w 35"/>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50">
                    <a:moveTo>
                      <a:pt x="0" y="0"/>
                    </a:moveTo>
                    <a:lnTo>
                      <a:pt x="24" y="9"/>
                    </a:lnTo>
                    <a:lnTo>
                      <a:pt x="33" y="21"/>
                    </a:lnTo>
                    <a:lnTo>
                      <a:pt x="35" y="40"/>
                    </a:lnTo>
                    <a:lnTo>
                      <a:pt x="24" y="50"/>
                    </a:lnTo>
                    <a:lnTo>
                      <a:pt x="6" y="41"/>
                    </a:lnTo>
                    <a:lnTo>
                      <a:pt x="2" y="28"/>
                    </a:lnTo>
                    <a:lnTo>
                      <a:pt x="0"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sp>
          <p:nvSpPr>
            <p:cNvPr id="43" name="IS"/>
            <p:cNvSpPr>
              <a:spLocks/>
            </p:cNvSpPr>
            <p:nvPr/>
          </p:nvSpPr>
          <p:spPr bwMode="auto">
            <a:xfrm>
              <a:off x="3940175" y="1368425"/>
              <a:ext cx="536575" cy="450850"/>
            </a:xfrm>
            <a:custGeom>
              <a:avLst/>
              <a:gdLst>
                <a:gd name="T0" fmla="*/ 101 w 590"/>
                <a:gd name="T1" fmla="*/ 320 h 424"/>
                <a:gd name="T2" fmla="*/ 135 w 590"/>
                <a:gd name="T3" fmla="*/ 384 h 424"/>
                <a:gd name="T4" fmla="*/ 202 w 590"/>
                <a:gd name="T5" fmla="*/ 424 h 424"/>
                <a:gd name="T6" fmla="*/ 253 w 590"/>
                <a:gd name="T7" fmla="*/ 424 h 424"/>
                <a:gd name="T8" fmla="*/ 287 w 590"/>
                <a:gd name="T9" fmla="*/ 416 h 424"/>
                <a:gd name="T10" fmla="*/ 346 w 590"/>
                <a:gd name="T11" fmla="*/ 424 h 424"/>
                <a:gd name="T12" fmla="*/ 430 w 590"/>
                <a:gd name="T13" fmla="*/ 392 h 424"/>
                <a:gd name="T14" fmla="*/ 463 w 590"/>
                <a:gd name="T15" fmla="*/ 400 h 424"/>
                <a:gd name="T16" fmla="*/ 506 w 590"/>
                <a:gd name="T17" fmla="*/ 376 h 424"/>
                <a:gd name="T18" fmla="*/ 556 w 590"/>
                <a:gd name="T19" fmla="*/ 352 h 424"/>
                <a:gd name="T20" fmla="*/ 590 w 590"/>
                <a:gd name="T21" fmla="*/ 272 h 424"/>
                <a:gd name="T22" fmla="*/ 565 w 590"/>
                <a:gd name="T23" fmla="*/ 256 h 424"/>
                <a:gd name="T24" fmla="*/ 556 w 590"/>
                <a:gd name="T25" fmla="*/ 224 h 424"/>
                <a:gd name="T26" fmla="*/ 565 w 590"/>
                <a:gd name="T27" fmla="*/ 192 h 424"/>
                <a:gd name="T28" fmla="*/ 573 w 590"/>
                <a:gd name="T29" fmla="*/ 160 h 424"/>
                <a:gd name="T30" fmla="*/ 531 w 590"/>
                <a:gd name="T31" fmla="*/ 160 h 424"/>
                <a:gd name="T32" fmla="*/ 506 w 590"/>
                <a:gd name="T33" fmla="*/ 120 h 424"/>
                <a:gd name="T34" fmla="*/ 480 w 590"/>
                <a:gd name="T35" fmla="*/ 144 h 424"/>
                <a:gd name="T36" fmla="*/ 472 w 590"/>
                <a:gd name="T37" fmla="*/ 160 h 424"/>
                <a:gd name="T38" fmla="*/ 447 w 590"/>
                <a:gd name="T39" fmla="*/ 152 h 424"/>
                <a:gd name="T40" fmla="*/ 413 w 590"/>
                <a:gd name="T41" fmla="*/ 160 h 424"/>
                <a:gd name="T42" fmla="*/ 405 w 590"/>
                <a:gd name="T43" fmla="*/ 128 h 424"/>
                <a:gd name="T44" fmla="*/ 379 w 590"/>
                <a:gd name="T45" fmla="*/ 128 h 424"/>
                <a:gd name="T46" fmla="*/ 371 w 590"/>
                <a:gd name="T47" fmla="*/ 152 h 424"/>
                <a:gd name="T48" fmla="*/ 354 w 590"/>
                <a:gd name="T49" fmla="*/ 112 h 424"/>
                <a:gd name="T50" fmla="*/ 312 w 590"/>
                <a:gd name="T51" fmla="*/ 120 h 424"/>
                <a:gd name="T52" fmla="*/ 295 w 590"/>
                <a:gd name="T53" fmla="*/ 144 h 424"/>
                <a:gd name="T54" fmla="*/ 278 w 590"/>
                <a:gd name="T55" fmla="*/ 144 h 424"/>
                <a:gd name="T56" fmla="*/ 270 w 590"/>
                <a:gd name="T57" fmla="*/ 88 h 424"/>
                <a:gd name="T58" fmla="*/ 253 w 590"/>
                <a:gd name="T59" fmla="*/ 96 h 424"/>
                <a:gd name="T60" fmla="*/ 244 w 590"/>
                <a:gd name="T61" fmla="*/ 152 h 424"/>
                <a:gd name="T62" fmla="*/ 228 w 590"/>
                <a:gd name="T63" fmla="*/ 152 h 424"/>
                <a:gd name="T64" fmla="*/ 219 w 590"/>
                <a:gd name="T65" fmla="*/ 128 h 424"/>
                <a:gd name="T66" fmla="*/ 177 w 590"/>
                <a:gd name="T67" fmla="*/ 160 h 424"/>
                <a:gd name="T68" fmla="*/ 185 w 590"/>
                <a:gd name="T69" fmla="*/ 112 h 424"/>
                <a:gd name="T70" fmla="*/ 211 w 590"/>
                <a:gd name="T71" fmla="*/ 88 h 424"/>
                <a:gd name="T72" fmla="*/ 185 w 590"/>
                <a:gd name="T73" fmla="*/ 16 h 424"/>
                <a:gd name="T74" fmla="*/ 143 w 590"/>
                <a:gd name="T75" fmla="*/ 0 h 424"/>
                <a:gd name="T76" fmla="*/ 152 w 590"/>
                <a:gd name="T77" fmla="*/ 64 h 424"/>
                <a:gd name="T78" fmla="*/ 118 w 590"/>
                <a:gd name="T79" fmla="*/ 16 h 424"/>
                <a:gd name="T80" fmla="*/ 93 w 590"/>
                <a:gd name="T81" fmla="*/ 32 h 424"/>
                <a:gd name="T82" fmla="*/ 76 w 590"/>
                <a:gd name="T83" fmla="*/ 48 h 424"/>
                <a:gd name="T84" fmla="*/ 93 w 590"/>
                <a:gd name="T85" fmla="*/ 64 h 424"/>
                <a:gd name="T86" fmla="*/ 59 w 590"/>
                <a:gd name="T87" fmla="*/ 48 h 424"/>
                <a:gd name="T88" fmla="*/ 51 w 590"/>
                <a:gd name="T89" fmla="*/ 64 h 424"/>
                <a:gd name="T90" fmla="*/ 25 w 590"/>
                <a:gd name="T91" fmla="*/ 64 h 424"/>
                <a:gd name="T92" fmla="*/ 42 w 590"/>
                <a:gd name="T93" fmla="*/ 88 h 424"/>
                <a:gd name="T94" fmla="*/ 101 w 590"/>
                <a:gd name="T95" fmla="*/ 96 h 424"/>
                <a:gd name="T96" fmla="*/ 143 w 590"/>
                <a:gd name="T97" fmla="*/ 128 h 424"/>
                <a:gd name="T98" fmla="*/ 110 w 590"/>
                <a:gd name="T99" fmla="*/ 144 h 424"/>
                <a:gd name="T100" fmla="*/ 126 w 590"/>
                <a:gd name="T101" fmla="*/ 160 h 424"/>
                <a:gd name="T102" fmla="*/ 143 w 590"/>
                <a:gd name="T103" fmla="*/ 176 h 424"/>
                <a:gd name="T104" fmla="*/ 126 w 590"/>
                <a:gd name="T105" fmla="*/ 184 h 424"/>
                <a:gd name="T106" fmla="*/ 8 w 590"/>
                <a:gd name="T107" fmla="*/ 144 h 424"/>
                <a:gd name="T108" fmla="*/ 0 w 590"/>
                <a:gd name="T109" fmla="*/ 168 h 424"/>
                <a:gd name="T110" fmla="*/ 93 w 590"/>
                <a:gd name="T111" fmla="*/ 192 h 424"/>
                <a:gd name="T112" fmla="*/ 84 w 590"/>
                <a:gd name="T113" fmla="*/ 216 h 424"/>
                <a:gd name="T114" fmla="*/ 84 w 590"/>
                <a:gd name="T115" fmla="*/ 256 h 424"/>
                <a:gd name="T116" fmla="*/ 67 w 590"/>
                <a:gd name="T117" fmla="*/ 280 h 424"/>
                <a:gd name="T118" fmla="*/ 34 w 590"/>
                <a:gd name="T119" fmla="*/ 280 h 424"/>
                <a:gd name="T120" fmla="*/ 17 w 590"/>
                <a:gd name="T121" fmla="*/ 296 h 424"/>
                <a:gd name="T122" fmla="*/ 101 w 590"/>
                <a:gd name="T123" fmla="*/ 32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0" h="424">
                  <a:moveTo>
                    <a:pt x="101" y="320"/>
                  </a:moveTo>
                  <a:lnTo>
                    <a:pt x="135" y="384"/>
                  </a:lnTo>
                  <a:lnTo>
                    <a:pt x="202" y="424"/>
                  </a:lnTo>
                  <a:lnTo>
                    <a:pt x="253" y="424"/>
                  </a:lnTo>
                  <a:lnTo>
                    <a:pt x="287" y="416"/>
                  </a:lnTo>
                  <a:lnTo>
                    <a:pt x="346" y="424"/>
                  </a:lnTo>
                  <a:lnTo>
                    <a:pt x="430" y="392"/>
                  </a:lnTo>
                  <a:lnTo>
                    <a:pt x="463" y="400"/>
                  </a:lnTo>
                  <a:lnTo>
                    <a:pt x="506" y="376"/>
                  </a:lnTo>
                  <a:lnTo>
                    <a:pt x="556" y="352"/>
                  </a:lnTo>
                  <a:lnTo>
                    <a:pt x="590" y="272"/>
                  </a:lnTo>
                  <a:lnTo>
                    <a:pt x="565" y="256"/>
                  </a:lnTo>
                  <a:lnTo>
                    <a:pt x="556" y="224"/>
                  </a:lnTo>
                  <a:lnTo>
                    <a:pt x="565" y="192"/>
                  </a:lnTo>
                  <a:lnTo>
                    <a:pt x="573" y="160"/>
                  </a:lnTo>
                  <a:lnTo>
                    <a:pt x="531" y="160"/>
                  </a:lnTo>
                  <a:lnTo>
                    <a:pt x="506" y="120"/>
                  </a:lnTo>
                  <a:lnTo>
                    <a:pt x="480" y="144"/>
                  </a:lnTo>
                  <a:lnTo>
                    <a:pt x="472" y="160"/>
                  </a:lnTo>
                  <a:lnTo>
                    <a:pt x="447" y="152"/>
                  </a:lnTo>
                  <a:lnTo>
                    <a:pt x="413" y="160"/>
                  </a:lnTo>
                  <a:lnTo>
                    <a:pt x="405" y="128"/>
                  </a:lnTo>
                  <a:lnTo>
                    <a:pt x="379" y="128"/>
                  </a:lnTo>
                  <a:lnTo>
                    <a:pt x="371" y="152"/>
                  </a:lnTo>
                  <a:lnTo>
                    <a:pt x="354" y="112"/>
                  </a:lnTo>
                  <a:lnTo>
                    <a:pt x="312" y="120"/>
                  </a:lnTo>
                  <a:lnTo>
                    <a:pt x="295" y="144"/>
                  </a:lnTo>
                  <a:lnTo>
                    <a:pt x="278" y="144"/>
                  </a:lnTo>
                  <a:lnTo>
                    <a:pt x="270" y="88"/>
                  </a:lnTo>
                  <a:lnTo>
                    <a:pt x="253" y="96"/>
                  </a:lnTo>
                  <a:lnTo>
                    <a:pt x="244" y="152"/>
                  </a:lnTo>
                  <a:lnTo>
                    <a:pt x="228" y="152"/>
                  </a:lnTo>
                  <a:lnTo>
                    <a:pt x="219" y="128"/>
                  </a:lnTo>
                  <a:lnTo>
                    <a:pt x="177" y="160"/>
                  </a:lnTo>
                  <a:lnTo>
                    <a:pt x="185" y="112"/>
                  </a:lnTo>
                  <a:lnTo>
                    <a:pt x="211" y="88"/>
                  </a:lnTo>
                  <a:lnTo>
                    <a:pt x="185" y="16"/>
                  </a:lnTo>
                  <a:lnTo>
                    <a:pt x="143" y="0"/>
                  </a:lnTo>
                  <a:lnTo>
                    <a:pt x="152" y="64"/>
                  </a:lnTo>
                  <a:lnTo>
                    <a:pt x="118" y="16"/>
                  </a:lnTo>
                  <a:lnTo>
                    <a:pt x="93" y="32"/>
                  </a:lnTo>
                  <a:lnTo>
                    <a:pt x="76" y="48"/>
                  </a:lnTo>
                  <a:lnTo>
                    <a:pt x="93" y="64"/>
                  </a:lnTo>
                  <a:lnTo>
                    <a:pt x="59" y="48"/>
                  </a:lnTo>
                  <a:lnTo>
                    <a:pt x="51" y="64"/>
                  </a:lnTo>
                  <a:lnTo>
                    <a:pt x="25" y="64"/>
                  </a:lnTo>
                  <a:lnTo>
                    <a:pt x="42" y="88"/>
                  </a:lnTo>
                  <a:lnTo>
                    <a:pt x="101" y="96"/>
                  </a:lnTo>
                  <a:lnTo>
                    <a:pt x="143" y="128"/>
                  </a:lnTo>
                  <a:lnTo>
                    <a:pt x="110" y="144"/>
                  </a:lnTo>
                  <a:lnTo>
                    <a:pt x="126" y="160"/>
                  </a:lnTo>
                  <a:lnTo>
                    <a:pt x="143" y="176"/>
                  </a:lnTo>
                  <a:lnTo>
                    <a:pt x="126" y="184"/>
                  </a:lnTo>
                  <a:lnTo>
                    <a:pt x="8" y="144"/>
                  </a:lnTo>
                  <a:lnTo>
                    <a:pt x="0" y="168"/>
                  </a:lnTo>
                  <a:lnTo>
                    <a:pt x="93" y="192"/>
                  </a:lnTo>
                  <a:lnTo>
                    <a:pt x="84" y="216"/>
                  </a:lnTo>
                  <a:lnTo>
                    <a:pt x="84" y="256"/>
                  </a:lnTo>
                  <a:lnTo>
                    <a:pt x="67" y="280"/>
                  </a:lnTo>
                  <a:lnTo>
                    <a:pt x="34" y="280"/>
                  </a:lnTo>
                  <a:lnTo>
                    <a:pt x="17" y="296"/>
                  </a:lnTo>
                  <a:lnTo>
                    <a:pt x="101" y="320"/>
                  </a:lnTo>
                  <a:close/>
                </a:path>
              </a:pathLst>
            </a:custGeom>
            <a:solidFill>
              <a:schemeClr val="bg1">
                <a:lumMod val="95000"/>
              </a:schemeClr>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44" name="ME"/>
            <p:cNvSpPr/>
            <p:nvPr/>
          </p:nvSpPr>
          <p:spPr>
            <a:xfrm>
              <a:off x="6616700" y="4986338"/>
              <a:ext cx="225425" cy="228600"/>
            </a:xfrm>
            <a:custGeom>
              <a:avLst/>
              <a:gdLst>
                <a:gd name="connsiteX0" fmla="*/ 7144 w 116681"/>
                <a:gd name="connsiteY0" fmla="*/ 138113 h 185738"/>
                <a:gd name="connsiteX1" fmla="*/ 92869 w 116681"/>
                <a:gd name="connsiteY1" fmla="*/ 185738 h 185738"/>
                <a:gd name="connsiteX2" fmla="*/ 116681 w 116681"/>
                <a:gd name="connsiteY2" fmla="*/ 111919 h 185738"/>
                <a:gd name="connsiteX3" fmla="*/ 97631 w 116681"/>
                <a:gd name="connsiteY3" fmla="*/ 0 h 185738"/>
                <a:gd name="connsiteX4" fmla="*/ 47625 w 116681"/>
                <a:gd name="connsiteY4" fmla="*/ 16669 h 185738"/>
                <a:gd name="connsiteX5" fmla="*/ 57150 w 116681"/>
                <a:gd name="connsiteY5" fmla="*/ 45244 h 185738"/>
                <a:gd name="connsiteX6" fmla="*/ 30956 w 116681"/>
                <a:gd name="connsiteY6" fmla="*/ 42863 h 185738"/>
                <a:gd name="connsiteX7" fmla="*/ 23813 w 116681"/>
                <a:gd name="connsiteY7" fmla="*/ 73819 h 185738"/>
                <a:gd name="connsiteX8" fmla="*/ 0 w 116681"/>
                <a:gd name="connsiteY8" fmla="*/ 85725 h 185738"/>
                <a:gd name="connsiteX9" fmla="*/ 7144 w 116681"/>
                <a:gd name="connsiteY9" fmla="*/ 138113 h 185738"/>
                <a:gd name="connsiteX0" fmla="*/ 7144 w 161952"/>
                <a:gd name="connsiteY0" fmla="*/ 121444 h 169069"/>
                <a:gd name="connsiteX1" fmla="*/ 92869 w 161952"/>
                <a:gd name="connsiteY1" fmla="*/ 169069 h 169069"/>
                <a:gd name="connsiteX2" fmla="*/ 116681 w 161952"/>
                <a:gd name="connsiteY2" fmla="*/ 95250 h 169069"/>
                <a:gd name="connsiteX3" fmla="*/ 161952 w 161952"/>
                <a:gd name="connsiteY3" fmla="*/ 54183 h 169069"/>
                <a:gd name="connsiteX4" fmla="*/ 47625 w 161952"/>
                <a:gd name="connsiteY4" fmla="*/ 0 h 169069"/>
                <a:gd name="connsiteX5" fmla="*/ 57150 w 161952"/>
                <a:gd name="connsiteY5" fmla="*/ 28575 h 169069"/>
                <a:gd name="connsiteX6" fmla="*/ 30956 w 161952"/>
                <a:gd name="connsiteY6" fmla="*/ 26194 h 169069"/>
                <a:gd name="connsiteX7" fmla="*/ 23813 w 161952"/>
                <a:gd name="connsiteY7" fmla="*/ 57150 h 169069"/>
                <a:gd name="connsiteX8" fmla="*/ 0 w 161952"/>
                <a:gd name="connsiteY8" fmla="*/ 69056 h 169069"/>
                <a:gd name="connsiteX9" fmla="*/ 7144 w 161952"/>
                <a:gd name="connsiteY9" fmla="*/ 121444 h 169069"/>
                <a:gd name="connsiteX0" fmla="*/ 7144 w 161952"/>
                <a:gd name="connsiteY0" fmla="*/ 134728 h 182353"/>
                <a:gd name="connsiteX1" fmla="*/ 92869 w 161952"/>
                <a:gd name="connsiteY1" fmla="*/ 182353 h 182353"/>
                <a:gd name="connsiteX2" fmla="*/ 116681 w 161952"/>
                <a:gd name="connsiteY2" fmla="*/ 108534 h 182353"/>
                <a:gd name="connsiteX3" fmla="*/ 161952 w 161952"/>
                <a:gd name="connsiteY3" fmla="*/ 67467 h 182353"/>
                <a:gd name="connsiteX4" fmla="*/ 104800 w 161952"/>
                <a:gd name="connsiteY4" fmla="*/ 0 h 182353"/>
                <a:gd name="connsiteX5" fmla="*/ 57150 w 161952"/>
                <a:gd name="connsiteY5" fmla="*/ 41859 h 182353"/>
                <a:gd name="connsiteX6" fmla="*/ 30956 w 161952"/>
                <a:gd name="connsiteY6" fmla="*/ 39478 h 182353"/>
                <a:gd name="connsiteX7" fmla="*/ 23813 w 161952"/>
                <a:gd name="connsiteY7" fmla="*/ 70434 h 182353"/>
                <a:gd name="connsiteX8" fmla="*/ 0 w 161952"/>
                <a:gd name="connsiteY8" fmla="*/ 82340 h 182353"/>
                <a:gd name="connsiteX9" fmla="*/ 7144 w 161952"/>
                <a:gd name="connsiteY9" fmla="*/ 134728 h 182353"/>
                <a:gd name="connsiteX0" fmla="*/ 7144 w 161952"/>
                <a:gd name="connsiteY0" fmla="*/ 146009 h 193634"/>
                <a:gd name="connsiteX1" fmla="*/ 92869 w 161952"/>
                <a:gd name="connsiteY1" fmla="*/ 193634 h 193634"/>
                <a:gd name="connsiteX2" fmla="*/ 116681 w 161952"/>
                <a:gd name="connsiteY2" fmla="*/ 119815 h 193634"/>
                <a:gd name="connsiteX3" fmla="*/ 161952 w 161952"/>
                <a:gd name="connsiteY3" fmla="*/ 78748 h 193634"/>
                <a:gd name="connsiteX4" fmla="*/ 104800 w 161952"/>
                <a:gd name="connsiteY4" fmla="*/ 11281 h 193634"/>
                <a:gd name="connsiteX5" fmla="*/ 78591 w 161952"/>
                <a:gd name="connsiteY5" fmla="*/ 0 h 193634"/>
                <a:gd name="connsiteX6" fmla="*/ 30956 w 161952"/>
                <a:gd name="connsiteY6" fmla="*/ 50759 h 193634"/>
                <a:gd name="connsiteX7" fmla="*/ 23813 w 161952"/>
                <a:gd name="connsiteY7" fmla="*/ 81715 h 193634"/>
                <a:gd name="connsiteX8" fmla="*/ 0 w 161952"/>
                <a:gd name="connsiteY8" fmla="*/ 93621 h 193634"/>
                <a:gd name="connsiteX9" fmla="*/ 7144 w 161952"/>
                <a:gd name="connsiteY9" fmla="*/ 146009 h 193634"/>
                <a:gd name="connsiteX0" fmla="*/ 7144 w 161952"/>
                <a:gd name="connsiteY0" fmla="*/ 152818 h 200443"/>
                <a:gd name="connsiteX1" fmla="*/ 92869 w 161952"/>
                <a:gd name="connsiteY1" fmla="*/ 200443 h 200443"/>
                <a:gd name="connsiteX2" fmla="*/ 116681 w 161952"/>
                <a:gd name="connsiteY2" fmla="*/ 126624 h 200443"/>
                <a:gd name="connsiteX3" fmla="*/ 161952 w 161952"/>
                <a:gd name="connsiteY3" fmla="*/ 85557 h 200443"/>
                <a:gd name="connsiteX4" fmla="*/ 104800 w 161952"/>
                <a:gd name="connsiteY4" fmla="*/ 18090 h 200443"/>
                <a:gd name="connsiteX5" fmla="*/ 78591 w 161952"/>
                <a:gd name="connsiteY5" fmla="*/ 6809 h 200443"/>
                <a:gd name="connsiteX6" fmla="*/ 52396 w 161952"/>
                <a:gd name="connsiteY6" fmla="*/ 0 h 200443"/>
                <a:gd name="connsiteX7" fmla="*/ 23813 w 161952"/>
                <a:gd name="connsiteY7" fmla="*/ 88524 h 200443"/>
                <a:gd name="connsiteX8" fmla="*/ 0 w 161952"/>
                <a:gd name="connsiteY8" fmla="*/ 100430 h 200443"/>
                <a:gd name="connsiteX9" fmla="*/ 7144 w 161952"/>
                <a:gd name="connsiteY9" fmla="*/ 152818 h 200443"/>
                <a:gd name="connsiteX0" fmla="*/ 7144 w 161952"/>
                <a:gd name="connsiteY0" fmla="*/ 152818 h 200443"/>
                <a:gd name="connsiteX1" fmla="*/ 92869 w 161952"/>
                <a:gd name="connsiteY1" fmla="*/ 200443 h 200443"/>
                <a:gd name="connsiteX2" fmla="*/ 134548 w 161952"/>
                <a:gd name="connsiteY2" fmla="*/ 139910 h 200443"/>
                <a:gd name="connsiteX3" fmla="*/ 161952 w 161952"/>
                <a:gd name="connsiteY3" fmla="*/ 85557 h 200443"/>
                <a:gd name="connsiteX4" fmla="*/ 104800 w 161952"/>
                <a:gd name="connsiteY4" fmla="*/ 18090 h 200443"/>
                <a:gd name="connsiteX5" fmla="*/ 78591 w 161952"/>
                <a:gd name="connsiteY5" fmla="*/ 6809 h 200443"/>
                <a:gd name="connsiteX6" fmla="*/ 52396 w 161952"/>
                <a:gd name="connsiteY6" fmla="*/ 0 h 200443"/>
                <a:gd name="connsiteX7" fmla="*/ 23813 w 161952"/>
                <a:gd name="connsiteY7" fmla="*/ 88524 h 200443"/>
                <a:gd name="connsiteX8" fmla="*/ 0 w 161952"/>
                <a:gd name="connsiteY8" fmla="*/ 100430 h 200443"/>
                <a:gd name="connsiteX9" fmla="*/ 7144 w 161952"/>
                <a:gd name="connsiteY9" fmla="*/ 152818 h 200443"/>
                <a:gd name="connsiteX0" fmla="*/ 7144 w 161952"/>
                <a:gd name="connsiteY0" fmla="*/ 152818 h 173873"/>
                <a:gd name="connsiteX1" fmla="*/ 103589 w 161952"/>
                <a:gd name="connsiteY1" fmla="*/ 173873 h 173873"/>
                <a:gd name="connsiteX2" fmla="*/ 134548 w 161952"/>
                <a:gd name="connsiteY2" fmla="*/ 139910 h 173873"/>
                <a:gd name="connsiteX3" fmla="*/ 161952 w 161952"/>
                <a:gd name="connsiteY3" fmla="*/ 85557 h 173873"/>
                <a:gd name="connsiteX4" fmla="*/ 104800 w 161952"/>
                <a:gd name="connsiteY4" fmla="*/ 18090 h 173873"/>
                <a:gd name="connsiteX5" fmla="*/ 78591 w 161952"/>
                <a:gd name="connsiteY5" fmla="*/ 6809 h 173873"/>
                <a:gd name="connsiteX6" fmla="*/ 52396 w 161952"/>
                <a:gd name="connsiteY6" fmla="*/ 0 h 173873"/>
                <a:gd name="connsiteX7" fmla="*/ 23813 w 161952"/>
                <a:gd name="connsiteY7" fmla="*/ 88524 h 173873"/>
                <a:gd name="connsiteX8" fmla="*/ 0 w 161952"/>
                <a:gd name="connsiteY8" fmla="*/ 100430 h 173873"/>
                <a:gd name="connsiteX9" fmla="*/ 7144 w 161952"/>
                <a:gd name="connsiteY9" fmla="*/ 152818 h 173873"/>
                <a:gd name="connsiteX0" fmla="*/ 7144 w 161952"/>
                <a:gd name="connsiteY0" fmla="*/ 152818 h 173873"/>
                <a:gd name="connsiteX1" fmla="*/ 103589 w 161952"/>
                <a:gd name="connsiteY1" fmla="*/ 173873 h 173873"/>
                <a:gd name="connsiteX2" fmla="*/ 134548 w 161952"/>
                <a:gd name="connsiteY2" fmla="*/ 139910 h 173873"/>
                <a:gd name="connsiteX3" fmla="*/ 161952 w 161952"/>
                <a:gd name="connsiteY3" fmla="*/ 85557 h 173873"/>
                <a:gd name="connsiteX4" fmla="*/ 104800 w 161952"/>
                <a:gd name="connsiteY4" fmla="*/ 18090 h 173873"/>
                <a:gd name="connsiteX5" fmla="*/ 78591 w 161952"/>
                <a:gd name="connsiteY5" fmla="*/ 6809 h 173873"/>
                <a:gd name="connsiteX6" fmla="*/ 52396 w 161952"/>
                <a:gd name="connsiteY6" fmla="*/ 0 h 173873"/>
                <a:gd name="connsiteX7" fmla="*/ 13093 w 161952"/>
                <a:gd name="connsiteY7" fmla="*/ 57526 h 173873"/>
                <a:gd name="connsiteX8" fmla="*/ 0 w 161952"/>
                <a:gd name="connsiteY8" fmla="*/ 100430 h 173873"/>
                <a:gd name="connsiteX9" fmla="*/ 7144 w 161952"/>
                <a:gd name="connsiteY9" fmla="*/ 152818 h 173873"/>
                <a:gd name="connsiteX0" fmla="*/ 42878 w 161952"/>
                <a:gd name="connsiteY0" fmla="*/ 112963 h 173873"/>
                <a:gd name="connsiteX1" fmla="*/ 103589 w 161952"/>
                <a:gd name="connsiteY1" fmla="*/ 173873 h 173873"/>
                <a:gd name="connsiteX2" fmla="*/ 134548 w 161952"/>
                <a:gd name="connsiteY2" fmla="*/ 139910 h 173873"/>
                <a:gd name="connsiteX3" fmla="*/ 161952 w 161952"/>
                <a:gd name="connsiteY3" fmla="*/ 85557 h 173873"/>
                <a:gd name="connsiteX4" fmla="*/ 104800 w 161952"/>
                <a:gd name="connsiteY4" fmla="*/ 18090 h 173873"/>
                <a:gd name="connsiteX5" fmla="*/ 78591 w 161952"/>
                <a:gd name="connsiteY5" fmla="*/ 6809 h 173873"/>
                <a:gd name="connsiteX6" fmla="*/ 52396 w 161952"/>
                <a:gd name="connsiteY6" fmla="*/ 0 h 173873"/>
                <a:gd name="connsiteX7" fmla="*/ 13093 w 161952"/>
                <a:gd name="connsiteY7" fmla="*/ 57526 h 173873"/>
                <a:gd name="connsiteX8" fmla="*/ 0 w 161952"/>
                <a:gd name="connsiteY8" fmla="*/ 100430 h 173873"/>
                <a:gd name="connsiteX9" fmla="*/ 42878 w 161952"/>
                <a:gd name="connsiteY9" fmla="*/ 112963 h 173873"/>
                <a:gd name="connsiteX0" fmla="*/ 29785 w 148859"/>
                <a:gd name="connsiteY0" fmla="*/ 112963 h 173873"/>
                <a:gd name="connsiteX1" fmla="*/ 90496 w 148859"/>
                <a:gd name="connsiteY1" fmla="*/ 173873 h 173873"/>
                <a:gd name="connsiteX2" fmla="*/ 121455 w 148859"/>
                <a:gd name="connsiteY2" fmla="*/ 139910 h 173873"/>
                <a:gd name="connsiteX3" fmla="*/ 148859 w 148859"/>
                <a:gd name="connsiteY3" fmla="*/ 85557 h 173873"/>
                <a:gd name="connsiteX4" fmla="*/ 91707 w 148859"/>
                <a:gd name="connsiteY4" fmla="*/ 18090 h 173873"/>
                <a:gd name="connsiteX5" fmla="*/ 65498 w 148859"/>
                <a:gd name="connsiteY5" fmla="*/ 6809 h 173873"/>
                <a:gd name="connsiteX6" fmla="*/ 39303 w 148859"/>
                <a:gd name="connsiteY6" fmla="*/ 0 h 173873"/>
                <a:gd name="connsiteX7" fmla="*/ 0 w 148859"/>
                <a:gd name="connsiteY7" fmla="*/ 57526 h 173873"/>
                <a:gd name="connsiteX8" fmla="*/ 4775 w 148859"/>
                <a:gd name="connsiteY8" fmla="*/ 91573 h 173873"/>
                <a:gd name="connsiteX9" fmla="*/ 29785 w 148859"/>
                <a:gd name="connsiteY9" fmla="*/ 112963 h 173873"/>
                <a:gd name="connsiteX0" fmla="*/ 44079 w 148859"/>
                <a:gd name="connsiteY0" fmla="*/ 139533 h 173873"/>
                <a:gd name="connsiteX1" fmla="*/ 90496 w 148859"/>
                <a:gd name="connsiteY1" fmla="*/ 173873 h 173873"/>
                <a:gd name="connsiteX2" fmla="*/ 121455 w 148859"/>
                <a:gd name="connsiteY2" fmla="*/ 139910 h 173873"/>
                <a:gd name="connsiteX3" fmla="*/ 148859 w 148859"/>
                <a:gd name="connsiteY3" fmla="*/ 85557 h 173873"/>
                <a:gd name="connsiteX4" fmla="*/ 91707 w 148859"/>
                <a:gd name="connsiteY4" fmla="*/ 18090 h 173873"/>
                <a:gd name="connsiteX5" fmla="*/ 65498 w 148859"/>
                <a:gd name="connsiteY5" fmla="*/ 6809 h 173873"/>
                <a:gd name="connsiteX6" fmla="*/ 39303 w 148859"/>
                <a:gd name="connsiteY6" fmla="*/ 0 h 173873"/>
                <a:gd name="connsiteX7" fmla="*/ 0 w 148859"/>
                <a:gd name="connsiteY7" fmla="*/ 57526 h 173873"/>
                <a:gd name="connsiteX8" fmla="*/ 4775 w 148859"/>
                <a:gd name="connsiteY8" fmla="*/ 91573 h 173873"/>
                <a:gd name="connsiteX9" fmla="*/ 44079 w 148859"/>
                <a:gd name="connsiteY9" fmla="*/ 139533 h 173873"/>
                <a:gd name="connsiteX0" fmla="*/ 65519 w 148859"/>
                <a:gd name="connsiteY0" fmla="*/ 135104 h 173873"/>
                <a:gd name="connsiteX1" fmla="*/ 90496 w 148859"/>
                <a:gd name="connsiteY1" fmla="*/ 173873 h 173873"/>
                <a:gd name="connsiteX2" fmla="*/ 121455 w 148859"/>
                <a:gd name="connsiteY2" fmla="*/ 139910 h 173873"/>
                <a:gd name="connsiteX3" fmla="*/ 148859 w 148859"/>
                <a:gd name="connsiteY3" fmla="*/ 85557 h 173873"/>
                <a:gd name="connsiteX4" fmla="*/ 91707 w 148859"/>
                <a:gd name="connsiteY4" fmla="*/ 18090 h 173873"/>
                <a:gd name="connsiteX5" fmla="*/ 65498 w 148859"/>
                <a:gd name="connsiteY5" fmla="*/ 6809 h 173873"/>
                <a:gd name="connsiteX6" fmla="*/ 39303 w 148859"/>
                <a:gd name="connsiteY6" fmla="*/ 0 h 173873"/>
                <a:gd name="connsiteX7" fmla="*/ 0 w 148859"/>
                <a:gd name="connsiteY7" fmla="*/ 57526 h 173873"/>
                <a:gd name="connsiteX8" fmla="*/ 4775 w 148859"/>
                <a:gd name="connsiteY8" fmla="*/ 91573 h 173873"/>
                <a:gd name="connsiteX9" fmla="*/ 65519 w 148859"/>
                <a:gd name="connsiteY9" fmla="*/ 135104 h 173873"/>
                <a:gd name="connsiteX0" fmla="*/ 60744 w 144084"/>
                <a:gd name="connsiteY0" fmla="*/ 135104 h 173873"/>
                <a:gd name="connsiteX1" fmla="*/ 85721 w 144084"/>
                <a:gd name="connsiteY1" fmla="*/ 173873 h 173873"/>
                <a:gd name="connsiteX2" fmla="*/ 116680 w 144084"/>
                <a:gd name="connsiteY2" fmla="*/ 139910 h 173873"/>
                <a:gd name="connsiteX3" fmla="*/ 144084 w 144084"/>
                <a:gd name="connsiteY3" fmla="*/ 85557 h 173873"/>
                <a:gd name="connsiteX4" fmla="*/ 86932 w 144084"/>
                <a:gd name="connsiteY4" fmla="*/ 18090 h 173873"/>
                <a:gd name="connsiteX5" fmla="*/ 60723 w 144084"/>
                <a:gd name="connsiteY5" fmla="*/ 6809 h 173873"/>
                <a:gd name="connsiteX6" fmla="*/ 34528 w 144084"/>
                <a:gd name="connsiteY6" fmla="*/ 0 h 173873"/>
                <a:gd name="connsiteX7" fmla="*/ 9519 w 144084"/>
                <a:gd name="connsiteY7" fmla="*/ 35385 h 173873"/>
                <a:gd name="connsiteX8" fmla="*/ 0 w 144084"/>
                <a:gd name="connsiteY8" fmla="*/ 91573 h 173873"/>
                <a:gd name="connsiteX9" fmla="*/ 60744 w 144084"/>
                <a:gd name="connsiteY9" fmla="*/ 135104 h 173873"/>
                <a:gd name="connsiteX0" fmla="*/ 60744 w 144084"/>
                <a:gd name="connsiteY0" fmla="*/ 128295 h 167064"/>
                <a:gd name="connsiteX1" fmla="*/ 85721 w 144084"/>
                <a:gd name="connsiteY1" fmla="*/ 167064 h 167064"/>
                <a:gd name="connsiteX2" fmla="*/ 116680 w 144084"/>
                <a:gd name="connsiteY2" fmla="*/ 133101 h 167064"/>
                <a:gd name="connsiteX3" fmla="*/ 144084 w 144084"/>
                <a:gd name="connsiteY3" fmla="*/ 78748 h 167064"/>
                <a:gd name="connsiteX4" fmla="*/ 86932 w 144084"/>
                <a:gd name="connsiteY4" fmla="*/ 11281 h 167064"/>
                <a:gd name="connsiteX5" fmla="*/ 60723 w 144084"/>
                <a:gd name="connsiteY5" fmla="*/ 0 h 167064"/>
                <a:gd name="connsiteX6" fmla="*/ 41674 w 144084"/>
                <a:gd name="connsiteY6" fmla="*/ 10905 h 167064"/>
                <a:gd name="connsiteX7" fmla="*/ 9519 w 144084"/>
                <a:gd name="connsiteY7" fmla="*/ 28576 h 167064"/>
                <a:gd name="connsiteX8" fmla="*/ 0 w 144084"/>
                <a:gd name="connsiteY8" fmla="*/ 84764 h 167064"/>
                <a:gd name="connsiteX9" fmla="*/ 60744 w 144084"/>
                <a:gd name="connsiteY9" fmla="*/ 128295 h 167064"/>
                <a:gd name="connsiteX0" fmla="*/ 60744 w 144084"/>
                <a:gd name="connsiteY0" fmla="*/ 128295 h 167064"/>
                <a:gd name="connsiteX1" fmla="*/ 85721 w 144084"/>
                <a:gd name="connsiteY1" fmla="*/ 167064 h 167064"/>
                <a:gd name="connsiteX2" fmla="*/ 116680 w 144084"/>
                <a:gd name="connsiteY2" fmla="*/ 133101 h 167064"/>
                <a:gd name="connsiteX3" fmla="*/ 144084 w 144084"/>
                <a:gd name="connsiteY3" fmla="*/ 78748 h 167064"/>
                <a:gd name="connsiteX4" fmla="*/ 97653 w 144084"/>
                <a:gd name="connsiteY4" fmla="*/ 33423 h 167064"/>
                <a:gd name="connsiteX5" fmla="*/ 60723 w 144084"/>
                <a:gd name="connsiteY5" fmla="*/ 0 h 167064"/>
                <a:gd name="connsiteX6" fmla="*/ 41674 w 144084"/>
                <a:gd name="connsiteY6" fmla="*/ 10905 h 167064"/>
                <a:gd name="connsiteX7" fmla="*/ 9519 w 144084"/>
                <a:gd name="connsiteY7" fmla="*/ 28576 h 167064"/>
                <a:gd name="connsiteX8" fmla="*/ 0 w 144084"/>
                <a:gd name="connsiteY8" fmla="*/ 84764 h 167064"/>
                <a:gd name="connsiteX9" fmla="*/ 60744 w 144084"/>
                <a:gd name="connsiteY9" fmla="*/ 128295 h 167064"/>
                <a:gd name="connsiteX0" fmla="*/ 60744 w 144084"/>
                <a:gd name="connsiteY0" fmla="*/ 140694 h 179463"/>
                <a:gd name="connsiteX1" fmla="*/ 85721 w 144084"/>
                <a:gd name="connsiteY1" fmla="*/ 179463 h 179463"/>
                <a:gd name="connsiteX2" fmla="*/ 116680 w 144084"/>
                <a:gd name="connsiteY2" fmla="*/ 145500 h 179463"/>
                <a:gd name="connsiteX3" fmla="*/ 144084 w 144084"/>
                <a:gd name="connsiteY3" fmla="*/ 91147 h 179463"/>
                <a:gd name="connsiteX4" fmla="*/ 97653 w 144084"/>
                <a:gd name="connsiteY4" fmla="*/ 45822 h 179463"/>
                <a:gd name="connsiteX5" fmla="*/ 63225 w 144084"/>
                <a:gd name="connsiteY5" fmla="*/ 0 h 179463"/>
                <a:gd name="connsiteX6" fmla="*/ 41674 w 144084"/>
                <a:gd name="connsiteY6" fmla="*/ 23304 h 179463"/>
                <a:gd name="connsiteX7" fmla="*/ 9519 w 144084"/>
                <a:gd name="connsiteY7" fmla="*/ 40975 h 179463"/>
                <a:gd name="connsiteX8" fmla="*/ 0 w 144084"/>
                <a:gd name="connsiteY8" fmla="*/ 97163 h 179463"/>
                <a:gd name="connsiteX9" fmla="*/ 60744 w 144084"/>
                <a:gd name="connsiteY9" fmla="*/ 140694 h 179463"/>
                <a:gd name="connsiteX0" fmla="*/ 60744 w 144084"/>
                <a:gd name="connsiteY0" fmla="*/ 140694 h 179463"/>
                <a:gd name="connsiteX1" fmla="*/ 85721 w 144084"/>
                <a:gd name="connsiteY1" fmla="*/ 179463 h 179463"/>
                <a:gd name="connsiteX2" fmla="*/ 116680 w 144084"/>
                <a:gd name="connsiteY2" fmla="*/ 145500 h 179463"/>
                <a:gd name="connsiteX3" fmla="*/ 144084 w 144084"/>
                <a:gd name="connsiteY3" fmla="*/ 91147 h 179463"/>
                <a:gd name="connsiteX4" fmla="*/ 97653 w 144084"/>
                <a:gd name="connsiteY4" fmla="*/ 45822 h 179463"/>
                <a:gd name="connsiteX5" fmla="*/ 63225 w 144084"/>
                <a:gd name="connsiteY5" fmla="*/ 0 h 179463"/>
                <a:gd name="connsiteX6" fmla="*/ 34170 w 144084"/>
                <a:gd name="connsiteY6" fmla="*/ 7805 h 179463"/>
                <a:gd name="connsiteX7" fmla="*/ 9519 w 144084"/>
                <a:gd name="connsiteY7" fmla="*/ 40975 h 179463"/>
                <a:gd name="connsiteX8" fmla="*/ 0 w 144084"/>
                <a:gd name="connsiteY8" fmla="*/ 97163 h 179463"/>
                <a:gd name="connsiteX9" fmla="*/ 60744 w 144084"/>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07659 w 154090"/>
                <a:gd name="connsiteY4" fmla="*/ 45822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85663"/>
                <a:gd name="connsiteX1" fmla="*/ 108234 w 154090"/>
                <a:gd name="connsiteY1" fmla="*/ 185663 h 185663"/>
                <a:gd name="connsiteX2" fmla="*/ 126686 w 154090"/>
                <a:gd name="connsiteY2" fmla="*/ 145500 h 185663"/>
                <a:gd name="connsiteX3" fmla="*/ 154090 w 154090"/>
                <a:gd name="connsiteY3" fmla="*/ 91147 h 185663"/>
                <a:gd name="connsiteX4" fmla="*/ 125169 w 154090"/>
                <a:gd name="connsiteY4" fmla="*/ 52021 h 185663"/>
                <a:gd name="connsiteX5" fmla="*/ 73231 w 154090"/>
                <a:gd name="connsiteY5" fmla="*/ 0 h 185663"/>
                <a:gd name="connsiteX6" fmla="*/ 44176 w 154090"/>
                <a:gd name="connsiteY6" fmla="*/ 7805 h 185663"/>
                <a:gd name="connsiteX7" fmla="*/ 19525 w 154090"/>
                <a:gd name="connsiteY7" fmla="*/ 40975 h 185663"/>
                <a:gd name="connsiteX8" fmla="*/ 0 w 154090"/>
                <a:gd name="connsiteY8" fmla="*/ 69265 h 185663"/>
                <a:gd name="connsiteX9" fmla="*/ 70750 w 154090"/>
                <a:gd name="connsiteY9" fmla="*/ 140694 h 185663"/>
                <a:gd name="connsiteX0" fmla="*/ 60744 w 144084"/>
                <a:gd name="connsiteY0" fmla="*/ 140694 h 185663"/>
                <a:gd name="connsiteX1" fmla="*/ 98228 w 144084"/>
                <a:gd name="connsiteY1" fmla="*/ 185663 h 185663"/>
                <a:gd name="connsiteX2" fmla="*/ 116680 w 144084"/>
                <a:gd name="connsiteY2" fmla="*/ 145500 h 185663"/>
                <a:gd name="connsiteX3" fmla="*/ 144084 w 144084"/>
                <a:gd name="connsiteY3" fmla="*/ 91147 h 185663"/>
                <a:gd name="connsiteX4" fmla="*/ 115163 w 144084"/>
                <a:gd name="connsiteY4" fmla="*/ 52021 h 185663"/>
                <a:gd name="connsiteX5" fmla="*/ 63225 w 144084"/>
                <a:gd name="connsiteY5" fmla="*/ 0 h 185663"/>
                <a:gd name="connsiteX6" fmla="*/ 34170 w 144084"/>
                <a:gd name="connsiteY6" fmla="*/ 7805 h 185663"/>
                <a:gd name="connsiteX7" fmla="*/ 9519 w 144084"/>
                <a:gd name="connsiteY7" fmla="*/ 40975 h 185663"/>
                <a:gd name="connsiteX8" fmla="*/ 0 w 144084"/>
                <a:gd name="connsiteY8" fmla="*/ 90963 h 185663"/>
                <a:gd name="connsiteX9" fmla="*/ 60744 w 144084"/>
                <a:gd name="connsiteY9" fmla="*/ 140694 h 185663"/>
                <a:gd name="connsiteX0" fmla="*/ 60744 w 144084"/>
                <a:gd name="connsiteY0" fmla="*/ 140694 h 185663"/>
                <a:gd name="connsiteX1" fmla="*/ 98228 w 144084"/>
                <a:gd name="connsiteY1" fmla="*/ 185663 h 185663"/>
                <a:gd name="connsiteX2" fmla="*/ 109176 w 144084"/>
                <a:gd name="connsiteY2" fmla="*/ 126901 h 185663"/>
                <a:gd name="connsiteX3" fmla="*/ 144084 w 144084"/>
                <a:gd name="connsiteY3" fmla="*/ 91147 h 185663"/>
                <a:gd name="connsiteX4" fmla="*/ 115163 w 144084"/>
                <a:gd name="connsiteY4" fmla="*/ 52021 h 185663"/>
                <a:gd name="connsiteX5" fmla="*/ 63225 w 144084"/>
                <a:gd name="connsiteY5" fmla="*/ 0 h 185663"/>
                <a:gd name="connsiteX6" fmla="*/ 34170 w 144084"/>
                <a:gd name="connsiteY6" fmla="*/ 7805 h 185663"/>
                <a:gd name="connsiteX7" fmla="*/ 9519 w 144084"/>
                <a:gd name="connsiteY7" fmla="*/ 40975 h 185663"/>
                <a:gd name="connsiteX8" fmla="*/ 0 w 144084"/>
                <a:gd name="connsiteY8" fmla="*/ 90963 h 185663"/>
                <a:gd name="connsiteX9" fmla="*/ 60744 w 144084"/>
                <a:gd name="connsiteY9" fmla="*/ 140694 h 185663"/>
                <a:gd name="connsiteX0" fmla="*/ 60744 w 144084"/>
                <a:gd name="connsiteY0" fmla="*/ 140694 h 185663"/>
                <a:gd name="connsiteX1" fmla="*/ 98228 w 144084"/>
                <a:gd name="connsiteY1" fmla="*/ 185663 h 185663"/>
                <a:gd name="connsiteX2" fmla="*/ 109176 w 144084"/>
                <a:gd name="connsiteY2" fmla="*/ 126901 h 185663"/>
                <a:gd name="connsiteX3" fmla="*/ 144084 w 144084"/>
                <a:gd name="connsiteY3" fmla="*/ 112846 h 185663"/>
                <a:gd name="connsiteX4" fmla="*/ 115163 w 144084"/>
                <a:gd name="connsiteY4" fmla="*/ 52021 h 185663"/>
                <a:gd name="connsiteX5" fmla="*/ 63225 w 144084"/>
                <a:gd name="connsiteY5" fmla="*/ 0 h 185663"/>
                <a:gd name="connsiteX6" fmla="*/ 34170 w 144084"/>
                <a:gd name="connsiteY6" fmla="*/ 7805 h 185663"/>
                <a:gd name="connsiteX7" fmla="*/ 9519 w 144084"/>
                <a:gd name="connsiteY7" fmla="*/ 40975 h 185663"/>
                <a:gd name="connsiteX8" fmla="*/ 0 w 144084"/>
                <a:gd name="connsiteY8" fmla="*/ 90963 h 185663"/>
                <a:gd name="connsiteX9" fmla="*/ 60744 w 144084"/>
                <a:gd name="connsiteY9" fmla="*/ 140694 h 185663"/>
                <a:gd name="connsiteX0" fmla="*/ 60744 w 159092"/>
                <a:gd name="connsiteY0" fmla="*/ 140694 h 185663"/>
                <a:gd name="connsiteX1" fmla="*/ 98228 w 159092"/>
                <a:gd name="connsiteY1" fmla="*/ 185663 h 185663"/>
                <a:gd name="connsiteX2" fmla="*/ 109176 w 159092"/>
                <a:gd name="connsiteY2" fmla="*/ 126901 h 185663"/>
                <a:gd name="connsiteX3" fmla="*/ 159092 w 159092"/>
                <a:gd name="connsiteY3" fmla="*/ 100447 h 185663"/>
                <a:gd name="connsiteX4" fmla="*/ 115163 w 159092"/>
                <a:gd name="connsiteY4" fmla="*/ 52021 h 185663"/>
                <a:gd name="connsiteX5" fmla="*/ 63225 w 159092"/>
                <a:gd name="connsiteY5" fmla="*/ 0 h 185663"/>
                <a:gd name="connsiteX6" fmla="*/ 34170 w 159092"/>
                <a:gd name="connsiteY6" fmla="*/ 7805 h 185663"/>
                <a:gd name="connsiteX7" fmla="*/ 9519 w 159092"/>
                <a:gd name="connsiteY7" fmla="*/ 40975 h 185663"/>
                <a:gd name="connsiteX8" fmla="*/ 0 w 159092"/>
                <a:gd name="connsiteY8" fmla="*/ 90963 h 185663"/>
                <a:gd name="connsiteX9" fmla="*/ 60744 w 159092"/>
                <a:gd name="connsiteY9" fmla="*/ 140694 h 185663"/>
                <a:gd name="connsiteX0" fmla="*/ 60744 w 141582"/>
                <a:gd name="connsiteY0" fmla="*/ 140694 h 185663"/>
                <a:gd name="connsiteX1" fmla="*/ 98228 w 141582"/>
                <a:gd name="connsiteY1" fmla="*/ 185663 h 185663"/>
                <a:gd name="connsiteX2" fmla="*/ 109176 w 141582"/>
                <a:gd name="connsiteY2" fmla="*/ 126901 h 185663"/>
                <a:gd name="connsiteX3" fmla="*/ 141582 w 141582"/>
                <a:gd name="connsiteY3" fmla="*/ 109746 h 185663"/>
                <a:gd name="connsiteX4" fmla="*/ 115163 w 141582"/>
                <a:gd name="connsiteY4" fmla="*/ 52021 h 185663"/>
                <a:gd name="connsiteX5" fmla="*/ 63225 w 141582"/>
                <a:gd name="connsiteY5" fmla="*/ 0 h 185663"/>
                <a:gd name="connsiteX6" fmla="*/ 34170 w 141582"/>
                <a:gd name="connsiteY6" fmla="*/ 7805 h 185663"/>
                <a:gd name="connsiteX7" fmla="*/ 9519 w 141582"/>
                <a:gd name="connsiteY7" fmla="*/ 40975 h 185663"/>
                <a:gd name="connsiteX8" fmla="*/ 0 w 141582"/>
                <a:gd name="connsiteY8" fmla="*/ 90963 h 185663"/>
                <a:gd name="connsiteX9" fmla="*/ 60744 w 141582"/>
                <a:gd name="connsiteY9" fmla="*/ 140694 h 185663"/>
                <a:gd name="connsiteX0" fmla="*/ 66233 w 147071"/>
                <a:gd name="connsiteY0" fmla="*/ 140694 h 185663"/>
                <a:gd name="connsiteX1" fmla="*/ 103717 w 147071"/>
                <a:gd name="connsiteY1" fmla="*/ 185663 h 185663"/>
                <a:gd name="connsiteX2" fmla="*/ 114665 w 147071"/>
                <a:gd name="connsiteY2" fmla="*/ 126901 h 185663"/>
                <a:gd name="connsiteX3" fmla="*/ 147071 w 147071"/>
                <a:gd name="connsiteY3" fmla="*/ 109746 h 185663"/>
                <a:gd name="connsiteX4" fmla="*/ 120652 w 147071"/>
                <a:gd name="connsiteY4" fmla="*/ 52021 h 185663"/>
                <a:gd name="connsiteX5" fmla="*/ 68714 w 147071"/>
                <a:gd name="connsiteY5" fmla="*/ 0 h 185663"/>
                <a:gd name="connsiteX6" fmla="*/ 39659 w 147071"/>
                <a:gd name="connsiteY6" fmla="*/ 7805 h 185663"/>
                <a:gd name="connsiteX7" fmla="*/ 0 w 147071"/>
                <a:gd name="connsiteY7" fmla="*/ 59574 h 185663"/>
                <a:gd name="connsiteX8" fmla="*/ 5489 w 147071"/>
                <a:gd name="connsiteY8" fmla="*/ 90963 h 185663"/>
                <a:gd name="connsiteX9" fmla="*/ 66233 w 147071"/>
                <a:gd name="connsiteY9" fmla="*/ 140694 h 185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071" h="185663">
                  <a:moveTo>
                    <a:pt x="66233" y="140694"/>
                  </a:moveTo>
                  <a:lnTo>
                    <a:pt x="103717" y="185663"/>
                  </a:lnTo>
                  <a:lnTo>
                    <a:pt x="114665" y="126901"/>
                  </a:lnTo>
                  <a:lnTo>
                    <a:pt x="147071" y="109746"/>
                  </a:lnTo>
                  <a:cubicBezTo>
                    <a:pt x="137431" y="96704"/>
                    <a:pt x="130292" y="71263"/>
                    <a:pt x="120652" y="52021"/>
                  </a:cubicBezTo>
                  <a:cubicBezTo>
                    <a:pt x="95835" y="34681"/>
                    <a:pt x="86027" y="17340"/>
                    <a:pt x="68714" y="0"/>
                  </a:cubicBezTo>
                  <a:lnTo>
                    <a:pt x="39659" y="7805"/>
                  </a:lnTo>
                  <a:lnTo>
                    <a:pt x="0" y="59574"/>
                  </a:lnTo>
                  <a:lnTo>
                    <a:pt x="5489" y="90963"/>
                  </a:lnTo>
                  <a:lnTo>
                    <a:pt x="66233" y="140694"/>
                  </a:lnTo>
                  <a:close/>
                </a:path>
              </a:pathLst>
            </a:custGeom>
            <a:solidFill>
              <a:schemeClr val="bg1">
                <a:lumMod val="95000"/>
              </a:schemeClr>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eaLnBrk="0" fontAlgn="auto" hangingPunct="0">
                <a:spcBef>
                  <a:spcPts val="0"/>
                </a:spcBef>
                <a:spcAft>
                  <a:spcPts val="0"/>
                </a:spcAft>
                <a:defRPr/>
              </a:pPr>
              <a:endParaRPr lang="en-IE" sz="2400" b="1" dirty="0">
                <a:solidFill>
                  <a:srgbClr val="000000"/>
                </a:solidFill>
              </a:endParaRPr>
            </a:p>
          </p:txBody>
        </p:sp>
        <p:sp>
          <p:nvSpPr>
            <p:cNvPr id="45" name="SP"/>
            <p:cNvSpPr>
              <a:spLocks/>
            </p:cNvSpPr>
            <p:nvPr/>
          </p:nvSpPr>
          <p:spPr bwMode="auto">
            <a:xfrm rot="515399">
              <a:off x="4479925" y="2357438"/>
              <a:ext cx="427038" cy="566737"/>
            </a:xfrm>
            <a:custGeom>
              <a:avLst/>
              <a:gdLst>
                <a:gd name="T0" fmla="*/ 2147483647 w 104"/>
                <a:gd name="T1" fmla="*/ 2147483647 h 159"/>
                <a:gd name="T2" fmla="*/ 2147483647 w 104"/>
                <a:gd name="T3" fmla="*/ 2147483647 h 159"/>
                <a:gd name="T4" fmla="*/ 2147483647 w 104"/>
                <a:gd name="T5" fmla="*/ 2147483647 h 159"/>
                <a:gd name="T6" fmla="*/ 2147483647 w 104"/>
                <a:gd name="T7" fmla="*/ 2147483647 h 159"/>
                <a:gd name="T8" fmla="*/ 2147483647 w 104"/>
                <a:gd name="T9" fmla="*/ 2147483647 h 159"/>
                <a:gd name="T10" fmla="*/ 2147483647 w 104"/>
                <a:gd name="T11" fmla="*/ 2147483647 h 159"/>
                <a:gd name="T12" fmla="*/ 2147483647 w 104"/>
                <a:gd name="T13" fmla="*/ 2147483647 h 159"/>
                <a:gd name="T14" fmla="*/ 2147483647 w 104"/>
                <a:gd name="T15" fmla="*/ 2147483647 h 159"/>
                <a:gd name="T16" fmla="*/ 2147483647 w 104"/>
                <a:gd name="T17" fmla="*/ 2147483647 h 159"/>
                <a:gd name="T18" fmla="*/ 2147483647 w 104"/>
                <a:gd name="T19" fmla="*/ 2147483647 h 159"/>
                <a:gd name="T20" fmla="*/ 2147483647 w 104"/>
                <a:gd name="T21" fmla="*/ 2147483647 h 159"/>
                <a:gd name="T22" fmla="*/ 2147483647 w 104"/>
                <a:gd name="T23" fmla="*/ 2147483647 h 159"/>
                <a:gd name="T24" fmla="*/ 2147483647 w 104"/>
                <a:gd name="T25" fmla="*/ 2147483647 h 159"/>
                <a:gd name="T26" fmla="*/ 2147483647 w 104"/>
                <a:gd name="T27" fmla="*/ 2147483647 h 159"/>
                <a:gd name="T28" fmla="*/ 2147483647 w 104"/>
                <a:gd name="T29" fmla="*/ 2147483647 h 159"/>
                <a:gd name="T30" fmla="*/ 2147483647 w 104"/>
                <a:gd name="T31" fmla="*/ 2147483647 h 159"/>
                <a:gd name="T32" fmla="*/ 2147483647 w 104"/>
                <a:gd name="T33" fmla="*/ 2147483647 h 159"/>
                <a:gd name="T34" fmla="*/ 0 w 104"/>
                <a:gd name="T35" fmla="*/ 2147483647 h 159"/>
                <a:gd name="T36" fmla="*/ 2147483647 w 104"/>
                <a:gd name="T37" fmla="*/ 2147483647 h 159"/>
                <a:gd name="T38" fmla="*/ 2147483647 w 104"/>
                <a:gd name="T39" fmla="*/ 2147483647 h 159"/>
                <a:gd name="T40" fmla="*/ 0 w 104"/>
                <a:gd name="T41" fmla="*/ 2147483647 h 159"/>
                <a:gd name="T42" fmla="*/ 2147483647 w 104"/>
                <a:gd name="T43" fmla="*/ 2147483647 h 159"/>
                <a:gd name="T44" fmla="*/ 2147483647 w 104"/>
                <a:gd name="T45" fmla="*/ 2147483647 h 159"/>
                <a:gd name="T46" fmla="*/ 2147483647 w 104"/>
                <a:gd name="T47" fmla="*/ 2147483647 h 159"/>
                <a:gd name="T48" fmla="*/ 2147483647 w 104"/>
                <a:gd name="T49" fmla="*/ 2147483647 h 159"/>
                <a:gd name="T50" fmla="*/ 2147483647 w 104"/>
                <a:gd name="T51" fmla="*/ 2147483647 h 159"/>
                <a:gd name="T52" fmla="*/ 2147483647 w 104"/>
                <a:gd name="T53" fmla="*/ 2147483647 h 159"/>
                <a:gd name="T54" fmla="*/ 2147483647 w 104"/>
                <a:gd name="T55" fmla="*/ 2147483647 h 159"/>
                <a:gd name="T56" fmla="*/ 2147483647 w 104"/>
                <a:gd name="T57" fmla="*/ 2147483647 h 159"/>
                <a:gd name="T58" fmla="*/ 2147483647 w 104"/>
                <a:gd name="T59" fmla="*/ 0 h 159"/>
                <a:gd name="T60" fmla="*/ 2147483647 w 104"/>
                <a:gd name="T61" fmla="*/ 0 h 159"/>
                <a:gd name="T62" fmla="*/ 2147483647 w 104"/>
                <a:gd name="T63" fmla="*/ 2147483647 h 159"/>
                <a:gd name="T64" fmla="*/ 2147483647 w 104"/>
                <a:gd name="T65" fmla="*/ 2147483647 h 159"/>
                <a:gd name="T66" fmla="*/ 2147483647 w 104"/>
                <a:gd name="T67" fmla="*/ 2147483647 h 159"/>
                <a:gd name="T68" fmla="*/ 2147483647 w 104"/>
                <a:gd name="T69" fmla="*/ 2147483647 h 159"/>
                <a:gd name="T70" fmla="*/ 2147483647 w 104"/>
                <a:gd name="T71" fmla="*/ 2147483647 h 159"/>
                <a:gd name="T72" fmla="*/ 2147483647 w 104"/>
                <a:gd name="T73" fmla="*/ 2147483647 h 159"/>
                <a:gd name="T74" fmla="*/ 2147483647 w 104"/>
                <a:gd name="T75" fmla="*/ 2147483647 h 159"/>
                <a:gd name="T76" fmla="*/ 2147483647 w 104"/>
                <a:gd name="T77" fmla="*/ 2147483647 h 159"/>
                <a:gd name="T78" fmla="*/ 2147483647 w 104"/>
                <a:gd name="T79" fmla="*/ 2147483647 h 159"/>
                <a:gd name="T80" fmla="*/ 2147483647 w 104"/>
                <a:gd name="T81" fmla="*/ 2147483647 h 159"/>
                <a:gd name="T82" fmla="*/ 2147483647 w 104"/>
                <a:gd name="T83" fmla="*/ 2147483647 h 159"/>
                <a:gd name="T84" fmla="*/ 2147483647 w 104"/>
                <a:gd name="T85" fmla="*/ 2147483647 h 159"/>
                <a:gd name="T86" fmla="*/ 2147483647 w 104"/>
                <a:gd name="T87" fmla="*/ 2147483647 h 159"/>
                <a:gd name="T88" fmla="*/ 2147483647 w 104"/>
                <a:gd name="T89" fmla="*/ 2147483647 h 159"/>
                <a:gd name="T90" fmla="*/ 2147483647 w 104"/>
                <a:gd name="T91" fmla="*/ 2147483647 h 159"/>
                <a:gd name="T92" fmla="*/ 2147483647 w 104"/>
                <a:gd name="T93" fmla="*/ 2147483647 h 15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4"/>
                <a:gd name="T142" fmla="*/ 0 h 159"/>
                <a:gd name="T143" fmla="*/ 104 w 104"/>
                <a:gd name="T144" fmla="*/ 159 h 159"/>
                <a:gd name="connsiteX0" fmla="*/ 7885 w 10000"/>
                <a:gd name="connsiteY0" fmla="*/ 7610 h 10000"/>
                <a:gd name="connsiteX1" fmla="*/ 4712 w 10000"/>
                <a:gd name="connsiteY1" fmla="*/ 9686 h 10000"/>
                <a:gd name="connsiteX2" fmla="*/ 2500 w 10000"/>
                <a:gd name="connsiteY2" fmla="*/ 9686 h 10000"/>
                <a:gd name="connsiteX3" fmla="*/ 1923 w 10000"/>
                <a:gd name="connsiteY3" fmla="*/ 9434 h 10000"/>
                <a:gd name="connsiteX4" fmla="*/ 1635 w 10000"/>
                <a:gd name="connsiteY4" fmla="*/ 10000 h 10000"/>
                <a:gd name="connsiteX5" fmla="*/ 769 w 10000"/>
                <a:gd name="connsiteY5" fmla="*/ 9497 h 10000"/>
                <a:gd name="connsiteX6" fmla="*/ 769 w 10000"/>
                <a:gd name="connsiteY6" fmla="*/ 8931 h 10000"/>
                <a:gd name="connsiteX7" fmla="*/ 2212 w 10000"/>
                <a:gd name="connsiteY7" fmla="*/ 8050 h 10000"/>
                <a:gd name="connsiteX8" fmla="*/ 1635 w 10000"/>
                <a:gd name="connsiteY8" fmla="*/ 7547 h 10000"/>
                <a:gd name="connsiteX9" fmla="*/ 2212 w 10000"/>
                <a:gd name="connsiteY9" fmla="*/ 7107 h 10000"/>
                <a:gd name="connsiteX10" fmla="*/ 3173 w 10000"/>
                <a:gd name="connsiteY10" fmla="*/ 7170 h 10000"/>
                <a:gd name="connsiteX11" fmla="*/ 2981 w 10000"/>
                <a:gd name="connsiteY11" fmla="*/ 6667 h 10000"/>
                <a:gd name="connsiteX12" fmla="*/ 2212 w 10000"/>
                <a:gd name="connsiteY12" fmla="*/ 6667 h 10000"/>
                <a:gd name="connsiteX13" fmla="*/ 2212 w 10000"/>
                <a:gd name="connsiteY13" fmla="*/ 6289 h 10000"/>
                <a:gd name="connsiteX14" fmla="*/ 1538 w 10000"/>
                <a:gd name="connsiteY14" fmla="*/ 6226 h 10000"/>
                <a:gd name="connsiteX15" fmla="*/ 1154 w 10000"/>
                <a:gd name="connsiteY15" fmla="*/ 6604 h 10000"/>
                <a:gd name="connsiteX16" fmla="*/ 577 w 10000"/>
                <a:gd name="connsiteY16" fmla="*/ 6352 h 10000"/>
                <a:gd name="connsiteX17" fmla="*/ 0 w 10000"/>
                <a:gd name="connsiteY17" fmla="*/ 6352 h 10000"/>
                <a:gd name="connsiteX18" fmla="*/ 1462 w 10000"/>
                <a:gd name="connsiteY18" fmla="*/ 5188 h 10000"/>
                <a:gd name="connsiteX19" fmla="*/ 2212 w 10000"/>
                <a:gd name="connsiteY19" fmla="*/ 4277 h 10000"/>
                <a:gd name="connsiteX20" fmla="*/ 0 w 10000"/>
                <a:gd name="connsiteY20" fmla="*/ 4969 h 10000"/>
                <a:gd name="connsiteX21" fmla="*/ 865 w 10000"/>
                <a:gd name="connsiteY21" fmla="*/ 4214 h 10000"/>
                <a:gd name="connsiteX22" fmla="*/ 865 w 10000"/>
                <a:gd name="connsiteY22" fmla="*/ 3648 h 10000"/>
                <a:gd name="connsiteX23" fmla="*/ 1731 w 10000"/>
                <a:gd name="connsiteY23" fmla="*/ 3711 h 10000"/>
                <a:gd name="connsiteX24" fmla="*/ 1635 w 10000"/>
                <a:gd name="connsiteY24" fmla="*/ 2767 h 10000"/>
                <a:gd name="connsiteX25" fmla="*/ 962 w 10000"/>
                <a:gd name="connsiteY25" fmla="*/ 2579 h 10000"/>
                <a:gd name="connsiteX26" fmla="*/ 2019 w 10000"/>
                <a:gd name="connsiteY26" fmla="*/ 1761 h 10000"/>
                <a:gd name="connsiteX27" fmla="*/ 3269 w 10000"/>
                <a:gd name="connsiteY27" fmla="*/ 1824 h 10000"/>
                <a:gd name="connsiteX28" fmla="*/ 3269 w 10000"/>
                <a:gd name="connsiteY28" fmla="*/ 881 h 10000"/>
                <a:gd name="connsiteX29" fmla="*/ 3750 w 10000"/>
                <a:gd name="connsiteY29" fmla="*/ 0 h 10000"/>
                <a:gd name="connsiteX30" fmla="*/ 4327 w 10000"/>
                <a:gd name="connsiteY30" fmla="*/ 0 h 10000"/>
                <a:gd name="connsiteX31" fmla="*/ 4327 w 10000"/>
                <a:gd name="connsiteY31" fmla="*/ 440 h 10000"/>
                <a:gd name="connsiteX32" fmla="*/ 7692 w 10000"/>
                <a:gd name="connsiteY32" fmla="*/ 440 h 10000"/>
                <a:gd name="connsiteX33" fmla="*/ 4519 w 10000"/>
                <a:gd name="connsiteY33" fmla="*/ 2579 h 10000"/>
                <a:gd name="connsiteX34" fmla="*/ 5096 w 10000"/>
                <a:gd name="connsiteY34" fmla="*/ 2830 h 10000"/>
                <a:gd name="connsiteX35" fmla="*/ 10000 w 10000"/>
                <a:gd name="connsiteY35" fmla="*/ 2830 h 10000"/>
                <a:gd name="connsiteX36" fmla="*/ 7788 w 10000"/>
                <a:gd name="connsiteY36" fmla="*/ 5786 h 10000"/>
                <a:gd name="connsiteX37" fmla="*/ 5385 w 10000"/>
                <a:gd name="connsiteY37" fmla="*/ 5723 h 10000"/>
                <a:gd name="connsiteX38" fmla="*/ 5385 w 10000"/>
                <a:gd name="connsiteY38" fmla="*/ 6164 h 10000"/>
                <a:gd name="connsiteX39" fmla="*/ 6731 w 10000"/>
                <a:gd name="connsiteY39" fmla="*/ 6164 h 10000"/>
                <a:gd name="connsiteX40" fmla="*/ 7212 w 10000"/>
                <a:gd name="connsiteY40" fmla="*/ 6478 h 10000"/>
                <a:gd name="connsiteX41" fmla="*/ 4712 w 10000"/>
                <a:gd name="connsiteY41" fmla="*/ 6604 h 10000"/>
                <a:gd name="connsiteX42" fmla="*/ 4135 w 10000"/>
                <a:gd name="connsiteY42" fmla="*/ 6289 h 10000"/>
                <a:gd name="connsiteX43" fmla="*/ 4135 w 10000"/>
                <a:gd name="connsiteY43" fmla="*/ 6855 h 10000"/>
                <a:gd name="connsiteX44" fmla="*/ 4712 w 10000"/>
                <a:gd name="connsiteY44" fmla="*/ 7233 h 10000"/>
                <a:gd name="connsiteX45" fmla="*/ 7212 w 10000"/>
                <a:gd name="connsiteY45" fmla="*/ 7233 h 10000"/>
                <a:gd name="connsiteX46" fmla="*/ 7885 w 10000"/>
                <a:gd name="connsiteY46" fmla="*/ 7610 h 10000"/>
                <a:gd name="connsiteX0" fmla="*/ 7885 w 10000"/>
                <a:gd name="connsiteY0" fmla="*/ 7610 h 10000"/>
                <a:gd name="connsiteX1" fmla="*/ 4712 w 10000"/>
                <a:gd name="connsiteY1" fmla="*/ 9686 h 10000"/>
                <a:gd name="connsiteX2" fmla="*/ 2500 w 10000"/>
                <a:gd name="connsiteY2" fmla="*/ 9686 h 10000"/>
                <a:gd name="connsiteX3" fmla="*/ 1923 w 10000"/>
                <a:gd name="connsiteY3" fmla="*/ 9434 h 10000"/>
                <a:gd name="connsiteX4" fmla="*/ 1635 w 10000"/>
                <a:gd name="connsiteY4" fmla="*/ 10000 h 10000"/>
                <a:gd name="connsiteX5" fmla="*/ 769 w 10000"/>
                <a:gd name="connsiteY5" fmla="*/ 9497 h 10000"/>
                <a:gd name="connsiteX6" fmla="*/ 769 w 10000"/>
                <a:gd name="connsiteY6" fmla="*/ 8931 h 10000"/>
                <a:gd name="connsiteX7" fmla="*/ 2212 w 10000"/>
                <a:gd name="connsiteY7" fmla="*/ 8050 h 10000"/>
                <a:gd name="connsiteX8" fmla="*/ 1635 w 10000"/>
                <a:gd name="connsiteY8" fmla="*/ 7547 h 10000"/>
                <a:gd name="connsiteX9" fmla="*/ 2212 w 10000"/>
                <a:gd name="connsiteY9" fmla="*/ 7107 h 10000"/>
                <a:gd name="connsiteX10" fmla="*/ 3173 w 10000"/>
                <a:gd name="connsiteY10" fmla="*/ 7170 h 10000"/>
                <a:gd name="connsiteX11" fmla="*/ 2981 w 10000"/>
                <a:gd name="connsiteY11" fmla="*/ 6667 h 10000"/>
                <a:gd name="connsiteX12" fmla="*/ 2212 w 10000"/>
                <a:gd name="connsiteY12" fmla="*/ 6667 h 10000"/>
                <a:gd name="connsiteX13" fmla="*/ 2212 w 10000"/>
                <a:gd name="connsiteY13" fmla="*/ 6289 h 10000"/>
                <a:gd name="connsiteX14" fmla="*/ 1538 w 10000"/>
                <a:gd name="connsiteY14" fmla="*/ 6226 h 10000"/>
                <a:gd name="connsiteX15" fmla="*/ 1154 w 10000"/>
                <a:gd name="connsiteY15" fmla="*/ 6604 h 10000"/>
                <a:gd name="connsiteX16" fmla="*/ 577 w 10000"/>
                <a:gd name="connsiteY16" fmla="*/ 6352 h 10000"/>
                <a:gd name="connsiteX17" fmla="*/ 0 w 10000"/>
                <a:gd name="connsiteY17" fmla="*/ 6352 h 10000"/>
                <a:gd name="connsiteX18" fmla="*/ 1462 w 10000"/>
                <a:gd name="connsiteY18" fmla="*/ 5188 h 10000"/>
                <a:gd name="connsiteX19" fmla="*/ 1090 w 10000"/>
                <a:gd name="connsiteY19" fmla="*/ 5121 h 10000"/>
                <a:gd name="connsiteX20" fmla="*/ 2212 w 10000"/>
                <a:gd name="connsiteY20" fmla="*/ 4277 h 10000"/>
                <a:gd name="connsiteX21" fmla="*/ 0 w 10000"/>
                <a:gd name="connsiteY21" fmla="*/ 4969 h 10000"/>
                <a:gd name="connsiteX22" fmla="*/ 865 w 10000"/>
                <a:gd name="connsiteY22" fmla="*/ 4214 h 10000"/>
                <a:gd name="connsiteX23" fmla="*/ 865 w 10000"/>
                <a:gd name="connsiteY23" fmla="*/ 3648 h 10000"/>
                <a:gd name="connsiteX24" fmla="*/ 1731 w 10000"/>
                <a:gd name="connsiteY24" fmla="*/ 3711 h 10000"/>
                <a:gd name="connsiteX25" fmla="*/ 1635 w 10000"/>
                <a:gd name="connsiteY25" fmla="*/ 2767 h 10000"/>
                <a:gd name="connsiteX26" fmla="*/ 962 w 10000"/>
                <a:gd name="connsiteY26" fmla="*/ 2579 h 10000"/>
                <a:gd name="connsiteX27" fmla="*/ 2019 w 10000"/>
                <a:gd name="connsiteY27" fmla="*/ 1761 h 10000"/>
                <a:gd name="connsiteX28" fmla="*/ 3269 w 10000"/>
                <a:gd name="connsiteY28" fmla="*/ 1824 h 10000"/>
                <a:gd name="connsiteX29" fmla="*/ 3269 w 10000"/>
                <a:gd name="connsiteY29" fmla="*/ 881 h 10000"/>
                <a:gd name="connsiteX30" fmla="*/ 3750 w 10000"/>
                <a:gd name="connsiteY30" fmla="*/ 0 h 10000"/>
                <a:gd name="connsiteX31" fmla="*/ 4327 w 10000"/>
                <a:gd name="connsiteY31" fmla="*/ 0 h 10000"/>
                <a:gd name="connsiteX32" fmla="*/ 4327 w 10000"/>
                <a:gd name="connsiteY32" fmla="*/ 440 h 10000"/>
                <a:gd name="connsiteX33" fmla="*/ 7692 w 10000"/>
                <a:gd name="connsiteY33" fmla="*/ 440 h 10000"/>
                <a:gd name="connsiteX34" fmla="*/ 4519 w 10000"/>
                <a:gd name="connsiteY34" fmla="*/ 2579 h 10000"/>
                <a:gd name="connsiteX35" fmla="*/ 5096 w 10000"/>
                <a:gd name="connsiteY35" fmla="*/ 2830 h 10000"/>
                <a:gd name="connsiteX36" fmla="*/ 10000 w 10000"/>
                <a:gd name="connsiteY36" fmla="*/ 2830 h 10000"/>
                <a:gd name="connsiteX37" fmla="*/ 7788 w 10000"/>
                <a:gd name="connsiteY37" fmla="*/ 5786 h 10000"/>
                <a:gd name="connsiteX38" fmla="*/ 5385 w 10000"/>
                <a:gd name="connsiteY38" fmla="*/ 5723 h 10000"/>
                <a:gd name="connsiteX39" fmla="*/ 5385 w 10000"/>
                <a:gd name="connsiteY39" fmla="*/ 6164 h 10000"/>
                <a:gd name="connsiteX40" fmla="*/ 6731 w 10000"/>
                <a:gd name="connsiteY40" fmla="*/ 6164 h 10000"/>
                <a:gd name="connsiteX41" fmla="*/ 7212 w 10000"/>
                <a:gd name="connsiteY41" fmla="*/ 6478 h 10000"/>
                <a:gd name="connsiteX42" fmla="*/ 4712 w 10000"/>
                <a:gd name="connsiteY42" fmla="*/ 6604 h 10000"/>
                <a:gd name="connsiteX43" fmla="*/ 4135 w 10000"/>
                <a:gd name="connsiteY43" fmla="*/ 6289 h 10000"/>
                <a:gd name="connsiteX44" fmla="*/ 4135 w 10000"/>
                <a:gd name="connsiteY44" fmla="*/ 6855 h 10000"/>
                <a:gd name="connsiteX45" fmla="*/ 4712 w 10000"/>
                <a:gd name="connsiteY45" fmla="*/ 7233 h 10000"/>
                <a:gd name="connsiteX46" fmla="*/ 7212 w 10000"/>
                <a:gd name="connsiteY46" fmla="*/ 7233 h 10000"/>
                <a:gd name="connsiteX47" fmla="*/ 7885 w 10000"/>
                <a:gd name="connsiteY47" fmla="*/ 7610 h 10000"/>
                <a:gd name="connsiteX0" fmla="*/ 7885 w 10000"/>
                <a:gd name="connsiteY0" fmla="*/ 7610 h 10000"/>
                <a:gd name="connsiteX1" fmla="*/ 4712 w 10000"/>
                <a:gd name="connsiteY1" fmla="*/ 9686 h 10000"/>
                <a:gd name="connsiteX2" fmla="*/ 2500 w 10000"/>
                <a:gd name="connsiteY2" fmla="*/ 9686 h 10000"/>
                <a:gd name="connsiteX3" fmla="*/ 1923 w 10000"/>
                <a:gd name="connsiteY3" fmla="*/ 9434 h 10000"/>
                <a:gd name="connsiteX4" fmla="*/ 1635 w 10000"/>
                <a:gd name="connsiteY4" fmla="*/ 10000 h 10000"/>
                <a:gd name="connsiteX5" fmla="*/ 769 w 10000"/>
                <a:gd name="connsiteY5" fmla="*/ 9497 h 10000"/>
                <a:gd name="connsiteX6" fmla="*/ 769 w 10000"/>
                <a:gd name="connsiteY6" fmla="*/ 8931 h 10000"/>
                <a:gd name="connsiteX7" fmla="*/ 2212 w 10000"/>
                <a:gd name="connsiteY7" fmla="*/ 8050 h 10000"/>
                <a:gd name="connsiteX8" fmla="*/ 1635 w 10000"/>
                <a:gd name="connsiteY8" fmla="*/ 7547 h 10000"/>
                <a:gd name="connsiteX9" fmla="*/ 2212 w 10000"/>
                <a:gd name="connsiteY9" fmla="*/ 7107 h 10000"/>
                <a:gd name="connsiteX10" fmla="*/ 3173 w 10000"/>
                <a:gd name="connsiteY10" fmla="*/ 7170 h 10000"/>
                <a:gd name="connsiteX11" fmla="*/ 2981 w 10000"/>
                <a:gd name="connsiteY11" fmla="*/ 6667 h 10000"/>
                <a:gd name="connsiteX12" fmla="*/ 2212 w 10000"/>
                <a:gd name="connsiteY12" fmla="*/ 6667 h 10000"/>
                <a:gd name="connsiteX13" fmla="*/ 2212 w 10000"/>
                <a:gd name="connsiteY13" fmla="*/ 6289 h 10000"/>
                <a:gd name="connsiteX14" fmla="*/ 1538 w 10000"/>
                <a:gd name="connsiteY14" fmla="*/ 6226 h 10000"/>
                <a:gd name="connsiteX15" fmla="*/ 1154 w 10000"/>
                <a:gd name="connsiteY15" fmla="*/ 6604 h 10000"/>
                <a:gd name="connsiteX16" fmla="*/ 577 w 10000"/>
                <a:gd name="connsiteY16" fmla="*/ 6352 h 10000"/>
                <a:gd name="connsiteX17" fmla="*/ 0 w 10000"/>
                <a:gd name="connsiteY17" fmla="*/ 6352 h 10000"/>
                <a:gd name="connsiteX18" fmla="*/ 1462 w 10000"/>
                <a:gd name="connsiteY18" fmla="*/ 5188 h 10000"/>
                <a:gd name="connsiteX19" fmla="*/ 1090 w 10000"/>
                <a:gd name="connsiteY19" fmla="*/ 5121 h 10000"/>
                <a:gd name="connsiteX20" fmla="*/ 789 w 10000"/>
                <a:gd name="connsiteY20" fmla="*/ 5057 h 10000"/>
                <a:gd name="connsiteX21" fmla="*/ 0 w 10000"/>
                <a:gd name="connsiteY21" fmla="*/ 4969 h 10000"/>
                <a:gd name="connsiteX22" fmla="*/ 865 w 10000"/>
                <a:gd name="connsiteY22" fmla="*/ 4214 h 10000"/>
                <a:gd name="connsiteX23" fmla="*/ 865 w 10000"/>
                <a:gd name="connsiteY23" fmla="*/ 3648 h 10000"/>
                <a:gd name="connsiteX24" fmla="*/ 1731 w 10000"/>
                <a:gd name="connsiteY24" fmla="*/ 3711 h 10000"/>
                <a:gd name="connsiteX25" fmla="*/ 1635 w 10000"/>
                <a:gd name="connsiteY25" fmla="*/ 2767 h 10000"/>
                <a:gd name="connsiteX26" fmla="*/ 962 w 10000"/>
                <a:gd name="connsiteY26" fmla="*/ 2579 h 10000"/>
                <a:gd name="connsiteX27" fmla="*/ 2019 w 10000"/>
                <a:gd name="connsiteY27" fmla="*/ 1761 h 10000"/>
                <a:gd name="connsiteX28" fmla="*/ 3269 w 10000"/>
                <a:gd name="connsiteY28" fmla="*/ 1824 h 10000"/>
                <a:gd name="connsiteX29" fmla="*/ 3269 w 10000"/>
                <a:gd name="connsiteY29" fmla="*/ 881 h 10000"/>
                <a:gd name="connsiteX30" fmla="*/ 3750 w 10000"/>
                <a:gd name="connsiteY30" fmla="*/ 0 h 10000"/>
                <a:gd name="connsiteX31" fmla="*/ 4327 w 10000"/>
                <a:gd name="connsiteY31" fmla="*/ 0 h 10000"/>
                <a:gd name="connsiteX32" fmla="*/ 4327 w 10000"/>
                <a:gd name="connsiteY32" fmla="*/ 440 h 10000"/>
                <a:gd name="connsiteX33" fmla="*/ 7692 w 10000"/>
                <a:gd name="connsiteY33" fmla="*/ 440 h 10000"/>
                <a:gd name="connsiteX34" fmla="*/ 4519 w 10000"/>
                <a:gd name="connsiteY34" fmla="*/ 2579 h 10000"/>
                <a:gd name="connsiteX35" fmla="*/ 5096 w 10000"/>
                <a:gd name="connsiteY35" fmla="*/ 2830 h 10000"/>
                <a:gd name="connsiteX36" fmla="*/ 10000 w 10000"/>
                <a:gd name="connsiteY36" fmla="*/ 2830 h 10000"/>
                <a:gd name="connsiteX37" fmla="*/ 7788 w 10000"/>
                <a:gd name="connsiteY37" fmla="*/ 5786 h 10000"/>
                <a:gd name="connsiteX38" fmla="*/ 5385 w 10000"/>
                <a:gd name="connsiteY38" fmla="*/ 5723 h 10000"/>
                <a:gd name="connsiteX39" fmla="*/ 5385 w 10000"/>
                <a:gd name="connsiteY39" fmla="*/ 6164 h 10000"/>
                <a:gd name="connsiteX40" fmla="*/ 6731 w 10000"/>
                <a:gd name="connsiteY40" fmla="*/ 6164 h 10000"/>
                <a:gd name="connsiteX41" fmla="*/ 7212 w 10000"/>
                <a:gd name="connsiteY41" fmla="*/ 6478 h 10000"/>
                <a:gd name="connsiteX42" fmla="*/ 4712 w 10000"/>
                <a:gd name="connsiteY42" fmla="*/ 6604 h 10000"/>
                <a:gd name="connsiteX43" fmla="*/ 4135 w 10000"/>
                <a:gd name="connsiteY43" fmla="*/ 6289 h 10000"/>
                <a:gd name="connsiteX44" fmla="*/ 4135 w 10000"/>
                <a:gd name="connsiteY44" fmla="*/ 6855 h 10000"/>
                <a:gd name="connsiteX45" fmla="*/ 4712 w 10000"/>
                <a:gd name="connsiteY45" fmla="*/ 7233 h 10000"/>
                <a:gd name="connsiteX46" fmla="*/ 7212 w 10000"/>
                <a:gd name="connsiteY46" fmla="*/ 7233 h 10000"/>
                <a:gd name="connsiteX47" fmla="*/ 7885 w 10000"/>
                <a:gd name="connsiteY47" fmla="*/ 7610 h 10000"/>
                <a:gd name="connsiteX0" fmla="*/ 7885 w 9771"/>
                <a:gd name="connsiteY0" fmla="*/ 7610 h 10000"/>
                <a:gd name="connsiteX1" fmla="*/ 4712 w 9771"/>
                <a:gd name="connsiteY1" fmla="*/ 9686 h 10000"/>
                <a:gd name="connsiteX2" fmla="*/ 2500 w 9771"/>
                <a:gd name="connsiteY2" fmla="*/ 9686 h 10000"/>
                <a:gd name="connsiteX3" fmla="*/ 1923 w 9771"/>
                <a:gd name="connsiteY3" fmla="*/ 9434 h 10000"/>
                <a:gd name="connsiteX4" fmla="*/ 1635 w 9771"/>
                <a:gd name="connsiteY4" fmla="*/ 10000 h 10000"/>
                <a:gd name="connsiteX5" fmla="*/ 769 w 9771"/>
                <a:gd name="connsiteY5" fmla="*/ 9497 h 10000"/>
                <a:gd name="connsiteX6" fmla="*/ 769 w 9771"/>
                <a:gd name="connsiteY6" fmla="*/ 8931 h 10000"/>
                <a:gd name="connsiteX7" fmla="*/ 2212 w 9771"/>
                <a:gd name="connsiteY7" fmla="*/ 8050 h 10000"/>
                <a:gd name="connsiteX8" fmla="*/ 1635 w 9771"/>
                <a:gd name="connsiteY8" fmla="*/ 7547 h 10000"/>
                <a:gd name="connsiteX9" fmla="*/ 2212 w 9771"/>
                <a:gd name="connsiteY9" fmla="*/ 7107 h 10000"/>
                <a:gd name="connsiteX10" fmla="*/ 3173 w 9771"/>
                <a:gd name="connsiteY10" fmla="*/ 7170 h 10000"/>
                <a:gd name="connsiteX11" fmla="*/ 2981 w 9771"/>
                <a:gd name="connsiteY11" fmla="*/ 6667 h 10000"/>
                <a:gd name="connsiteX12" fmla="*/ 2212 w 9771"/>
                <a:gd name="connsiteY12" fmla="*/ 6667 h 10000"/>
                <a:gd name="connsiteX13" fmla="*/ 2212 w 9771"/>
                <a:gd name="connsiteY13" fmla="*/ 6289 h 10000"/>
                <a:gd name="connsiteX14" fmla="*/ 1538 w 9771"/>
                <a:gd name="connsiteY14" fmla="*/ 6226 h 10000"/>
                <a:gd name="connsiteX15" fmla="*/ 1154 w 9771"/>
                <a:gd name="connsiteY15" fmla="*/ 6604 h 10000"/>
                <a:gd name="connsiteX16" fmla="*/ 577 w 9771"/>
                <a:gd name="connsiteY16" fmla="*/ 6352 h 10000"/>
                <a:gd name="connsiteX17" fmla="*/ 0 w 9771"/>
                <a:gd name="connsiteY17" fmla="*/ 6352 h 10000"/>
                <a:gd name="connsiteX18" fmla="*/ 1462 w 9771"/>
                <a:gd name="connsiteY18" fmla="*/ 5188 h 10000"/>
                <a:gd name="connsiteX19" fmla="*/ 1090 w 9771"/>
                <a:gd name="connsiteY19" fmla="*/ 5121 h 10000"/>
                <a:gd name="connsiteX20" fmla="*/ 789 w 9771"/>
                <a:gd name="connsiteY20" fmla="*/ 5057 h 10000"/>
                <a:gd name="connsiteX21" fmla="*/ 0 w 9771"/>
                <a:gd name="connsiteY21" fmla="*/ 4969 h 10000"/>
                <a:gd name="connsiteX22" fmla="*/ 865 w 9771"/>
                <a:gd name="connsiteY22" fmla="*/ 4214 h 10000"/>
                <a:gd name="connsiteX23" fmla="*/ 865 w 9771"/>
                <a:gd name="connsiteY23" fmla="*/ 3648 h 10000"/>
                <a:gd name="connsiteX24" fmla="*/ 1731 w 9771"/>
                <a:gd name="connsiteY24" fmla="*/ 3711 h 10000"/>
                <a:gd name="connsiteX25" fmla="*/ 1635 w 9771"/>
                <a:gd name="connsiteY25" fmla="*/ 2767 h 10000"/>
                <a:gd name="connsiteX26" fmla="*/ 962 w 9771"/>
                <a:gd name="connsiteY26" fmla="*/ 2579 h 10000"/>
                <a:gd name="connsiteX27" fmla="*/ 2019 w 9771"/>
                <a:gd name="connsiteY27" fmla="*/ 1761 h 10000"/>
                <a:gd name="connsiteX28" fmla="*/ 3269 w 9771"/>
                <a:gd name="connsiteY28" fmla="*/ 1824 h 10000"/>
                <a:gd name="connsiteX29" fmla="*/ 3269 w 9771"/>
                <a:gd name="connsiteY29" fmla="*/ 881 h 10000"/>
                <a:gd name="connsiteX30" fmla="*/ 3750 w 9771"/>
                <a:gd name="connsiteY30" fmla="*/ 0 h 10000"/>
                <a:gd name="connsiteX31" fmla="*/ 4327 w 9771"/>
                <a:gd name="connsiteY31" fmla="*/ 0 h 10000"/>
                <a:gd name="connsiteX32" fmla="*/ 4327 w 9771"/>
                <a:gd name="connsiteY32" fmla="*/ 440 h 10000"/>
                <a:gd name="connsiteX33" fmla="*/ 7692 w 9771"/>
                <a:gd name="connsiteY33" fmla="*/ 440 h 10000"/>
                <a:gd name="connsiteX34" fmla="*/ 4519 w 9771"/>
                <a:gd name="connsiteY34" fmla="*/ 2579 h 10000"/>
                <a:gd name="connsiteX35" fmla="*/ 5096 w 9771"/>
                <a:gd name="connsiteY35" fmla="*/ 2830 h 10000"/>
                <a:gd name="connsiteX36" fmla="*/ 9771 w 9771"/>
                <a:gd name="connsiteY36" fmla="*/ 2951 h 10000"/>
                <a:gd name="connsiteX37" fmla="*/ 7788 w 9771"/>
                <a:gd name="connsiteY37" fmla="*/ 5786 h 10000"/>
                <a:gd name="connsiteX38" fmla="*/ 5385 w 9771"/>
                <a:gd name="connsiteY38" fmla="*/ 5723 h 10000"/>
                <a:gd name="connsiteX39" fmla="*/ 5385 w 9771"/>
                <a:gd name="connsiteY39" fmla="*/ 6164 h 10000"/>
                <a:gd name="connsiteX40" fmla="*/ 6731 w 9771"/>
                <a:gd name="connsiteY40" fmla="*/ 6164 h 10000"/>
                <a:gd name="connsiteX41" fmla="*/ 7212 w 9771"/>
                <a:gd name="connsiteY41" fmla="*/ 6478 h 10000"/>
                <a:gd name="connsiteX42" fmla="*/ 4712 w 9771"/>
                <a:gd name="connsiteY42" fmla="*/ 6604 h 10000"/>
                <a:gd name="connsiteX43" fmla="*/ 4135 w 9771"/>
                <a:gd name="connsiteY43" fmla="*/ 6289 h 10000"/>
                <a:gd name="connsiteX44" fmla="*/ 4135 w 9771"/>
                <a:gd name="connsiteY44" fmla="*/ 6855 h 10000"/>
                <a:gd name="connsiteX45" fmla="*/ 4712 w 9771"/>
                <a:gd name="connsiteY45" fmla="*/ 7233 h 10000"/>
                <a:gd name="connsiteX46" fmla="*/ 7212 w 9771"/>
                <a:gd name="connsiteY46" fmla="*/ 7233 h 10000"/>
                <a:gd name="connsiteX47" fmla="*/ 7885 w 9771"/>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5511 w 10000"/>
                <a:gd name="connsiteY38" fmla="*/ 5723 h 10000"/>
                <a:gd name="connsiteX39" fmla="*/ 5511 w 10000"/>
                <a:gd name="connsiteY39" fmla="*/ 6164 h 10000"/>
                <a:gd name="connsiteX40" fmla="*/ 6889 w 10000"/>
                <a:gd name="connsiteY40" fmla="*/ 6164 h 10000"/>
                <a:gd name="connsiteX41" fmla="*/ 7381 w 10000"/>
                <a:gd name="connsiteY41" fmla="*/ 6478 h 10000"/>
                <a:gd name="connsiteX42" fmla="*/ 4822 w 10000"/>
                <a:gd name="connsiteY42" fmla="*/ 6604 h 10000"/>
                <a:gd name="connsiteX43" fmla="*/ 4232 w 10000"/>
                <a:gd name="connsiteY43" fmla="*/ 6289 h 10000"/>
                <a:gd name="connsiteX44" fmla="*/ 4232 w 10000"/>
                <a:gd name="connsiteY44" fmla="*/ 6855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5511 w 10000"/>
                <a:gd name="connsiteY38" fmla="*/ 5723 h 10000"/>
                <a:gd name="connsiteX39" fmla="*/ 7747 w 10000"/>
                <a:gd name="connsiteY39" fmla="*/ 6344 h 10000"/>
                <a:gd name="connsiteX40" fmla="*/ 6889 w 10000"/>
                <a:gd name="connsiteY40" fmla="*/ 6164 h 10000"/>
                <a:gd name="connsiteX41" fmla="*/ 7381 w 10000"/>
                <a:gd name="connsiteY41" fmla="*/ 6478 h 10000"/>
                <a:gd name="connsiteX42" fmla="*/ 4822 w 10000"/>
                <a:gd name="connsiteY42" fmla="*/ 6604 h 10000"/>
                <a:gd name="connsiteX43" fmla="*/ 4232 w 10000"/>
                <a:gd name="connsiteY43" fmla="*/ 6289 h 10000"/>
                <a:gd name="connsiteX44" fmla="*/ 4232 w 10000"/>
                <a:gd name="connsiteY44" fmla="*/ 6855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7839 w 10000"/>
                <a:gd name="connsiteY38" fmla="*/ 6035 h 10000"/>
                <a:gd name="connsiteX39" fmla="*/ 7747 w 10000"/>
                <a:gd name="connsiteY39" fmla="*/ 6344 h 10000"/>
                <a:gd name="connsiteX40" fmla="*/ 6889 w 10000"/>
                <a:gd name="connsiteY40" fmla="*/ 6164 h 10000"/>
                <a:gd name="connsiteX41" fmla="*/ 7381 w 10000"/>
                <a:gd name="connsiteY41" fmla="*/ 6478 h 10000"/>
                <a:gd name="connsiteX42" fmla="*/ 4822 w 10000"/>
                <a:gd name="connsiteY42" fmla="*/ 6604 h 10000"/>
                <a:gd name="connsiteX43" fmla="*/ 4232 w 10000"/>
                <a:gd name="connsiteY43" fmla="*/ 6289 h 10000"/>
                <a:gd name="connsiteX44" fmla="*/ 4232 w 10000"/>
                <a:gd name="connsiteY44" fmla="*/ 6855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7839 w 10000"/>
                <a:gd name="connsiteY38" fmla="*/ 6035 h 10000"/>
                <a:gd name="connsiteX39" fmla="*/ 7747 w 10000"/>
                <a:gd name="connsiteY39" fmla="*/ 6344 h 10000"/>
                <a:gd name="connsiteX40" fmla="*/ 6889 w 10000"/>
                <a:gd name="connsiteY40" fmla="*/ 6164 h 10000"/>
                <a:gd name="connsiteX41" fmla="*/ 7381 w 10000"/>
                <a:gd name="connsiteY41" fmla="*/ 6478 h 10000"/>
                <a:gd name="connsiteX42" fmla="*/ 6138 w 10000"/>
                <a:gd name="connsiteY42" fmla="*/ 7028 h 10000"/>
                <a:gd name="connsiteX43" fmla="*/ 4232 w 10000"/>
                <a:gd name="connsiteY43" fmla="*/ 6289 h 10000"/>
                <a:gd name="connsiteX44" fmla="*/ 4232 w 10000"/>
                <a:gd name="connsiteY44" fmla="*/ 6855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7839 w 10000"/>
                <a:gd name="connsiteY38" fmla="*/ 6035 h 10000"/>
                <a:gd name="connsiteX39" fmla="*/ 7747 w 10000"/>
                <a:gd name="connsiteY39" fmla="*/ 6344 h 10000"/>
                <a:gd name="connsiteX40" fmla="*/ 6889 w 10000"/>
                <a:gd name="connsiteY40" fmla="*/ 6164 h 10000"/>
                <a:gd name="connsiteX41" fmla="*/ 7160 w 10000"/>
                <a:gd name="connsiteY41" fmla="*/ 6978 h 10000"/>
                <a:gd name="connsiteX42" fmla="*/ 6138 w 10000"/>
                <a:gd name="connsiteY42" fmla="*/ 7028 h 10000"/>
                <a:gd name="connsiteX43" fmla="*/ 4232 w 10000"/>
                <a:gd name="connsiteY43" fmla="*/ 6289 h 10000"/>
                <a:gd name="connsiteX44" fmla="*/ 4232 w 10000"/>
                <a:gd name="connsiteY44" fmla="*/ 6855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7839 w 10000"/>
                <a:gd name="connsiteY38" fmla="*/ 6035 h 10000"/>
                <a:gd name="connsiteX39" fmla="*/ 7747 w 10000"/>
                <a:gd name="connsiteY39" fmla="*/ 6344 h 10000"/>
                <a:gd name="connsiteX40" fmla="*/ 6889 w 10000"/>
                <a:gd name="connsiteY40" fmla="*/ 6164 h 10000"/>
                <a:gd name="connsiteX41" fmla="*/ 7160 w 10000"/>
                <a:gd name="connsiteY41" fmla="*/ 6978 h 10000"/>
                <a:gd name="connsiteX42" fmla="*/ 6138 w 10000"/>
                <a:gd name="connsiteY42" fmla="*/ 7028 h 10000"/>
                <a:gd name="connsiteX43" fmla="*/ 4232 w 10000"/>
                <a:gd name="connsiteY43" fmla="*/ 6289 h 10000"/>
                <a:gd name="connsiteX44" fmla="*/ 5554 w 10000"/>
                <a:gd name="connsiteY44" fmla="*/ 6993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7839 w 10000"/>
                <a:gd name="connsiteY38" fmla="*/ 6035 h 10000"/>
                <a:gd name="connsiteX39" fmla="*/ 7747 w 10000"/>
                <a:gd name="connsiteY39" fmla="*/ 6344 h 10000"/>
                <a:gd name="connsiteX40" fmla="*/ 6889 w 10000"/>
                <a:gd name="connsiteY40" fmla="*/ 6164 h 10000"/>
                <a:gd name="connsiteX41" fmla="*/ 7160 w 10000"/>
                <a:gd name="connsiteY41" fmla="*/ 6978 h 10000"/>
                <a:gd name="connsiteX42" fmla="*/ 6138 w 10000"/>
                <a:gd name="connsiteY42" fmla="*/ 7028 h 10000"/>
                <a:gd name="connsiteX43" fmla="*/ 5460 w 10000"/>
                <a:gd name="connsiteY43" fmla="*/ 6913 h 10000"/>
                <a:gd name="connsiteX44" fmla="*/ 5554 w 10000"/>
                <a:gd name="connsiteY44" fmla="*/ 6993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7839 w 10000"/>
                <a:gd name="connsiteY38" fmla="*/ 6035 h 10000"/>
                <a:gd name="connsiteX39" fmla="*/ 7747 w 10000"/>
                <a:gd name="connsiteY39" fmla="*/ 6344 h 10000"/>
                <a:gd name="connsiteX40" fmla="*/ 6889 w 10000"/>
                <a:gd name="connsiteY40" fmla="*/ 6164 h 10000"/>
                <a:gd name="connsiteX41" fmla="*/ 7160 w 10000"/>
                <a:gd name="connsiteY41" fmla="*/ 6978 h 10000"/>
                <a:gd name="connsiteX42" fmla="*/ 6138 w 10000"/>
                <a:gd name="connsiteY42" fmla="*/ 7028 h 10000"/>
                <a:gd name="connsiteX43" fmla="*/ 5460 w 10000"/>
                <a:gd name="connsiteY43" fmla="*/ 6913 h 10000"/>
                <a:gd name="connsiteX44" fmla="*/ 5554 w 10000"/>
                <a:gd name="connsiteY44" fmla="*/ 6993 h 10000"/>
                <a:gd name="connsiteX45" fmla="*/ 5401 w 10000"/>
                <a:gd name="connsiteY45" fmla="*/ 7216 h 10000"/>
                <a:gd name="connsiteX46" fmla="*/ 7381 w 10000"/>
                <a:gd name="connsiteY46" fmla="*/ 7233 h 10000"/>
                <a:gd name="connsiteX47" fmla="*/ 8070 w 10000"/>
                <a:gd name="connsiteY47" fmla="*/ 7610 h 10000"/>
                <a:gd name="connsiteX0" fmla="*/ 8070 w 10000"/>
                <a:gd name="connsiteY0" fmla="*/ 7610 h 9917"/>
                <a:gd name="connsiteX1" fmla="*/ 4822 w 10000"/>
                <a:gd name="connsiteY1" fmla="*/ 9686 h 9917"/>
                <a:gd name="connsiteX2" fmla="*/ 2559 w 10000"/>
                <a:gd name="connsiteY2" fmla="*/ 9686 h 9917"/>
                <a:gd name="connsiteX3" fmla="*/ 1968 w 10000"/>
                <a:gd name="connsiteY3" fmla="*/ 9434 h 9917"/>
                <a:gd name="connsiteX4" fmla="*/ 1139 w 10000"/>
                <a:gd name="connsiteY4" fmla="*/ 9917 h 9917"/>
                <a:gd name="connsiteX5" fmla="*/ 787 w 10000"/>
                <a:gd name="connsiteY5" fmla="*/ 9497 h 9917"/>
                <a:gd name="connsiteX6" fmla="*/ 787 w 10000"/>
                <a:gd name="connsiteY6" fmla="*/ 8931 h 9917"/>
                <a:gd name="connsiteX7" fmla="*/ 2264 w 10000"/>
                <a:gd name="connsiteY7" fmla="*/ 8050 h 9917"/>
                <a:gd name="connsiteX8" fmla="*/ 1673 w 10000"/>
                <a:gd name="connsiteY8" fmla="*/ 7547 h 9917"/>
                <a:gd name="connsiteX9" fmla="*/ 2264 w 10000"/>
                <a:gd name="connsiteY9" fmla="*/ 7107 h 9917"/>
                <a:gd name="connsiteX10" fmla="*/ 3247 w 10000"/>
                <a:gd name="connsiteY10" fmla="*/ 7170 h 9917"/>
                <a:gd name="connsiteX11" fmla="*/ 3051 w 10000"/>
                <a:gd name="connsiteY11" fmla="*/ 6667 h 9917"/>
                <a:gd name="connsiteX12" fmla="*/ 2264 w 10000"/>
                <a:gd name="connsiteY12" fmla="*/ 6667 h 9917"/>
                <a:gd name="connsiteX13" fmla="*/ 2264 w 10000"/>
                <a:gd name="connsiteY13" fmla="*/ 6289 h 9917"/>
                <a:gd name="connsiteX14" fmla="*/ 1574 w 10000"/>
                <a:gd name="connsiteY14" fmla="*/ 6226 h 9917"/>
                <a:gd name="connsiteX15" fmla="*/ 1181 w 10000"/>
                <a:gd name="connsiteY15" fmla="*/ 6604 h 9917"/>
                <a:gd name="connsiteX16" fmla="*/ 591 w 10000"/>
                <a:gd name="connsiteY16" fmla="*/ 6352 h 9917"/>
                <a:gd name="connsiteX17" fmla="*/ 0 w 10000"/>
                <a:gd name="connsiteY17" fmla="*/ 6352 h 9917"/>
                <a:gd name="connsiteX18" fmla="*/ 1496 w 10000"/>
                <a:gd name="connsiteY18" fmla="*/ 5188 h 9917"/>
                <a:gd name="connsiteX19" fmla="*/ 1116 w 10000"/>
                <a:gd name="connsiteY19" fmla="*/ 5121 h 9917"/>
                <a:gd name="connsiteX20" fmla="*/ 807 w 10000"/>
                <a:gd name="connsiteY20" fmla="*/ 5057 h 9917"/>
                <a:gd name="connsiteX21" fmla="*/ 0 w 10000"/>
                <a:gd name="connsiteY21" fmla="*/ 4969 h 9917"/>
                <a:gd name="connsiteX22" fmla="*/ 885 w 10000"/>
                <a:gd name="connsiteY22" fmla="*/ 4214 h 9917"/>
                <a:gd name="connsiteX23" fmla="*/ 885 w 10000"/>
                <a:gd name="connsiteY23" fmla="*/ 3648 h 9917"/>
                <a:gd name="connsiteX24" fmla="*/ 1772 w 10000"/>
                <a:gd name="connsiteY24" fmla="*/ 3711 h 9917"/>
                <a:gd name="connsiteX25" fmla="*/ 1673 w 10000"/>
                <a:gd name="connsiteY25" fmla="*/ 2767 h 9917"/>
                <a:gd name="connsiteX26" fmla="*/ 985 w 10000"/>
                <a:gd name="connsiteY26" fmla="*/ 2579 h 9917"/>
                <a:gd name="connsiteX27" fmla="*/ 2066 w 10000"/>
                <a:gd name="connsiteY27" fmla="*/ 1761 h 9917"/>
                <a:gd name="connsiteX28" fmla="*/ 3346 w 10000"/>
                <a:gd name="connsiteY28" fmla="*/ 1824 h 9917"/>
                <a:gd name="connsiteX29" fmla="*/ 3346 w 10000"/>
                <a:gd name="connsiteY29" fmla="*/ 881 h 9917"/>
                <a:gd name="connsiteX30" fmla="*/ 3838 w 10000"/>
                <a:gd name="connsiteY30" fmla="*/ 0 h 9917"/>
                <a:gd name="connsiteX31" fmla="*/ 4428 w 10000"/>
                <a:gd name="connsiteY31" fmla="*/ 0 h 9917"/>
                <a:gd name="connsiteX32" fmla="*/ 4428 w 10000"/>
                <a:gd name="connsiteY32" fmla="*/ 440 h 9917"/>
                <a:gd name="connsiteX33" fmla="*/ 7872 w 10000"/>
                <a:gd name="connsiteY33" fmla="*/ 440 h 9917"/>
                <a:gd name="connsiteX34" fmla="*/ 4625 w 10000"/>
                <a:gd name="connsiteY34" fmla="*/ 2579 h 9917"/>
                <a:gd name="connsiteX35" fmla="*/ 5215 w 10000"/>
                <a:gd name="connsiteY35" fmla="*/ 2830 h 9917"/>
                <a:gd name="connsiteX36" fmla="*/ 10000 w 10000"/>
                <a:gd name="connsiteY36" fmla="*/ 2951 h 9917"/>
                <a:gd name="connsiteX37" fmla="*/ 7971 w 10000"/>
                <a:gd name="connsiteY37" fmla="*/ 5786 h 9917"/>
                <a:gd name="connsiteX38" fmla="*/ 7839 w 10000"/>
                <a:gd name="connsiteY38" fmla="*/ 6035 h 9917"/>
                <a:gd name="connsiteX39" fmla="*/ 7747 w 10000"/>
                <a:gd name="connsiteY39" fmla="*/ 6344 h 9917"/>
                <a:gd name="connsiteX40" fmla="*/ 6889 w 10000"/>
                <a:gd name="connsiteY40" fmla="*/ 6164 h 9917"/>
                <a:gd name="connsiteX41" fmla="*/ 7160 w 10000"/>
                <a:gd name="connsiteY41" fmla="*/ 6978 h 9917"/>
                <a:gd name="connsiteX42" fmla="*/ 6138 w 10000"/>
                <a:gd name="connsiteY42" fmla="*/ 7028 h 9917"/>
                <a:gd name="connsiteX43" fmla="*/ 5460 w 10000"/>
                <a:gd name="connsiteY43" fmla="*/ 6913 h 9917"/>
                <a:gd name="connsiteX44" fmla="*/ 5554 w 10000"/>
                <a:gd name="connsiteY44" fmla="*/ 6993 h 9917"/>
                <a:gd name="connsiteX45" fmla="*/ 5401 w 10000"/>
                <a:gd name="connsiteY45" fmla="*/ 7216 h 9917"/>
                <a:gd name="connsiteX46" fmla="*/ 7381 w 10000"/>
                <a:gd name="connsiteY46" fmla="*/ 7233 h 9917"/>
                <a:gd name="connsiteX47" fmla="*/ 8070 w 10000"/>
                <a:gd name="connsiteY47" fmla="*/ 7610 h 9917"/>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3051 w 10000"/>
                <a:gd name="connsiteY11" fmla="*/ 6723 h 10000"/>
                <a:gd name="connsiteX12" fmla="*/ 2264 w 10000"/>
                <a:gd name="connsiteY12" fmla="*/ 6723 h 10000"/>
                <a:gd name="connsiteX13" fmla="*/ 2264 w 10000"/>
                <a:gd name="connsiteY13" fmla="*/ 6342 h 10000"/>
                <a:gd name="connsiteX14" fmla="*/ 1574 w 10000"/>
                <a:gd name="connsiteY14" fmla="*/ 6278 h 10000"/>
                <a:gd name="connsiteX15" fmla="*/ 1181 w 10000"/>
                <a:gd name="connsiteY15" fmla="*/ 6659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3051 w 10000"/>
                <a:gd name="connsiteY11" fmla="*/ 6723 h 10000"/>
                <a:gd name="connsiteX12" fmla="*/ 596 w 10000"/>
                <a:gd name="connsiteY12" fmla="*/ 8060 h 10000"/>
                <a:gd name="connsiteX13" fmla="*/ 2264 w 10000"/>
                <a:gd name="connsiteY13" fmla="*/ 6342 h 10000"/>
                <a:gd name="connsiteX14" fmla="*/ 1574 w 10000"/>
                <a:gd name="connsiteY14" fmla="*/ 6278 h 10000"/>
                <a:gd name="connsiteX15" fmla="*/ 1181 w 10000"/>
                <a:gd name="connsiteY15" fmla="*/ 6659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3051 w 10000"/>
                <a:gd name="connsiteY11" fmla="*/ 6723 h 10000"/>
                <a:gd name="connsiteX12" fmla="*/ 596 w 10000"/>
                <a:gd name="connsiteY12" fmla="*/ 8060 h 10000"/>
                <a:gd name="connsiteX13" fmla="*/ 69 w 10000"/>
                <a:gd name="connsiteY13" fmla="*/ 8266 h 10000"/>
                <a:gd name="connsiteX14" fmla="*/ 1574 w 10000"/>
                <a:gd name="connsiteY14" fmla="*/ 6278 h 10000"/>
                <a:gd name="connsiteX15" fmla="*/ 1181 w 10000"/>
                <a:gd name="connsiteY15" fmla="*/ 6659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3051 w 10000"/>
                <a:gd name="connsiteY11" fmla="*/ 6723 h 10000"/>
                <a:gd name="connsiteX12" fmla="*/ 596 w 10000"/>
                <a:gd name="connsiteY12" fmla="*/ 8060 h 10000"/>
                <a:gd name="connsiteX13" fmla="*/ 69 w 10000"/>
                <a:gd name="connsiteY13" fmla="*/ 8266 h 10000"/>
                <a:gd name="connsiteX14" fmla="*/ 301 w 10000"/>
                <a:gd name="connsiteY14" fmla="*/ 7331 h 10000"/>
                <a:gd name="connsiteX15" fmla="*/ 1181 w 10000"/>
                <a:gd name="connsiteY15" fmla="*/ 6659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3051 w 10000"/>
                <a:gd name="connsiteY11" fmla="*/ 6723 h 10000"/>
                <a:gd name="connsiteX12" fmla="*/ 596 w 10000"/>
                <a:gd name="connsiteY12" fmla="*/ 8060 h 10000"/>
                <a:gd name="connsiteX13" fmla="*/ 69 w 10000"/>
                <a:gd name="connsiteY13" fmla="*/ 8266 h 10000"/>
                <a:gd name="connsiteX14" fmla="*/ 301 w 10000"/>
                <a:gd name="connsiteY14" fmla="*/ 7331 h 10000"/>
                <a:gd name="connsiteX15" fmla="*/ 802 w 10000"/>
                <a:gd name="connsiteY15" fmla="*/ 6701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1711 w 10000"/>
                <a:gd name="connsiteY11" fmla="*/ 7448 h 10000"/>
                <a:gd name="connsiteX12" fmla="*/ 596 w 10000"/>
                <a:gd name="connsiteY12" fmla="*/ 8060 h 10000"/>
                <a:gd name="connsiteX13" fmla="*/ 69 w 10000"/>
                <a:gd name="connsiteY13" fmla="*/ 8266 h 10000"/>
                <a:gd name="connsiteX14" fmla="*/ 301 w 10000"/>
                <a:gd name="connsiteY14" fmla="*/ 7331 h 10000"/>
                <a:gd name="connsiteX15" fmla="*/ 802 w 10000"/>
                <a:gd name="connsiteY15" fmla="*/ 6701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1711 w 10000"/>
                <a:gd name="connsiteY11" fmla="*/ 7448 h 10000"/>
                <a:gd name="connsiteX12" fmla="*/ 347 w 10000"/>
                <a:gd name="connsiteY12" fmla="*/ 8423 h 10000"/>
                <a:gd name="connsiteX13" fmla="*/ 69 w 10000"/>
                <a:gd name="connsiteY13" fmla="*/ 8266 h 10000"/>
                <a:gd name="connsiteX14" fmla="*/ 301 w 10000"/>
                <a:gd name="connsiteY14" fmla="*/ 7331 h 10000"/>
                <a:gd name="connsiteX15" fmla="*/ 802 w 10000"/>
                <a:gd name="connsiteY15" fmla="*/ 6701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1711 w 10000"/>
                <a:gd name="connsiteY11" fmla="*/ 7448 h 10000"/>
                <a:gd name="connsiteX12" fmla="*/ 347 w 10000"/>
                <a:gd name="connsiteY12" fmla="*/ 8423 h 10000"/>
                <a:gd name="connsiteX13" fmla="*/ 69 w 10000"/>
                <a:gd name="connsiteY13" fmla="*/ 8266 h 10000"/>
                <a:gd name="connsiteX14" fmla="*/ 301 w 10000"/>
                <a:gd name="connsiteY14" fmla="*/ 7331 h 10000"/>
                <a:gd name="connsiteX15" fmla="*/ 802 w 10000"/>
                <a:gd name="connsiteY15" fmla="*/ 6701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5115 w 10000"/>
                <a:gd name="connsiteY34" fmla="*/ 2786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1711 w 10000"/>
                <a:gd name="connsiteY11" fmla="*/ 7448 h 10000"/>
                <a:gd name="connsiteX12" fmla="*/ 347 w 10000"/>
                <a:gd name="connsiteY12" fmla="*/ 8423 h 10000"/>
                <a:gd name="connsiteX13" fmla="*/ 69 w 10000"/>
                <a:gd name="connsiteY13" fmla="*/ 8266 h 10000"/>
                <a:gd name="connsiteX14" fmla="*/ 301 w 10000"/>
                <a:gd name="connsiteY14" fmla="*/ 7331 h 10000"/>
                <a:gd name="connsiteX15" fmla="*/ 802 w 10000"/>
                <a:gd name="connsiteY15" fmla="*/ 6701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8659 w 10000"/>
                <a:gd name="connsiteY33" fmla="*/ 500 h 10000"/>
                <a:gd name="connsiteX34" fmla="*/ 5115 w 10000"/>
                <a:gd name="connsiteY34" fmla="*/ 2786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1711 w 10000"/>
                <a:gd name="connsiteY11" fmla="*/ 7448 h 10000"/>
                <a:gd name="connsiteX12" fmla="*/ 347 w 10000"/>
                <a:gd name="connsiteY12" fmla="*/ 8423 h 10000"/>
                <a:gd name="connsiteX13" fmla="*/ 69 w 10000"/>
                <a:gd name="connsiteY13" fmla="*/ 8266 h 10000"/>
                <a:gd name="connsiteX14" fmla="*/ 301 w 10000"/>
                <a:gd name="connsiteY14" fmla="*/ 7331 h 10000"/>
                <a:gd name="connsiteX15" fmla="*/ 802 w 10000"/>
                <a:gd name="connsiteY15" fmla="*/ 6701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8659 w 10000"/>
                <a:gd name="connsiteY33" fmla="*/ 500 h 10000"/>
                <a:gd name="connsiteX34" fmla="*/ 5115 w 10000"/>
                <a:gd name="connsiteY34" fmla="*/ 2786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7475 w 10000"/>
                <a:gd name="connsiteY40" fmla="*/ 6870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155"/>
                <a:gd name="connsiteY0" fmla="*/ 7674 h 10000"/>
                <a:gd name="connsiteX1" fmla="*/ 4822 w 10155"/>
                <a:gd name="connsiteY1" fmla="*/ 9767 h 10000"/>
                <a:gd name="connsiteX2" fmla="*/ 2559 w 10155"/>
                <a:gd name="connsiteY2" fmla="*/ 9767 h 10000"/>
                <a:gd name="connsiteX3" fmla="*/ 1968 w 10155"/>
                <a:gd name="connsiteY3" fmla="*/ 9513 h 10000"/>
                <a:gd name="connsiteX4" fmla="*/ 1139 w 10155"/>
                <a:gd name="connsiteY4" fmla="*/ 10000 h 10000"/>
                <a:gd name="connsiteX5" fmla="*/ 787 w 10155"/>
                <a:gd name="connsiteY5" fmla="*/ 9576 h 10000"/>
                <a:gd name="connsiteX6" fmla="*/ 787 w 10155"/>
                <a:gd name="connsiteY6" fmla="*/ 9006 h 10000"/>
                <a:gd name="connsiteX7" fmla="*/ 2264 w 10155"/>
                <a:gd name="connsiteY7" fmla="*/ 8117 h 10000"/>
                <a:gd name="connsiteX8" fmla="*/ 1673 w 10155"/>
                <a:gd name="connsiteY8" fmla="*/ 7610 h 10000"/>
                <a:gd name="connsiteX9" fmla="*/ 2264 w 10155"/>
                <a:gd name="connsiteY9" fmla="*/ 7166 h 10000"/>
                <a:gd name="connsiteX10" fmla="*/ 1729 w 10155"/>
                <a:gd name="connsiteY10" fmla="*/ 7400 h 10000"/>
                <a:gd name="connsiteX11" fmla="*/ 1711 w 10155"/>
                <a:gd name="connsiteY11" fmla="*/ 7448 h 10000"/>
                <a:gd name="connsiteX12" fmla="*/ 347 w 10155"/>
                <a:gd name="connsiteY12" fmla="*/ 8423 h 10000"/>
                <a:gd name="connsiteX13" fmla="*/ 69 w 10155"/>
                <a:gd name="connsiteY13" fmla="*/ 8266 h 10000"/>
                <a:gd name="connsiteX14" fmla="*/ 301 w 10155"/>
                <a:gd name="connsiteY14" fmla="*/ 7331 h 10000"/>
                <a:gd name="connsiteX15" fmla="*/ 802 w 10155"/>
                <a:gd name="connsiteY15" fmla="*/ 6701 h 10000"/>
                <a:gd name="connsiteX16" fmla="*/ 591 w 10155"/>
                <a:gd name="connsiteY16" fmla="*/ 6405 h 10000"/>
                <a:gd name="connsiteX17" fmla="*/ 0 w 10155"/>
                <a:gd name="connsiteY17" fmla="*/ 6405 h 10000"/>
                <a:gd name="connsiteX18" fmla="*/ 1496 w 10155"/>
                <a:gd name="connsiteY18" fmla="*/ 5231 h 10000"/>
                <a:gd name="connsiteX19" fmla="*/ 1116 w 10155"/>
                <a:gd name="connsiteY19" fmla="*/ 5164 h 10000"/>
                <a:gd name="connsiteX20" fmla="*/ 807 w 10155"/>
                <a:gd name="connsiteY20" fmla="*/ 5099 h 10000"/>
                <a:gd name="connsiteX21" fmla="*/ 0 w 10155"/>
                <a:gd name="connsiteY21" fmla="*/ 5011 h 10000"/>
                <a:gd name="connsiteX22" fmla="*/ 885 w 10155"/>
                <a:gd name="connsiteY22" fmla="*/ 4249 h 10000"/>
                <a:gd name="connsiteX23" fmla="*/ 885 w 10155"/>
                <a:gd name="connsiteY23" fmla="*/ 3679 h 10000"/>
                <a:gd name="connsiteX24" fmla="*/ 1772 w 10155"/>
                <a:gd name="connsiteY24" fmla="*/ 3742 h 10000"/>
                <a:gd name="connsiteX25" fmla="*/ 1673 w 10155"/>
                <a:gd name="connsiteY25" fmla="*/ 2790 h 10000"/>
                <a:gd name="connsiteX26" fmla="*/ 985 w 10155"/>
                <a:gd name="connsiteY26" fmla="*/ 2601 h 10000"/>
                <a:gd name="connsiteX27" fmla="*/ 2066 w 10155"/>
                <a:gd name="connsiteY27" fmla="*/ 1776 h 10000"/>
                <a:gd name="connsiteX28" fmla="*/ 3346 w 10155"/>
                <a:gd name="connsiteY28" fmla="*/ 1839 h 10000"/>
                <a:gd name="connsiteX29" fmla="*/ 3346 w 10155"/>
                <a:gd name="connsiteY29" fmla="*/ 888 h 10000"/>
                <a:gd name="connsiteX30" fmla="*/ 3838 w 10155"/>
                <a:gd name="connsiteY30" fmla="*/ 0 h 10000"/>
                <a:gd name="connsiteX31" fmla="*/ 4428 w 10155"/>
                <a:gd name="connsiteY31" fmla="*/ 0 h 10000"/>
                <a:gd name="connsiteX32" fmla="*/ 4428 w 10155"/>
                <a:gd name="connsiteY32" fmla="*/ 444 h 10000"/>
                <a:gd name="connsiteX33" fmla="*/ 8659 w 10155"/>
                <a:gd name="connsiteY33" fmla="*/ 500 h 10000"/>
                <a:gd name="connsiteX34" fmla="*/ 5115 w 10155"/>
                <a:gd name="connsiteY34" fmla="*/ 2786 h 10000"/>
                <a:gd name="connsiteX35" fmla="*/ 5215 w 10155"/>
                <a:gd name="connsiteY35" fmla="*/ 2854 h 10000"/>
                <a:gd name="connsiteX36" fmla="*/ 10155 w 10155"/>
                <a:gd name="connsiteY36" fmla="*/ 3102 h 10000"/>
                <a:gd name="connsiteX37" fmla="*/ 7971 w 10155"/>
                <a:gd name="connsiteY37" fmla="*/ 5834 h 10000"/>
                <a:gd name="connsiteX38" fmla="*/ 7839 w 10155"/>
                <a:gd name="connsiteY38" fmla="*/ 6086 h 10000"/>
                <a:gd name="connsiteX39" fmla="*/ 7747 w 10155"/>
                <a:gd name="connsiteY39" fmla="*/ 6397 h 10000"/>
                <a:gd name="connsiteX40" fmla="*/ 7475 w 10155"/>
                <a:gd name="connsiteY40" fmla="*/ 6870 h 10000"/>
                <a:gd name="connsiteX41" fmla="*/ 7160 w 10155"/>
                <a:gd name="connsiteY41" fmla="*/ 7036 h 10000"/>
                <a:gd name="connsiteX42" fmla="*/ 6138 w 10155"/>
                <a:gd name="connsiteY42" fmla="*/ 7087 h 10000"/>
                <a:gd name="connsiteX43" fmla="*/ 5460 w 10155"/>
                <a:gd name="connsiteY43" fmla="*/ 6971 h 10000"/>
                <a:gd name="connsiteX44" fmla="*/ 5554 w 10155"/>
                <a:gd name="connsiteY44" fmla="*/ 7052 h 10000"/>
                <a:gd name="connsiteX45" fmla="*/ 5401 w 10155"/>
                <a:gd name="connsiteY45" fmla="*/ 7276 h 10000"/>
                <a:gd name="connsiteX46" fmla="*/ 7381 w 10155"/>
                <a:gd name="connsiteY46" fmla="*/ 7294 h 10000"/>
                <a:gd name="connsiteX47" fmla="*/ 8070 w 10155"/>
                <a:gd name="connsiteY47" fmla="*/ 7674 h 10000"/>
                <a:gd name="connsiteX0" fmla="*/ 8070 w 10155"/>
                <a:gd name="connsiteY0" fmla="*/ 7674 h 10000"/>
                <a:gd name="connsiteX1" fmla="*/ 4822 w 10155"/>
                <a:gd name="connsiteY1" fmla="*/ 9767 h 10000"/>
                <a:gd name="connsiteX2" fmla="*/ 2559 w 10155"/>
                <a:gd name="connsiteY2" fmla="*/ 9767 h 10000"/>
                <a:gd name="connsiteX3" fmla="*/ 1968 w 10155"/>
                <a:gd name="connsiteY3" fmla="*/ 9513 h 10000"/>
                <a:gd name="connsiteX4" fmla="*/ 1139 w 10155"/>
                <a:gd name="connsiteY4" fmla="*/ 10000 h 10000"/>
                <a:gd name="connsiteX5" fmla="*/ 787 w 10155"/>
                <a:gd name="connsiteY5" fmla="*/ 9576 h 10000"/>
                <a:gd name="connsiteX6" fmla="*/ 787 w 10155"/>
                <a:gd name="connsiteY6" fmla="*/ 9006 h 10000"/>
                <a:gd name="connsiteX7" fmla="*/ 2264 w 10155"/>
                <a:gd name="connsiteY7" fmla="*/ 8117 h 10000"/>
                <a:gd name="connsiteX8" fmla="*/ 1673 w 10155"/>
                <a:gd name="connsiteY8" fmla="*/ 7610 h 10000"/>
                <a:gd name="connsiteX9" fmla="*/ 2264 w 10155"/>
                <a:gd name="connsiteY9" fmla="*/ 7166 h 10000"/>
                <a:gd name="connsiteX10" fmla="*/ 1729 w 10155"/>
                <a:gd name="connsiteY10" fmla="*/ 7400 h 10000"/>
                <a:gd name="connsiteX11" fmla="*/ 1711 w 10155"/>
                <a:gd name="connsiteY11" fmla="*/ 7448 h 10000"/>
                <a:gd name="connsiteX12" fmla="*/ 347 w 10155"/>
                <a:gd name="connsiteY12" fmla="*/ 8423 h 10000"/>
                <a:gd name="connsiteX13" fmla="*/ 69 w 10155"/>
                <a:gd name="connsiteY13" fmla="*/ 8266 h 10000"/>
                <a:gd name="connsiteX14" fmla="*/ 301 w 10155"/>
                <a:gd name="connsiteY14" fmla="*/ 7331 h 10000"/>
                <a:gd name="connsiteX15" fmla="*/ 802 w 10155"/>
                <a:gd name="connsiteY15" fmla="*/ 6701 h 10000"/>
                <a:gd name="connsiteX16" fmla="*/ 591 w 10155"/>
                <a:gd name="connsiteY16" fmla="*/ 6405 h 10000"/>
                <a:gd name="connsiteX17" fmla="*/ 0 w 10155"/>
                <a:gd name="connsiteY17" fmla="*/ 6405 h 10000"/>
                <a:gd name="connsiteX18" fmla="*/ 1496 w 10155"/>
                <a:gd name="connsiteY18" fmla="*/ 5231 h 10000"/>
                <a:gd name="connsiteX19" fmla="*/ 1116 w 10155"/>
                <a:gd name="connsiteY19" fmla="*/ 5164 h 10000"/>
                <a:gd name="connsiteX20" fmla="*/ 807 w 10155"/>
                <a:gd name="connsiteY20" fmla="*/ 5099 h 10000"/>
                <a:gd name="connsiteX21" fmla="*/ 0 w 10155"/>
                <a:gd name="connsiteY21" fmla="*/ 5011 h 10000"/>
                <a:gd name="connsiteX22" fmla="*/ 885 w 10155"/>
                <a:gd name="connsiteY22" fmla="*/ 4249 h 10000"/>
                <a:gd name="connsiteX23" fmla="*/ 885 w 10155"/>
                <a:gd name="connsiteY23" fmla="*/ 3679 h 10000"/>
                <a:gd name="connsiteX24" fmla="*/ 1772 w 10155"/>
                <a:gd name="connsiteY24" fmla="*/ 3742 h 10000"/>
                <a:gd name="connsiteX25" fmla="*/ 1673 w 10155"/>
                <a:gd name="connsiteY25" fmla="*/ 2790 h 10000"/>
                <a:gd name="connsiteX26" fmla="*/ 985 w 10155"/>
                <a:gd name="connsiteY26" fmla="*/ 2601 h 10000"/>
                <a:gd name="connsiteX27" fmla="*/ 2066 w 10155"/>
                <a:gd name="connsiteY27" fmla="*/ 1776 h 10000"/>
                <a:gd name="connsiteX28" fmla="*/ 3346 w 10155"/>
                <a:gd name="connsiteY28" fmla="*/ 1839 h 10000"/>
                <a:gd name="connsiteX29" fmla="*/ 3346 w 10155"/>
                <a:gd name="connsiteY29" fmla="*/ 888 h 10000"/>
                <a:gd name="connsiteX30" fmla="*/ 3838 w 10155"/>
                <a:gd name="connsiteY30" fmla="*/ 0 h 10000"/>
                <a:gd name="connsiteX31" fmla="*/ 4428 w 10155"/>
                <a:gd name="connsiteY31" fmla="*/ 0 h 10000"/>
                <a:gd name="connsiteX32" fmla="*/ 4428 w 10155"/>
                <a:gd name="connsiteY32" fmla="*/ 444 h 10000"/>
                <a:gd name="connsiteX33" fmla="*/ 8659 w 10155"/>
                <a:gd name="connsiteY33" fmla="*/ 500 h 10000"/>
                <a:gd name="connsiteX34" fmla="*/ 5115 w 10155"/>
                <a:gd name="connsiteY34" fmla="*/ 2786 h 10000"/>
                <a:gd name="connsiteX35" fmla="*/ 5215 w 10155"/>
                <a:gd name="connsiteY35" fmla="*/ 2854 h 10000"/>
                <a:gd name="connsiteX36" fmla="*/ 10155 w 10155"/>
                <a:gd name="connsiteY36" fmla="*/ 3102 h 10000"/>
                <a:gd name="connsiteX37" fmla="*/ 7971 w 10155"/>
                <a:gd name="connsiteY37" fmla="*/ 5834 h 10000"/>
                <a:gd name="connsiteX38" fmla="*/ 7839 w 10155"/>
                <a:gd name="connsiteY38" fmla="*/ 6086 h 10000"/>
                <a:gd name="connsiteX39" fmla="*/ 7747 w 10155"/>
                <a:gd name="connsiteY39" fmla="*/ 6397 h 10000"/>
                <a:gd name="connsiteX40" fmla="*/ 7475 w 10155"/>
                <a:gd name="connsiteY40" fmla="*/ 6870 h 10000"/>
                <a:gd name="connsiteX41" fmla="*/ 7160 w 10155"/>
                <a:gd name="connsiteY41" fmla="*/ 7036 h 10000"/>
                <a:gd name="connsiteX42" fmla="*/ 6138 w 10155"/>
                <a:gd name="connsiteY42" fmla="*/ 7087 h 10000"/>
                <a:gd name="connsiteX43" fmla="*/ 5460 w 10155"/>
                <a:gd name="connsiteY43" fmla="*/ 6971 h 10000"/>
                <a:gd name="connsiteX44" fmla="*/ 5554 w 10155"/>
                <a:gd name="connsiteY44" fmla="*/ 7052 h 10000"/>
                <a:gd name="connsiteX45" fmla="*/ 5401 w 10155"/>
                <a:gd name="connsiteY45" fmla="*/ 7276 h 10000"/>
                <a:gd name="connsiteX46" fmla="*/ 7381 w 10155"/>
                <a:gd name="connsiteY46" fmla="*/ 7294 h 10000"/>
                <a:gd name="connsiteX47" fmla="*/ 8070 w 10155"/>
                <a:gd name="connsiteY47" fmla="*/ 7674 h 10000"/>
                <a:gd name="connsiteX0" fmla="*/ 8070 w 10155"/>
                <a:gd name="connsiteY0" fmla="*/ 7674 h 10000"/>
                <a:gd name="connsiteX1" fmla="*/ 4822 w 10155"/>
                <a:gd name="connsiteY1" fmla="*/ 9767 h 10000"/>
                <a:gd name="connsiteX2" fmla="*/ 2559 w 10155"/>
                <a:gd name="connsiteY2" fmla="*/ 9767 h 10000"/>
                <a:gd name="connsiteX3" fmla="*/ 1968 w 10155"/>
                <a:gd name="connsiteY3" fmla="*/ 9513 h 10000"/>
                <a:gd name="connsiteX4" fmla="*/ 1139 w 10155"/>
                <a:gd name="connsiteY4" fmla="*/ 10000 h 10000"/>
                <a:gd name="connsiteX5" fmla="*/ 787 w 10155"/>
                <a:gd name="connsiteY5" fmla="*/ 9576 h 10000"/>
                <a:gd name="connsiteX6" fmla="*/ 787 w 10155"/>
                <a:gd name="connsiteY6" fmla="*/ 9006 h 10000"/>
                <a:gd name="connsiteX7" fmla="*/ 2264 w 10155"/>
                <a:gd name="connsiteY7" fmla="*/ 8117 h 10000"/>
                <a:gd name="connsiteX8" fmla="*/ 1673 w 10155"/>
                <a:gd name="connsiteY8" fmla="*/ 7610 h 10000"/>
                <a:gd name="connsiteX9" fmla="*/ 2264 w 10155"/>
                <a:gd name="connsiteY9" fmla="*/ 7166 h 10000"/>
                <a:gd name="connsiteX10" fmla="*/ 1729 w 10155"/>
                <a:gd name="connsiteY10" fmla="*/ 7400 h 10000"/>
                <a:gd name="connsiteX11" fmla="*/ 1711 w 10155"/>
                <a:gd name="connsiteY11" fmla="*/ 7448 h 10000"/>
                <a:gd name="connsiteX12" fmla="*/ 347 w 10155"/>
                <a:gd name="connsiteY12" fmla="*/ 8423 h 10000"/>
                <a:gd name="connsiteX13" fmla="*/ 69 w 10155"/>
                <a:gd name="connsiteY13" fmla="*/ 8266 h 10000"/>
                <a:gd name="connsiteX14" fmla="*/ 301 w 10155"/>
                <a:gd name="connsiteY14" fmla="*/ 7331 h 10000"/>
                <a:gd name="connsiteX15" fmla="*/ 802 w 10155"/>
                <a:gd name="connsiteY15" fmla="*/ 6701 h 10000"/>
                <a:gd name="connsiteX16" fmla="*/ 591 w 10155"/>
                <a:gd name="connsiteY16" fmla="*/ 6405 h 10000"/>
                <a:gd name="connsiteX17" fmla="*/ 0 w 10155"/>
                <a:gd name="connsiteY17" fmla="*/ 6405 h 10000"/>
                <a:gd name="connsiteX18" fmla="*/ 1496 w 10155"/>
                <a:gd name="connsiteY18" fmla="*/ 5231 h 10000"/>
                <a:gd name="connsiteX19" fmla="*/ 1116 w 10155"/>
                <a:gd name="connsiteY19" fmla="*/ 5164 h 10000"/>
                <a:gd name="connsiteX20" fmla="*/ 646 w 10155"/>
                <a:gd name="connsiteY20" fmla="*/ 5261 h 10000"/>
                <a:gd name="connsiteX21" fmla="*/ 0 w 10155"/>
                <a:gd name="connsiteY21" fmla="*/ 5011 h 10000"/>
                <a:gd name="connsiteX22" fmla="*/ 885 w 10155"/>
                <a:gd name="connsiteY22" fmla="*/ 4249 h 10000"/>
                <a:gd name="connsiteX23" fmla="*/ 885 w 10155"/>
                <a:gd name="connsiteY23" fmla="*/ 3679 h 10000"/>
                <a:gd name="connsiteX24" fmla="*/ 1772 w 10155"/>
                <a:gd name="connsiteY24" fmla="*/ 3742 h 10000"/>
                <a:gd name="connsiteX25" fmla="*/ 1673 w 10155"/>
                <a:gd name="connsiteY25" fmla="*/ 2790 h 10000"/>
                <a:gd name="connsiteX26" fmla="*/ 985 w 10155"/>
                <a:gd name="connsiteY26" fmla="*/ 2601 h 10000"/>
                <a:gd name="connsiteX27" fmla="*/ 2066 w 10155"/>
                <a:gd name="connsiteY27" fmla="*/ 1776 h 10000"/>
                <a:gd name="connsiteX28" fmla="*/ 3346 w 10155"/>
                <a:gd name="connsiteY28" fmla="*/ 1839 h 10000"/>
                <a:gd name="connsiteX29" fmla="*/ 3346 w 10155"/>
                <a:gd name="connsiteY29" fmla="*/ 888 h 10000"/>
                <a:gd name="connsiteX30" fmla="*/ 3838 w 10155"/>
                <a:gd name="connsiteY30" fmla="*/ 0 h 10000"/>
                <a:gd name="connsiteX31" fmla="*/ 4428 w 10155"/>
                <a:gd name="connsiteY31" fmla="*/ 0 h 10000"/>
                <a:gd name="connsiteX32" fmla="*/ 4428 w 10155"/>
                <a:gd name="connsiteY32" fmla="*/ 444 h 10000"/>
                <a:gd name="connsiteX33" fmla="*/ 8659 w 10155"/>
                <a:gd name="connsiteY33" fmla="*/ 500 h 10000"/>
                <a:gd name="connsiteX34" fmla="*/ 5115 w 10155"/>
                <a:gd name="connsiteY34" fmla="*/ 2786 h 10000"/>
                <a:gd name="connsiteX35" fmla="*/ 5215 w 10155"/>
                <a:gd name="connsiteY35" fmla="*/ 2854 h 10000"/>
                <a:gd name="connsiteX36" fmla="*/ 10155 w 10155"/>
                <a:gd name="connsiteY36" fmla="*/ 3102 h 10000"/>
                <a:gd name="connsiteX37" fmla="*/ 7971 w 10155"/>
                <a:gd name="connsiteY37" fmla="*/ 5834 h 10000"/>
                <a:gd name="connsiteX38" fmla="*/ 7839 w 10155"/>
                <a:gd name="connsiteY38" fmla="*/ 6086 h 10000"/>
                <a:gd name="connsiteX39" fmla="*/ 7747 w 10155"/>
                <a:gd name="connsiteY39" fmla="*/ 6397 h 10000"/>
                <a:gd name="connsiteX40" fmla="*/ 7475 w 10155"/>
                <a:gd name="connsiteY40" fmla="*/ 6870 h 10000"/>
                <a:gd name="connsiteX41" fmla="*/ 7160 w 10155"/>
                <a:gd name="connsiteY41" fmla="*/ 7036 h 10000"/>
                <a:gd name="connsiteX42" fmla="*/ 6138 w 10155"/>
                <a:gd name="connsiteY42" fmla="*/ 7087 h 10000"/>
                <a:gd name="connsiteX43" fmla="*/ 5460 w 10155"/>
                <a:gd name="connsiteY43" fmla="*/ 6971 h 10000"/>
                <a:gd name="connsiteX44" fmla="*/ 5554 w 10155"/>
                <a:gd name="connsiteY44" fmla="*/ 7052 h 10000"/>
                <a:gd name="connsiteX45" fmla="*/ 5401 w 10155"/>
                <a:gd name="connsiteY45" fmla="*/ 7276 h 10000"/>
                <a:gd name="connsiteX46" fmla="*/ 7381 w 10155"/>
                <a:gd name="connsiteY46" fmla="*/ 7294 h 10000"/>
                <a:gd name="connsiteX47" fmla="*/ 8070 w 10155"/>
                <a:gd name="connsiteY47" fmla="*/ 767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0155" h="10000">
                  <a:moveTo>
                    <a:pt x="8070" y="7674"/>
                  </a:moveTo>
                  <a:lnTo>
                    <a:pt x="4822" y="9767"/>
                  </a:lnTo>
                  <a:lnTo>
                    <a:pt x="2559" y="9767"/>
                  </a:lnTo>
                  <a:lnTo>
                    <a:pt x="1968" y="9513"/>
                  </a:lnTo>
                  <a:lnTo>
                    <a:pt x="1139" y="10000"/>
                  </a:lnTo>
                  <a:lnTo>
                    <a:pt x="787" y="9576"/>
                  </a:lnTo>
                  <a:lnTo>
                    <a:pt x="787" y="9006"/>
                  </a:lnTo>
                  <a:lnTo>
                    <a:pt x="2264" y="8117"/>
                  </a:lnTo>
                  <a:lnTo>
                    <a:pt x="1673" y="7610"/>
                  </a:lnTo>
                  <a:lnTo>
                    <a:pt x="2264" y="7166"/>
                  </a:lnTo>
                  <a:lnTo>
                    <a:pt x="1729" y="7400"/>
                  </a:lnTo>
                  <a:cubicBezTo>
                    <a:pt x="1664" y="7231"/>
                    <a:pt x="1776" y="7617"/>
                    <a:pt x="1711" y="7448"/>
                  </a:cubicBezTo>
                  <a:lnTo>
                    <a:pt x="347" y="8423"/>
                  </a:lnTo>
                  <a:lnTo>
                    <a:pt x="69" y="8266"/>
                  </a:lnTo>
                  <a:cubicBezTo>
                    <a:pt x="146" y="7954"/>
                    <a:pt x="224" y="7643"/>
                    <a:pt x="301" y="7331"/>
                  </a:cubicBezTo>
                  <a:lnTo>
                    <a:pt x="802" y="6701"/>
                  </a:lnTo>
                  <a:cubicBezTo>
                    <a:pt x="732" y="6602"/>
                    <a:pt x="661" y="6504"/>
                    <a:pt x="591" y="6405"/>
                  </a:cubicBezTo>
                  <a:lnTo>
                    <a:pt x="0" y="6405"/>
                  </a:lnTo>
                  <a:lnTo>
                    <a:pt x="1496" y="5231"/>
                  </a:lnTo>
                  <a:cubicBezTo>
                    <a:pt x="1710" y="4979"/>
                    <a:pt x="902" y="5416"/>
                    <a:pt x="1116" y="5164"/>
                  </a:cubicBezTo>
                  <a:lnTo>
                    <a:pt x="646" y="5261"/>
                  </a:lnTo>
                  <a:lnTo>
                    <a:pt x="0" y="5011"/>
                  </a:lnTo>
                  <a:lnTo>
                    <a:pt x="885" y="4249"/>
                  </a:lnTo>
                  <a:lnTo>
                    <a:pt x="885" y="3679"/>
                  </a:lnTo>
                  <a:lnTo>
                    <a:pt x="1772" y="3742"/>
                  </a:lnTo>
                  <a:cubicBezTo>
                    <a:pt x="1739" y="3424"/>
                    <a:pt x="1706" y="3108"/>
                    <a:pt x="1673" y="2790"/>
                  </a:cubicBezTo>
                  <a:lnTo>
                    <a:pt x="985" y="2601"/>
                  </a:lnTo>
                  <a:lnTo>
                    <a:pt x="2066" y="1776"/>
                  </a:lnTo>
                  <a:lnTo>
                    <a:pt x="3346" y="1839"/>
                  </a:lnTo>
                  <a:lnTo>
                    <a:pt x="3346" y="888"/>
                  </a:lnTo>
                  <a:lnTo>
                    <a:pt x="3838" y="0"/>
                  </a:lnTo>
                  <a:lnTo>
                    <a:pt x="4428" y="0"/>
                  </a:lnTo>
                  <a:lnTo>
                    <a:pt x="4428" y="444"/>
                  </a:lnTo>
                  <a:lnTo>
                    <a:pt x="8659" y="500"/>
                  </a:lnTo>
                  <a:lnTo>
                    <a:pt x="5115" y="2786"/>
                  </a:lnTo>
                  <a:cubicBezTo>
                    <a:pt x="5148" y="2809"/>
                    <a:pt x="5182" y="2831"/>
                    <a:pt x="5215" y="2854"/>
                  </a:cubicBezTo>
                  <a:lnTo>
                    <a:pt x="10155" y="3102"/>
                  </a:lnTo>
                  <a:cubicBezTo>
                    <a:pt x="9174" y="5096"/>
                    <a:pt x="8647" y="4882"/>
                    <a:pt x="7971" y="5834"/>
                  </a:cubicBezTo>
                  <a:lnTo>
                    <a:pt x="7839" y="6086"/>
                  </a:lnTo>
                  <a:cubicBezTo>
                    <a:pt x="7808" y="6189"/>
                    <a:pt x="7778" y="6293"/>
                    <a:pt x="7747" y="6397"/>
                  </a:cubicBezTo>
                  <a:lnTo>
                    <a:pt x="7475" y="6870"/>
                  </a:lnTo>
                  <a:lnTo>
                    <a:pt x="7160" y="7036"/>
                  </a:lnTo>
                  <a:lnTo>
                    <a:pt x="6138" y="7087"/>
                  </a:lnTo>
                  <a:lnTo>
                    <a:pt x="5460" y="6971"/>
                  </a:lnTo>
                  <a:cubicBezTo>
                    <a:pt x="5491" y="6998"/>
                    <a:pt x="5523" y="7024"/>
                    <a:pt x="5554" y="7052"/>
                  </a:cubicBezTo>
                  <a:lnTo>
                    <a:pt x="5401" y="7276"/>
                  </a:lnTo>
                  <a:lnTo>
                    <a:pt x="7381" y="7294"/>
                  </a:lnTo>
                  <a:lnTo>
                    <a:pt x="8070" y="7674"/>
                  </a:lnTo>
                  <a:close/>
                </a:path>
              </a:pathLst>
            </a:custGeom>
            <a:solidFill>
              <a:srgbClr val="F2F2F2"/>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GB" dirty="0"/>
            </a:p>
          </p:txBody>
        </p:sp>
        <p:sp>
          <p:nvSpPr>
            <p:cNvPr id="46" name="TT"/>
            <p:cNvSpPr>
              <a:spLocks/>
            </p:cNvSpPr>
            <p:nvPr/>
          </p:nvSpPr>
          <p:spPr bwMode="auto">
            <a:xfrm rot="460133">
              <a:off x="5499100" y="3176588"/>
              <a:ext cx="739775" cy="1141412"/>
            </a:xfrm>
            <a:custGeom>
              <a:avLst/>
              <a:gdLst>
                <a:gd name="T0" fmla="*/ 2147483647 w 213"/>
                <a:gd name="T1" fmla="*/ 2147483647 h 335"/>
                <a:gd name="T2" fmla="*/ 2147483647 w 213"/>
                <a:gd name="T3" fmla="*/ 2147483647 h 335"/>
                <a:gd name="T4" fmla="*/ 2147483647 w 213"/>
                <a:gd name="T5" fmla="*/ 2147483647 h 335"/>
                <a:gd name="T6" fmla="*/ 2147483647 w 213"/>
                <a:gd name="T7" fmla="*/ 2147483647 h 335"/>
                <a:gd name="T8" fmla="*/ 2147483647 w 213"/>
                <a:gd name="T9" fmla="*/ 2147483647 h 335"/>
                <a:gd name="T10" fmla="*/ 2147483647 w 213"/>
                <a:gd name="T11" fmla="*/ 2147483647 h 335"/>
                <a:gd name="T12" fmla="*/ 2147483647 w 213"/>
                <a:gd name="T13" fmla="*/ 2147483647 h 335"/>
                <a:gd name="T14" fmla="*/ 2147483647 w 213"/>
                <a:gd name="T15" fmla="*/ 2147483647 h 335"/>
                <a:gd name="T16" fmla="*/ 2147483647 w 213"/>
                <a:gd name="T17" fmla="*/ 2147483647 h 335"/>
                <a:gd name="T18" fmla="*/ 2147483647 w 213"/>
                <a:gd name="T19" fmla="*/ 2147483647 h 335"/>
                <a:gd name="T20" fmla="*/ 2147483647 w 213"/>
                <a:gd name="T21" fmla="*/ 2147483647 h 335"/>
                <a:gd name="T22" fmla="*/ 2147483647 w 213"/>
                <a:gd name="T23" fmla="*/ 2147483647 h 335"/>
                <a:gd name="T24" fmla="*/ 2147483647 w 213"/>
                <a:gd name="T25" fmla="*/ 2147483647 h 335"/>
                <a:gd name="T26" fmla="*/ 2147483647 w 213"/>
                <a:gd name="T27" fmla="*/ 2147483647 h 335"/>
                <a:gd name="T28" fmla="*/ 2147483647 w 213"/>
                <a:gd name="T29" fmla="*/ 2147483647 h 335"/>
                <a:gd name="T30" fmla="*/ 2147483647 w 213"/>
                <a:gd name="T31" fmla="*/ 2147483647 h 335"/>
                <a:gd name="T32" fmla="*/ 2147483647 w 213"/>
                <a:gd name="T33" fmla="*/ 2147483647 h 335"/>
                <a:gd name="T34" fmla="*/ 2147483647 w 213"/>
                <a:gd name="T35" fmla="*/ 2147483647 h 335"/>
                <a:gd name="T36" fmla="*/ 2147483647 w 213"/>
                <a:gd name="T37" fmla="*/ 2147483647 h 335"/>
                <a:gd name="T38" fmla="*/ 2147483647 w 213"/>
                <a:gd name="T39" fmla="*/ 2147483647 h 335"/>
                <a:gd name="T40" fmla="*/ 2147483647 w 213"/>
                <a:gd name="T41" fmla="*/ 2147483647 h 335"/>
                <a:gd name="T42" fmla="*/ 2147483647 w 213"/>
                <a:gd name="T43" fmla="*/ 2147483647 h 335"/>
                <a:gd name="T44" fmla="*/ 2147483647 w 213"/>
                <a:gd name="T45" fmla="*/ 2147483647 h 335"/>
                <a:gd name="T46" fmla="*/ 2147483647 w 213"/>
                <a:gd name="T47" fmla="*/ 2147483647 h 335"/>
                <a:gd name="T48" fmla="*/ 2147483647 w 213"/>
                <a:gd name="T49" fmla="*/ 2147483647 h 335"/>
                <a:gd name="T50" fmla="*/ 2147483647 w 213"/>
                <a:gd name="T51" fmla="*/ 2147483647 h 335"/>
                <a:gd name="T52" fmla="*/ 2147483647 w 213"/>
                <a:gd name="T53" fmla="*/ 2147483647 h 335"/>
                <a:gd name="T54" fmla="*/ 2147483647 w 213"/>
                <a:gd name="T55" fmla="*/ 2147483647 h 335"/>
                <a:gd name="T56" fmla="*/ 2147483647 w 213"/>
                <a:gd name="T57" fmla="*/ 2147483647 h 335"/>
                <a:gd name="T58" fmla="*/ 2147483647 w 213"/>
                <a:gd name="T59" fmla="*/ 2147483647 h 335"/>
                <a:gd name="T60" fmla="*/ 2147483647 w 213"/>
                <a:gd name="T61" fmla="*/ 2147483647 h 335"/>
                <a:gd name="T62" fmla="*/ 2147483647 w 213"/>
                <a:gd name="T63" fmla="*/ 2147483647 h 335"/>
                <a:gd name="T64" fmla="*/ 2147483647 w 213"/>
                <a:gd name="T65" fmla="*/ 2147483647 h 335"/>
                <a:gd name="T66" fmla="*/ 2147483647 w 213"/>
                <a:gd name="T67" fmla="*/ 2147483647 h 335"/>
                <a:gd name="T68" fmla="*/ 2147483647 w 213"/>
                <a:gd name="T69" fmla="*/ 2147483647 h 335"/>
                <a:gd name="T70" fmla="*/ 2147483647 w 213"/>
                <a:gd name="T71" fmla="*/ 2147483647 h 335"/>
                <a:gd name="T72" fmla="*/ 2147483647 w 213"/>
                <a:gd name="T73" fmla="*/ 2147483647 h 335"/>
                <a:gd name="T74" fmla="*/ 2147483647 w 213"/>
                <a:gd name="T75" fmla="*/ 2147483647 h 335"/>
                <a:gd name="T76" fmla="*/ 2147483647 w 213"/>
                <a:gd name="T77" fmla="*/ 2147483647 h 335"/>
                <a:gd name="T78" fmla="*/ 2147483647 w 213"/>
                <a:gd name="T79" fmla="*/ 2147483647 h 335"/>
                <a:gd name="T80" fmla="*/ 2147483647 w 213"/>
                <a:gd name="T81" fmla="*/ 2147483647 h 335"/>
                <a:gd name="T82" fmla="*/ 2147483647 w 213"/>
                <a:gd name="T83" fmla="*/ 2147483647 h 335"/>
                <a:gd name="T84" fmla="*/ 2147483647 w 213"/>
                <a:gd name="T85" fmla="*/ 2147483647 h 335"/>
                <a:gd name="T86" fmla="*/ 2147483647 w 213"/>
                <a:gd name="T87" fmla="*/ 2147483647 h 335"/>
                <a:gd name="T88" fmla="*/ 2147483647 w 213"/>
                <a:gd name="T89" fmla="*/ 2147483647 h 335"/>
                <a:gd name="T90" fmla="*/ 2147483647 w 213"/>
                <a:gd name="T91" fmla="*/ 2147483647 h 33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13"/>
                <a:gd name="T139" fmla="*/ 0 h 335"/>
                <a:gd name="T140" fmla="*/ 213 w 213"/>
                <a:gd name="T141" fmla="*/ 335 h 335"/>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2629 w 10000"/>
                <a:gd name="connsiteY42" fmla="*/ 2411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474 w 10000"/>
                <a:gd name="connsiteY54" fmla="*/ 590 h 10441"/>
                <a:gd name="connsiteX55" fmla="*/ 4601 w 10000"/>
                <a:gd name="connsiteY55" fmla="*/ 769 h 10441"/>
                <a:gd name="connsiteX56" fmla="*/ 4695 w 10000"/>
                <a:gd name="connsiteY56" fmla="*/ 1068 h 10441"/>
                <a:gd name="connsiteX57" fmla="*/ 4413 w 10000"/>
                <a:gd name="connsiteY57" fmla="*/ 1307 h 10441"/>
                <a:gd name="connsiteX58" fmla="*/ 4930 w 10000"/>
                <a:gd name="connsiteY58" fmla="*/ 1187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5446 w 10000"/>
                <a:gd name="connsiteY65" fmla="*/ 2710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2629 w 10000"/>
                <a:gd name="connsiteY42" fmla="*/ 2411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4930 w 10000"/>
                <a:gd name="connsiteY58" fmla="*/ 1187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5446 w 10000"/>
                <a:gd name="connsiteY65" fmla="*/ 2710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2629 w 10000"/>
                <a:gd name="connsiteY42" fmla="*/ 2411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562 w 10000"/>
                <a:gd name="connsiteY58" fmla="*/ 1016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5446 w 10000"/>
                <a:gd name="connsiteY65" fmla="*/ 2710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2629 w 10000"/>
                <a:gd name="connsiteY42" fmla="*/ 2411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562 w 10000"/>
                <a:gd name="connsiteY58" fmla="*/ 1016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6553 w 10000"/>
                <a:gd name="connsiteY65" fmla="*/ 2835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1854 w 10000"/>
                <a:gd name="connsiteY42" fmla="*/ 1859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562 w 10000"/>
                <a:gd name="connsiteY58" fmla="*/ 1016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6553 w 10000"/>
                <a:gd name="connsiteY65" fmla="*/ 2835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1854 w 10000"/>
                <a:gd name="connsiteY42" fmla="*/ 1859 h 10441"/>
                <a:gd name="connsiteX43" fmla="*/ 2180 w 10000"/>
                <a:gd name="connsiteY43" fmla="*/ 1567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562 w 10000"/>
                <a:gd name="connsiteY58" fmla="*/ 1016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6553 w 10000"/>
                <a:gd name="connsiteY65" fmla="*/ 2835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1854 w 10000"/>
                <a:gd name="connsiteY42" fmla="*/ 1859 h 10441"/>
                <a:gd name="connsiteX43" fmla="*/ 2180 w 10000"/>
                <a:gd name="connsiteY43" fmla="*/ 1567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143 w 10000"/>
                <a:gd name="connsiteY58" fmla="*/ 981 h 10441"/>
                <a:gd name="connsiteX59" fmla="*/ 5562 w 10000"/>
                <a:gd name="connsiteY59" fmla="*/ 1016 h 10441"/>
                <a:gd name="connsiteX60" fmla="*/ 5634 w 10000"/>
                <a:gd name="connsiteY60" fmla="*/ 1426 h 10441"/>
                <a:gd name="connsiteX61" fmla="*/ 5915 w 10000"/>
                <a:gd name="connsiteY61" fmla="*/ 1277 h 10441"/>
                <a:gd name="connsiteX62" fmla="*/ 6103 w 10000"/>
                <a:gd name="connsiteY62" fmla="*/ 1605 h 10441"/>
                <a:gd name="connsiteX63" fmla="*/ 5681 w 10000"/>
                <a:gd name="connsiteY63" fmla="*/ 1844 h 10441"/>
                <a:gd name="connsiteX64" fmla="*/ 6009 w 10000"/>
                <a:gd name="connsiteY64" fmla="*/ 1963 h 10441"/>
                <a:gd name="connsiteX65" fmla="*/ 5915 w 10000"/>
                <a:gd name="connsiteY65" fmla="*/ 2381 h 10441"/>
                <a:gd name="connsiteX66" fmla="*/ 6553 w 10000"/>
                <a:gd name="connsiteY66" fmla="*/ 2835 h 10441"/>
                <a:gd name="connsiteX67" fmla="*/ 7042 w 10000"/>
                <a:gd name="connsiteY67" fmla="*/ 3247 h 10441"/>
                <a:gd name="connsiteX68" fmla="*/ 6620 w 10000"/>
                <a:gd name="connsiteY68" fmla="*/ 3486 h 10441"/>
                <a:gd name="connsiteX69" fmla="*/ 6103 w 10000"/>
                <a:gd name="connsiteY69" fmla="*/ 3396 h 10441"/>
                <a:gd name="connsiteX70" fmla="*/ 5634 w 10000"/>
                <a:gd name="connsiteY70" fmla="*/ 3486 h 10441"/>
                <a:gd name="connsiteX71" fmla="*/ 5728 w 10000"/>
                <a:gd name="connsiteY71" fmla="*/ 3754 h 10441"/>
                <a:gd name="connsiteX72" fmla="*/ 6056 w 10000"/>
                <a:gd name="connsiteY72" fmla="*/ 3874 h 10441"/>
                <a:gd name="connsiteX73" fmla="*/ 6150 w 10000"/>
                <a:gd name="connsiteY73" fmla="*/ 4590 h 10441"/>
                <a:gd name="connsiteX74" fmla="*/ 5540 w 10000"/>
                <a:gd name="connsiteY74" fmla="*/ 4620 h 10441"/>
                <a:gd name="connsiteX75" fmla="*/ 5540 w 10000"/>
                <a:gd name="connsiteY75" fmla="*/ 5038 h 10441"/>
                <a:gd name="connsiteX76" fmla="*/ 4601 w 10000"/>
                <a:gd name="connsiteY76" fmla="*/ 5456 h 10441"/>
                <a:gd name="connsiteX77" fmla="*/ 4883 w 10000"/>
                <a:gd name="connsiteY77" fmla="*/ 5844 h 10441"/>
                <a:gd name="connsiteX78" fmla="*/ 4648 w 10000"/>
                <a:gd name="connsiteY78" fmla="*/ 6202 h 10441"/>
                <a:gd name="connsiteX79" fmla="*/ 5446 w 10000"/>
                <a:gd name="connsiteY79" fmla="*/ 6889 h 10441"/>
                <a:gd name="connsiteX80" fmla="*/ 6573 w 10000"/>
                <a:gd name="connsiteY80" fmla="*/ 6889 h 10441"/>
                <a:gd name="connsiteX81" fmla="*/ 7230 w 10000"/>
                <a:gd name="connsiteY81" fmla="*/ 6769 h 10441"/>
                <a:gd name="connsiteX82" fmla="*/ 7793 w 10000"/>
                <a:gd name="connsiteY82" fmla="*/ 6919 h 10441"/>
                <a:gd name="connsiteX83" fmla="*/ 8263 w 10000"/>
                <a:gd name="connsiteY83" fmla="*/ 7307 h 10441"/>
                <a:gd name="connsiteX84" fmla="*/ 8638 w 10000"/>
                <a:gd name="connsiteY84" fmla="*/ 8053 h 10441"/>
                <a:gd name="connsiteX85" fmla="*/ 9014 w 10000"/>
                <a:gd name="connsiteY85" fmla="*/ 8023 h 10441"/>
                <a:gd name="connsiteX86" fmla="*/ 10000 w 10000"/>
                <a:gd name="connsiteY86" fmla="*/ 8769 h 10441"/>
                <a:gd name="connsiteX87" fmla="*/ 8826 w 10000"/>
                <a:gd name="connsiteY87" fmla="*/ 9575 h 10441"/>
                <a:gd name="connsiteX88" fmla="*/ 9296 w 10000"/>
                <a:gd name="connsiteY88" fmla="*/ 10172 h 10441"/>
                <a:gd name="connsiteX89" fmla="*/ 9108 w 10000"/>
                <a:gd name="connsiteY89" fmla="*/ 10411 h 10441"/>
                <a:gd name="connsiteX90" fmla="*/ 8826 w 10000"/>
                <a:gd name="connsiteY90" fmla="*/ 10172 h 10441"/>
                <a:gd name="connsiteX91" fmla="*/ 6948 w 10000"/>
                <a:gd name="connsiteY91" fmla="*/ 10142 h 10441"/>
                <a:gd name="connsiteX92" fmla="*/ 6620 w 10000"/>
                <a:gd name="connsiteY92" fmla="*/ 10441 h 10441"/>
                <a:gd name="connsiteX93" fmla="*/ 6056 w 10000"/>
                <a:gd name="connsiteY93"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1854 w 10000"/>
                <a:gd name="connsiteY42" fmla="*/ 1859 h 10441"/>
                <a:gd name="connsiteX43" fmla="*/ 2180 w 10000"/>
                <a:gd name="connsiteY43" fmla="*/ 1567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876 w 10000"/>
                <a:gd name="connsiteY54" fmla="*/ 100 h 10441"/>
                <a:gd name="connsiteX55" fmla="*/ 4601 w 10000"/>
                <a:gd name="connsiteY55" fmla="*/ 769 h 10441"/>
                <a:gd name="connsiteX56" fmla="*/ 4695 w 10000"/>
                <a:gd name="connsiteY56" fmla="*/ 1068 h 10441"/>
                <a:gd name="connsiteX57" fmla="*/ 4413 w 10000"/>
                <a:gd name="connsiteY57" fmla="*/ 1307 h 10441"/>
                <a:gd name="connsiteX58" fmla="*/ 5143 w 10000"/>
                <a:gd name="connsiteY58" fmla="*/ 981 h 10441"/>
                <a:gd name="connsiteX59" fmla="*/ 5562 w 10000"/>
                <a:gd name="connsiteY59" fmla="*/ 1016 h 10441"/>
                <a:gd name="connsiteX60" fmla="*/ 5634 w 10000"/>
                <a:gd name="connsiteY60" fmla="*/ 1426 h 10441"/>
                <a:gd name="connsiteX61" fmla="*/ 5915 w 10000"/>
                <a:gd name="connsiteY61" fmla="*/ 1277 h 10441"/>
                <a:gd name="connsiteX62" fmla="*/ 6103 w 10000"/>
                <a:gd name="connsiteY62" fmla="*/ 1605 h 10441"/>
                <a:gd name="connsiteX63" fmla="*/ 5681 w 10000"/>
                <a:gd name="connsiteY63" fmla="*/ 1844 h 10441"/>
                <a:gd name="connsiteX64" fmla="*/ 6009 w 10000"/>
                <a:gd name="connsiteY64" fmla="*/ 1963 h 10441"/>
                <a:gd name="connsiteX65" fmla="*/ 5915 w 10000"/>
                <a:gd name="connsiteY65" fmla="*/ 2381 h 10441"/>
                <a:gd name="connsiteX66" fmla="*/ 6553 w 10000"/>
                <a:gd name="connsiteY66" fmla="*/ 2835 h 10441"/>
                <a:gd name="connsiteX67" fmla="*/ 7042 w 10000"/>
                <a:gd name="connsiteY67" fmla="*/ 3247 h 10441"/>
                <a:gd name="connsiteX68" fmla="*/ 6620 w 10000"/>
                <a:gd name="connsiteY68" fmla="*/ 3486 h 10441"/>
                <a:gd name="connsiteX69" fmla="*/ 6103 w 10000"/>
                <a:gd name="connsiteY69" fmla="*/ 3396 h 10441"/>
                <a:gd name="connsiteX70" fmla="*/ 5634 w 10000"/>
                <a:gd name="connsiteY70" fmla="*/ 3486 h 10441"/>
                <a:gd name="connsiteX71" fmla="*/ 5728 w 10000"/>
                <a:gd name="connsiteY71" fmla="*/ 3754 h 10441"/>
                <a:gd name="connsiteX72" fmla="*/ 6056 w 10000"/>
                <a:gd name="connsiteY72" fmla="*/ 3874 h 10441"/>
                <a:gd name="connsiteX73" fmla="*/ 6150 w 10000"/>
                <a:gd name="connsiteY73" fmla="*/ 4590 h 10441"/>
                <a:gd name="connsiteX74" fmla="*/ 5540 w 10000"/>
                <a:gd name="connsiteY74" fmla="*/ 4620 h 10441"/>
                <a:gd name="connsiteX75" fmla="*/ 5540 w 10000"/>
                <a:gd name="connsiteY75" fmla="*/ 5038 h 10441"/>
                <a:gd name="connsiteX76" fmla="*/ 4601 w 10000"/>
                <a:gd name="connsiteY76" fmla="*/ 5456 h 10441"/>
                <a:gd name="connsiteX77" fmla="*/ 4883 w 10000"/>
                <a:gd name="connsiteY77" fmla="*/ 5844 h 10441"/>
                <a:gd name="connsiteX78" fmla="*/ 4648 w 10000"/>
                <a:gd name="connsiteY78" fmla="*/ 6202 h 10441"/>
                <a:gd name="connsiteX79" fmla="*/ 5446 w 10000"/>
                <a:gd name="connsiteY79" fmla="*/ 6889 h 10441"/>
                <a:gd name="connsiteX80" fmla="*/ 6573 w 10000"/>
                <a:gd name="connsiteY80" fmla="*/ 6889 h 10441"/>
                <a:gd name="connsiteX81" fmla="*/ 7230 w 10000"/>
                <a:gd name="connsiteY81" fmla="*/ 6769 h 10441"/>
                <a:gd name="connsiteX82" fmla="*/ 7793 w 10000"/>
                <a:gd name="connsiteY82" fmla="*/ 6919 h 10441"/>
                <a:gd name="connsiteX83" fmla="*/ 8263 w 10000"/>
                <a:gd name="connsiteY83" fmla="*/ 7307 h 10441"/>
                <a:gd name="connsiteX84" fmla="*/ 8638 w 10000"/>
                <a:gd name="connsiteY84" fmla="*/ 8053 h 10441"/>
                <a:gd name="connsiteX85" fmla="*/ 9014 w 10000"/>
                <a:gd name="connsiteY85" fmla="*/ 8023 h 10441"/>
                <a:gd name="connsiteX86" fmla="*/ 10000 w 10000"/>
                <a:gd name="connsiteY86" fmla="*/ 8769 h 10441"/>
                <a:gd name="connsiteX87" fmla="*/ 8826 w 10000"/>
                <a:gd name="connsiteY87" fmla="*/ 9575 h 10441"/>
                <a:gd name="connsiteX88" fmla="*/ 9296 w 10000"/>
                <a:gd name="connsiteY88" fmla="*/ 10172 h 10441"/>
                <a:gd name="connsiteX89" fmla="*/ 9108 w 10000"/>
                <a:gd name="connsiteY89" fmla="*/ 10411 h 10441"/>
                <a:gd name="connsiteX90" fmla="*/ 8826 w 10000"/>
                <a:gd name="connsiteY90" fmla="*/ 10172 h 10441"/>
                <a:gd name="connsiteX91" fmla="*/ 6948 w 10000"/>
                <a:gd name="connsiteY91" fmla="*/ 10142 h 10441"/>
                <a:gd name="connsiteX92" fmla="*/ 6620 w 10000"/>
                <a:gd name="connsiteY92" fmla="*/ 10441 h 10441"/>
                <a:gd name="connsiteX93" fmla="*/ 6056 w 10000"/>
                <a:gd name="connsiteY93" fmla="*/ 10411 h 10441"/>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3146 w 10000"/>
                <a:gd name="connsiteY48" fmla="*/ 1506 h 10760"/>
                <a:gd name="connsiteX49" fmla="*/ 2676 w 10000"/>
                <a:gd name="connsiteY49" fmla="*/ 999 h 10760"/>
                <a:gd name="connsiteX50" fmla="*/ 2300 w 10000"/>
                <a:gd name="connsiteY50" fmla="*/ 1059 h 10760"/>
                <a:gd name="connsiteX51" fmla="*/ 2254 w 10000"/>
                <a:gd name="connsiteY51" fmla="*/ 879 h 10760"/>
                <a:gd name="connsiteX52" fmla="*/ 2629 w 10000"/>
                <a:gd name="connsiteY52" fmla="*/ 760 h 10760"/>
                <a:gd name="connsiteX53" fmla="*/ 2267 w 10000"/>
                <a:gd name="connsiteY53" fmla="*/ 0 h 10760"/>
                <a:gd name="connsiteX54" fmla="*/ 3876 w 10000"/>
                <a:gd name="connsiteY54" fmla="*/ 419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3146 w 10000"/>
                <a:gd name="connsiteY48" fmla="*/ 1506 h 10760"/>
                <a:gd name="connsiteX49" fmla="*/ 2676 w 10000"/>
                <a:gd name="connsiteY49" fmla="*/ 999 h 10760"/>
                <a:gd name="connsiteX50" fmla="*/ 2300 w 10000"/>
                <a:gd name="connsiteY50" fmla="*/ 1059 h 10760"/>
                <a:gd name="connsiteX51" fmla="*/ 2254 w 10000"/>
                <a:gd name="connsiteY51" fmla="*/ 879 h 10760"/>
                <a:gd name="connsiteX52" fmla="*/ 2629 w 10000"/>
                <a:gd name="connsiteY52" fmla="*/ 760 h 10760"/>
                <a:gd name="connsiteX53" fmla="*/ 2267 w 10000"/>
                <a:gd name="connsiteY53" fmla="*/ 0 h 10760"/>
                <a:gd name="connsiteX54" fmla="*/ 3423 w 10000"/>
                <a:gd name="connsiteY54" fmla="*/ 234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676 w 10000"/>
                <a:gd name="connsiteY49" fmla="*/ 999 h 10760"/>
                <a:gd name="connsiteX50" fmla="*/ 2300 w 10000"/>
                <a:gd name="connsiteY50" fmla="*/ 1059 h 10760"/>
                <a:gd name="connsiteX51" fmla="*/ 2254 w 10000"/>
                <a:gd name="connsiteY51" fmla="*/ 879 h 10760"/>
                <a:gd name="connsiteX52" fmla="*/ 2629 w 10000"/>
                <a:gd name="connsiteY52" fmla="*/ 760 h 10760"/>
                <a:gd name="connsiteX53" fmla="*/ 2267 w 10000"/>
                <a:gd name="connsiteY53" fmla="*/ 0 h 10760"/>
                <a:gd name="connsiteX54" fmla="*/ 3423 w 10000"/>
                <a:gd name="connsiteY54" fmla="*/ 234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629 w 10000"/>
                <a:gd name="connsiteY52" fmla="*/ 760 h 10760"/>
                <a:gd name="connsiteX53" fmla="*/ 2267 w 10000"/>
                <a:gd name="connsiteY53" fmla="*/ 0 h 10760"/>
                <a:gd name="connsiteX54" fmla="*/ 3423 w 10000"/>
                <a:gd name="connsiteY54" fmla="*/ 234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423 w 10000"/>
                <a:gd name="connsiteY54" fmla="*/ 234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695 w 10000"/>
                <a:gd name="connsiteY56" fmla="*/ 1387 h 10760"/>
                <a:gd name="connsiteX57" fmla="*/ 4927 w 10000"/>
                <a:gd name="connsiteY57" fmla="*/ 119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695 w 10000"/>
                <a:gd name="connsiteY56" fmla="*/ 1387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728 w 10000"/>
                <a:gd name="connsiteY71" fmla="*/ 4073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986 w 10000"/>
                <a:gd name="connsiteY36" fmla="*/ 2461 h 10760"/>
                <a:gd name="connsiteX37" fmla="*/ 1784 w 10000"/>
                <a:gd name="connsiteY37" fmla="*/ 2461 h 10760"/>
                <a:gd name="connsiteX38" fmla="*/ 1033 w 10000"/>
                <a:gd name="connsiteY38" fmla="*/ 2521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986 w 10000"/>
                <a:gd name="connsiteY36" fmla="*/ 2461 h 10760"/>
                <a:gd name="connsiteX37" fmla="*/ 1784 w 10000"/>
                <a:gd name="connsiteY37" fmla="*/ 2461 h 10760"/>
                <a:gd name="connsiteX38" fmla="*/ 708 w 10000"/>
                <a:gd name="connsiteY38" fmla="*/ 2015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1007 w 10000"/>
                <a:gd name="connsiteY36" fmla="*/ 1999 h 10760"/>
                <a:gd name="connsiteX37" fmla="*/ 1784 w 10000"/>
                <a:gd name="connsiteY37" fmla="*/ 2461 h 10760"/>
                <a:gd name="connsiteX38" fmla="*/ 708 w 10000"/>
                <a:gd name="connsiteY38" fmla="*/ 2015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1007 w 10000"/>
                <a:gd name="connsiteY36" fmla="*/ 1999 h 10760"/>
                <a:gd name="connsiteX37" fmla="*/ 1784 w 10000"/>
                <a:gd name="connsiteY37" fmla="*/ 2461 h 10760"/>
                <a:gd name="connsiteX38" fmla="*/ 708 w 10000"/>
                <a:gd name="connsiteY38" fmla="*/ 2015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1007 w 10000"/>
                <a:gd name="connsiteY36" fmla="*/ 1999 h 10760"/>
                <a:gd name="connsiteX37" fmla="*/ 1784 w 10000"/>
                <a:gd name="connsiteY37" fmla="*/ 2461 h 10760"/>
                <a:gd name="connsiteX38" fmla="*/ 708 w 10000"/>
                <a:gd name="connsiteY38" fmla="*/ 2015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2305 w 10000"/>
                <a:gd name="connsiteY44" fmla="*/ 179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1007 w 10000"/>
                <a:gd name="connsiteY36" fmla="*/ 1999 h 10760"/>
                <a:gd name="connsiteX37" fmla="*/ 1784 w 10000"/>
                <a:gd name="connsiteY37" fmla="*/ 2461 h 10760"/>
                <a:gd name="connsiteX38" fmla="*/ 708 w 10000"/>
                <a:gd name="connsiteY38" fmla="*/ 2015 h 10760"/>
                <a:gd name="connsiteX39" fmla="*/ 1019 w 10000"/>
                <a:gd name="connsiteY39" fmla="*/ 2021 h 10760"/>
                <a:gd name="connsiteX40" fmla="*/ 1181 w 10000"/>
                <a:gd name="connsiteY40" fmla="*/ 2083 h 10760"/>
                <a:gd name="connsiteX41" fmla="*/ 2066 w 10000"/>
                <a:gd name="connsiteY41" fmla="*/ 2820 h 10760"/>
                <a:gd name="connsiteX42" fmla="*/ 1854 w 10000"/>
                <a:gd name="connsiteY42" fmla="*/ 2178 h 10760"/>
                <a:gd name="connsiteX43" fmla="*/ 2180 w 10000"/>
                <a:gd name="connsiteY43" fmla="*/ 1886 h 10760"/>
                <a:gd name="connsiteX44" fmla="*/ 2305 w 10000"/>
                <a:gd name="connsiteY44" fmla="*/ 179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112 w 10056"/>
                <a:gd name="connsiteY0" fmla="*/ 10730 h 10760"/>
                <a:gd name="connsiteX1" fmla="*/ 6206 w 10056"/>
                <a:gd name="connsiteY1" fmla="*/ 9894 h 10760"/>
                <a:gd name="connsiteX2" fmla="*/ 6488 w 10056"/>
                <a:gd name="connsiteY2" fmla="*/ 9088 h 10760"/>
                <a:gd name="connsiteX3" fmla="*/ 5690 w 10056"/>
                <a:gd name="connsiteY3" fmla="*/ 8909 h 10760"/>
                <a:gd name="connsiteX4" fmla="*/ 5455 w 10056"/>
                <a:gd name="connsiteY4" fmla="*/ 8730 h 10760"/>
                <a:gd name="connsiteX5" fmla="*/ 5079 w 10056"/>
                <a:gd name="connsiteY5" fmla="*/ 8820 h 10760"/>
                <a:gd name="connsiteX6" fmla="*/ 4751 w 10056"/>
                <a:gd name="connsiteY6" fmla="*/ 8253 h 10760"/>
                <a:gd name="connsiteX7" fmla="*/ 4187 w 10056"/>
                <a:gd name="connsiteY7" fmla="*/ 7894 h 10760"/>
                <a:gd name="connsiteX8" fmla="*/ 3765 w 10056"/>
                <a:gd name="connsiteY8" fmla="*/ 7924 h 10760"/>
                <a:gd name="connsiteX9" fmla="*/ 3859 w 10056"/>
                <a:gd name="connsiteY9" fmla="*/ 8103 h 10760"/>
                <a:gd name="connsiteX10" fmla="*/ 3389 w 10056"/>
                <a:gd name="connsiteY10" fmla="*/ 8133 h 10760"/>
                <a:gd name="connsiteX11" fmla="*/ 3342 w 10056"/>
                <a:gd name="connsiteY11" fmla="*/ 7447 h 10760"/>
                <a:gd name="connsiteX12" fmla="*/ 2591 w 10056"/>
                <a:gd name="connsiteY12" fmla="*/ 7417 h 10760"/>
                <a:gd name="connsiteX13" fmla="*/ 2685 w 10056"/>
                <a:gd name="connsiteY13" fmla="*/ 7118 h 10760"/>
                <a:gd name="connsiteX14" fmla="*/ 2356 w 10056"/>
                <a:gd name="connsiteY14" fmla="*/ 7029 h 10760"/>
                <a:gd name="connsiteX15" fmla="*/ 2169 w 10056"/>
                <a:gd name="connsiteY15" fmla="*/ 6521 h 10760"/>
                <a:gd name="connsiteX16" fmla="*/ 2497 w 10056"/>
                <a:gd name="connsiteY16" fmla="*/ 6372 h 10760"/>
                <a:gd name="connsiteX17" fmla="*/ 2967 w 10056"/>
                <a:gd name="connsiteY17" fmla="*/ 5984 h 10760"/>
                <a:gd name="connsiteX18" fmla="*/ 2685 w 10056"/>
                <a:gd name="connsiteY18" fmla="*/ 5775 h 10760"/>
                <a:gd name="connsiteX19" fmla="*/ 3248 w 10056"/>
                <a:gd name="connsiteY19" fmla="*/ 5447 h 10760"/>
                <a:gd name="connsiteX20" fmla="*/ 2685 w 10056"/>
                <a:gd name="connsiteY20" fmla="*/ 5447 h 10760"/>
                <a:gd name="connsiteX21" fmla="*/ 2685 w 10056"/>
                <a:gd name="connsiteY21" fmla="*/ 5088 h 10760"/>
                <a:gd name="connsiteX22" fmla="*/ 2873 w 10056"/>
                <a:gd name="connsiteY22" fmla="*/ 4521 h 10760"/>
                <a:gd name="connsiteX23" fmla="*/ 2638 w 10056"/>
                <a:gd name="connsiteY23" fmla="*/ 4044 h 10760"/>
                <a:gd name="connsiteX24" fmla="*/ 3344 w 10056"/>
                <a:gd name="connsiteY24" fmla="*/ 3532 h 10760"/>
                <a:gd name="connsiteX25" fmla="*/ 2946 w 10056"/>
                <a:gd name="connsiteY25" fmla="*/ 3342 h 10760"/>
                <a:gd name="connsiteX26" fmla="*/ 2676 w 10056"/>
                <a:gd name="connsiteY26" fmla="*/ 3260 h 10760"/>
                <a:gd name="connsiteX27" fmla="*/ 1981 w 10056"/>
                <a:gd name="connsiteY27" fmla="*/ 3357 h 10760"/>
                <a:gd name="connsiteX28" fmla="*/ 1743 w 10056"/>
                <a:gd name="connsiteY28" fmla="*/ 3336 h 10760"/>
                <a:gd name="connsiteX29" fmla="*/ 1371 w 10056"/>
                <a:gd name="connsiteY29" fmla="*/ 3118 h 10760"/>
                <a:gd name="connsiteX30" fmla="*/ 995 w 10056"/>
                <a:gd name="connsiteY30" fmla="*/ 2939 h 10760"/>
                <a:gd name="connsiteX31" fmla="*/ 225 w 10056"/>
                <a:gd name="connsiteY31" fmla="*/ 2950 h 10760"/>
                <a:gd name="connsiteX32" fmla="*/ 7 w 10056"/>
                <a:gd name="connsiteY32" fmla="*/ 2306 h 10760"/>
                <a:gd name="connsiteX33" fmla="*/ 244 w 10056"/>
                <a:gd name="connsiteY33" fmla="*/ 2820 h 10760"/>
                <a:gd name="connsiteX34" fmla="*/ 56 w 10056"/>
                <a:gd name="connsiteY34" fmla="*/ 2790 h 10760"/>
                <a:gd name="connsiteX35" fmla="*/ 414 w 10056"/>
                <a:gd name="connsiteY35" fmla="*/ 1986 h 10760"/>
                <a:gd name="connsiteX36" fmla="*/ 1063 w 10056"/>
                <a:gd name="connsiteY36" fmla="*/ 1999 h 10760"/>
                <a:gd name="connsiteX37" fmla="*/ 1840 w 10056"/>
                <a:gd name="connsiteY37" fmla="*/ 2461 h 10760"/>
                <a:gd name="connsiteX38" fmla="*/ 764 w 10056"/>
                <a:gd name="connsiteY38" fmla="*/ 2015 h 10760"/>
                <a:gd name="connsiteX39" fmla="*/ 1075 w 10056"/>
                <a:gd name="connsiteY39" fmla="*/ 2021 h 10760"/>
                <a:gd name="connsiteX40" fmla="*/ 1237 w 10056"/>
                <a:gd name="connsiteY40" fmla="*/ 2083 h 10760"/>
                <a:gd name="connsiteX41" fmla="*/ 2122 w 10056"/>
                <a:gd name="connsiteY41" fmla="*/ 2820 h 10760"/>
                <a:gd name="connsiteX42" fmla="*/ 1910 w 10056"/>
                <a:gd name="connsiteY42" fmla="*/ 2178 h 10760"/>
                <a:gd name="connsiteX43" fmla="*/ 2236 w 10056"/>
                <a:gd name="connsiteY43" fmla="*/ 1886 h 10760"/>
                <a:gd name="connsiteX44" fmla="*/ 2361 w 10056"/>
                <a:gd name="connsiteY44" fmla="*/ 1793 h 10760"/>
                <a:gd name="connsiteX45" fmla="*/ 3061 w 10056"/>
                <a:gd name="connsiteY45" fmla="*/ 1805 h 10760"/>
                <a:gd name="connsiteX46" fmla="*/ 2779 w 10056"/>
                <a:gd name="connsiteY46" fmla="*/ 1835 h 10760"/>
                <a:gd name="connsiteX47" fmla="*/ 2591 w 10056"/>
                <a:gd name="connsiteY47" fmla="*/ 1596 h 10760"/>
                <a:gd name="connsiteX48" fmla="*/ 2574 w 10056"/>
                <a:gd name="connsiteY48" fmla="*/ 1359 h 10760"/>
                <a:gd name="connsiteX49" fmla="*/ 2622 w 10056"/>
                <a:gd name="connsiteY49" fmla="*/ 1009 h 10760"/>
                <a:gd name="connsiteX50" fmla="*/ 2356 w 10056"/>
                <a:gd name="connsiteY50" fmla="*/ 1059 h 10760"/>
                <a:gd name="connsiteX51" fmla="*/ 2310 w 10056"/>
                <a:gd name="connsiteY51" fmla="*/ 879 h 10760"/>
                <a:gd name="connsiteX52" fmla="*/ 2425 w 10056"/>
                <a:gd name="connsiteY52" fmla="*/ 580 h 10760"/>
                <a:gd name="connsiteX53" fmla="*/ 2323 w 10056"/>
                <a:gd name="connsiteY53" fmla="*/ 0 h 10760"/>
                <a:gd name="connsiteX54" fmla="*/ 3621 w 10056"/>
                <a:gd name="connsiteY54" fmla="*/ 195 h 10760"/>
                <a:gd name="connsiteX55" fmla="*/ 4657 w 10056"/>
                <a:gd name="connsiteY55" fmla="*/ 1088 h 10760"/>
                <a:gd name="connsiteX56" fmla="*/ 4917 w 10056"/>
                <a:gd name="connsiteY56" fmla="*/ 1091 h 10760"/>
                <a:gd name="connsiteX57" fmla="*/ 4983 w 10056"/>
                <a:gd name="connsiteY57" fmla="*/ 1196 h 10760"/>
                <a:gd name="connsiteX58" fmla="*/ 5199 w 10056"/>
                <a:gd name="connsiteY58" fmla="*/ 1300 h 10760"/>
                <a:gd name="connsiteX59" fmla="*/ 5640 w 10056"/>
                <a:gd name="connsiteY59" fmla="*/ 1256 h 10760"/>
                <a:gd name="connsiteX60" fmla="*/ 5690 w 10056"/>
                <a:gd name="connsiteY60" fmla="*/ 1745 h 10760"/>
                <a:gd name="connsiteX61" fmla="*/ 5971 w 10056"/>
                <a:gd name="connsiteY61" fmla="*/ 1596 h 10760"/>
                <a:gd name="connsiteX62" fmla="*/ 6159 w 10056"/>
                <a:gd name="connsiteY62" fmla="*/ 1924 h 10760"/>
                <a:gd name="connsiteX63" fmla="*/ 5737 w 10056"/>
                <a:gd name="connsiteY63" fmla="*/ 2163 h 10760"/>
                <a:gd name="connsiteX64" fmla="*/ 6065 w 10056"/>
                <a:gd name="connsiteY64" fmla="*/ 2282 h 10760"/>
                <a:gd name="connsiteX65" fmla="*/ 5971 w 10056"/>
                <a:gd name="connsiteY65" fmla="*/ 2700 h 10760"/>
                <a:gd name="connsiteX66" fmla="*/ 6866 w 10056"/>
                <a:gd name="connsiteY66" fmla="*/ 3130 h 10760"/>
                <a:gd name="connsiteX67" fmla="*/ 5479 w 10056"/>
                <a:gd name="connsiteY67" fmla="*/ 3332 h 10760"/>
                <a:gd name="connsiteX68" fmla="*/ 5732 w 10056"/>
                <a:gd name="connsiteY68" fmla="*/ 3764 h 10760"/>
                <a:gd name="connsiteX69" fmla="*/ 6159 w 10056"/>
                <a:gd name="connsiteY69" fmla="*/ 3715 h 10760"/>
                <a:gd name="connsiteX70" fmla="*/ 5690 w 10056"/>
                <a:gd name="connsiteY70" fmla="*/ 3805 h 10760"/>
                <a:gd name="connsiteX71" fmla="*/ 6022 w 10056"/>
                <a:gd name="connsiteY71" fmla="*/ 3949 h 10760"/>
                <a:gd name="connsiteX72" fmla="*/ 5923 w 10056"/>
                <a:gd name="connsiteY72" fmla="*/ 4185 h 10760"/>
                <a:gd name="connsiteX73" fmla="*/ 6206 w 10056"/>
                <a:gd name="connsiteY73" fmla="*/ 4909 h 10760"/>
                <a:gd name="connsiteX74" fmla="*/ 5596 w 10056"/>
                <a:gd name="connsiteY74" fmla="*/ 4939 h 10760"/>
                <a:gd name="connsiteX75" fmla="*/ 5596 w 10056"/>
                <a:gd name="connsiteY75" fmla="*/ 5357 h 10760"/>
                <a:gd name="connsiteX76" fmla="*/ 4657 w 10056"/>
                <a:gd name="connsiteY76" fmla="*/ 5775 h 10760"/>
                <a:gd name="connsiteX77" fmla="*/ 4939 w 10056"/>
                <a:gd name="connsiteY77" fmla="*/ 6163 h 10760"/>
                <a:gd name="connsiteX78" fmla="*/ 4704 w 10056"/>
                <a:gd name="connsiteY78" fmla="*/ 6521 h 10760"/>
                <a:gd name="connsiteX79" fmla="*/ 5502 w 10056"/>
                <a:gd name="connsiteY79" fmla="*/ 7208 h 10760"/>
                <a:gd name="connsiteX80" fmla="*/ 6629 w 10056"/>
                <a:gd name="connsiteY80" fmla="*/ 7208 h 10760"/>
                <a:gd name="connsiteX81" fmla="*/ 7286 w 10056"/>
                <a:gd name="connsiteY81" fmla="*/ 7088 h 10760"/>
                <a:gd name="connsiteX82" fmla="*/ 7849 w 10056"/>
                <a:gd name="connsiteY82" fmla="*/ 7238 h 10760"/>
                <a:gd name="connsiteX83" fmla="*/ 8319 w 10056"/>
                <a:gd name="connsiteY83" fmla="*/ 7626 h 10760"/>
                <a:gd name="connsiteX84" fmla="*/ 8694 w 10056"/>
                <a:gd name="connsiteY84" fmla="*/ 8372 h 10760"/>
                <a:gd name="connsiteX85" fmla="*/ 9070 w 10056"/>
                <a:gd name="connsiteY85" fmla="*/ 8342 h 10760"/>
                <a:gd name="connsiteX86" fmla="*/ 10056 w 10056"/>
                <a:gd name="connsiteY86" fmla="*/ 9088 h 10760"/>
                <a:gd name="connsiteX87" fmla="*/ 8882 w 10056"/>
                <a:gd name="connsiteY87" fmla="*/ 9894 h 10760"/>
                <a:gd name="connsiteX88" fmla="*/ 9352 w 10056"/>
                <a:gd name="connsiteY88" fmla="*/ 10491 h 10760"/>
                <a:gd name="connsiteX89" fmla="*/ 9164 w 10056"/>
                <a:gd name="connsiteY89" fmla="*/ 10730 h 10760"/>
                <a:gd name="connsiteX90" fmla="*/ 8882 w 10056"/>
                <a:gd name="connsiteY90" fmla="*/ 10491 h 10760"/>
                <a:gd name="connsiteX91" fmla="*/ 7004 w 10056"/>
                <a:gd name="connsiteY91" fmla="*/ 10461 h 10760"/>
                <a:gd name="connsiteX92" fmla="*/ 6676 w 10056"/>
                <a:gd name="connsiteY92" fmla="*/ 10760 h 10760"/>
                <a:gd name="connsiteX93" fmla="*/ 6112 w 10056"/>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90 w 10165"/>
                <a:gd name="connsiteY27" fmla="*/ 3357 h 10760"/>
                <a:gd name="connsiteX28" fmla="*/ 1852 w 10165"/>
                <a:gd name="connsiteY28" fmla="*/ 3336 h 10760"/>
                <a:gd name="connsiteX29" fmla="*/ 1480 w 10165"/>
                <a:gd name="connsiteY29" fmla="*/ 3118 h 10760"/>
                <a:gd name="connsiteX30" fmla="*/ 1104 w 10165"/>
                <a:gd name="connsiteY30" fmla="*/ 2939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2231 w 10165"/>
                <a:gd name="connsiteY41" fmla="*/ 2820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90 w 10165"/>
                <a:gd name="connsiteY27" fmla="*/ 3357 h 10760"/>
                <a:gd name="connsiteX28" fmla="*/ 1852 w 10165"/>
                <a:gd name="connsiteY28" fmla="*/ 3336 h 10760"/>
                <a:gd name="connsiteX29" fmla="*/ 1480 w 10165"/>
                <a:gd name="connsiteY29" fmla="*/ 3118 h 10760"/>
                <a:gd name="connsiteX30" fmla="*/ 1104 w 10165"/>
                <a:gd name="connsiteY30" fmla="*/ 2939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90 w 10165"/>
                <a:gd name="connsiteY27" fmla="*/ 3357 h 10760"/>
                <a:gd name="connsiteX28" fmla="*/ 1852 w 10165"/>
                <a:gd name="connsiteY28" fmla="*/ 3336 h 10760"/>
                <a:gd name="connsiteX29" fmla="*/ 1480 w 10165"/>
                <a:gd name="connsiteY29" fmla="*/ 3118 h 10760"/>
                <a:gd name="connsiteX30" fmla="*/ 1104 w 10165"/>
                <a:gd name="connsiteY30" fmla="*/ 2939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1104 w 10165"/>
                <a:gd name="connsiteY30" fmla="*/ 2939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793 w 10165"/>
                <a:gd name="connsiteY30" fmla="*/ 3070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0165" h="10760">
                  <a:moveTo>
                    <a:pt x="6221" y="10730"/>
                  </a:moveTo>
                  <a:cubicBezTo>
                    <a:pt x="6252" y="10451"/>
                    <a:pt x="6284" y="10173"/>
                    <a:pt x="6315" y="9894"/>
                  </a:cubicBezTo>
                  <a:lnTo>
                    <a:pt x="6597" y="9088"/>
                  </a:lnTo>
                  <a:lnTo>
                    <a:pt x="5799" y="8909"/>
                  </a:lnTo>
                  <a:lnTo>
                    <a:pt x="5564" y="8730"/>
                  </a:lnTo>
                  <a:lnTo>
                    <a:pt x="5188" y="8820"/>
                  </a:lnTo>
                  <a:lnTo>
                    <a:pt x="4860" y="8253"/>
                  </a:lnTo>
                  <a:lnTo>
                    <a:pt x="4296" y="7894"/>
                  </a:lnTo>
                  <a:lnTo>
                    <a:pt x="3874" y="7924"/>
                  </a:lnTo>
                  <a:cubicBezTo>
                    <a:pt x="3905" y="7984"/>
                    <a:pt x="3937" y="8043"/>
                    <a:pt x="3968" y="8103"/>
                  </a:cubicBezTo>
                  <a:lnTo>
                    <a:pt x="3498" y="8133"/>
                  </a:lnTo>
                  <a:cubicBezTo>
                    <a:pt x="3482" y="7904"/>
                    <a:pt x="3467" y="7676"/>
                    <a:pt x="3451" y="7447"/>
                  </a:cubicBezTo>
                  <a:lnTo>
                    <a:pt x="2700" y="7417"/>
                  </a:lnTo>
                  <a:cubicBezTo>
                    <a:pt x="2731" y="7317"/>
                    <a:pt x="2763" y="7218"/>
                    <a:pt x="2794" y="7118"/>
                  </a:cubicBezTo>
                  <a:lnTo>
                    <a:pt x="2465" y="7029"/>
                  </a:lnTo>
                  <a:lnTo>
                    <a:pt x="2278" y="6521"/>
                  </a:lnTo>
                  <a:lnTo>
                    <a:pt x="2606" y="6372"/>
                  </a:lnTo>
                  <a:lnTo>
                    <a:pt x="3076" y="5984"/>
                  </a:lnTo>
                  <a:lnTo>
                    <a:pt x="2794" y="5775"/>
                  </a:lnTo>
                  <a:lnTo>
                    <a:pt x="3357" y="5447"/>
                  </a:lnTo>
                  <a:lnTo>
                    <a:pt x="2794" y="5447"/>
                  </a:lnTo>
                  <a:lnTo>
                    <a:pt x="2794" y="5088"/>
                  </a:lnTo>
                  <a:cubicBezTo>
                    <a:pt x="2857" y="4899"/>
                    <a:pt x="2919" y="4710"/>
                    <a:pt x="2982" y="4521"/>
                  </a:cubicBezTo>
                  <a:lnTo>
                    <a:pt x="2747" y="4044"/>
                  </a:lnTo>
                  <a:lnTo>
                    <a:pt x="3453" y="3532"/>
                  </a:lnTo>
                  <a:lnTo>
                    <a:pt x="3055" y="3342"/>
                  </a:lnTo>
                  <a:lnTo>
                    <a:pt x="2785" y="3260"/>
                  </a:lnTo>
                  <a:lnTo>
                    <a:pt x="2078" y="3486"/>
                  </a:lnTo>
                  <a:cubicBezTo>
                    <a:pt x="2047" y="3406"/>
                    <a:pt x="1883" y="3416"/>
                    <a:pt x="1852" y="3336"/>
                  </a:cubicBezTo>
                  <a:lnTo>
                    <a:pt x="1480" y="3118"/>
                  </a:lnTo>
                  <a:lnTo>
                    <a:pt x="793" y="3070"/>
                  </a:lnTo>
                  <a:lnTo>
                    <a:pt x="334" y="2950"/>
                  </a:lnTo>
                  <a:cubicBezTo>
                    <a:pt x="397" y="2851"/>
                    <a:pt x="-57" y="2415"/>
                    <a:pt x="6" y="2316"/>
                  </a:cubicBezTo>
                  <a:cubicBezTo>
                    <a:pt x="24" y="2493"/>
                    <a:pt x="335" y="2643"/>
                    <a:pt x="353" y="2820"/>
                  </a:cubicBezTo>
                  <a:lnTo>
                    <a:pt x="165" y="2790"/>
                  </a:lnTo>
                  <a:lnTo>
                    <a:pt x="523" y="1986"/>
                  </a:lnTo>
                  <a:lnTo>
                    <a:pt x="1172" y="1999"/>
                  </a:lnTo>
                  <a:cubicBezTo>
                    <a:pt x="1541" y="2143"/>
                    <a:pt x="1690" y="2307"/>
                    <a:pt x="1949" y="2461"/>
                  </a:cubicBezTo>
                  <a:lnTo>
                    <a:pt x="873" y="2015"/>
                  </a:lnTo>
                  <a:cubicBezTo>
                    <a:pt x="857" y="2045"/>
                    <a:pt x="1200" y="1991"/>
                    <a:pt x="1184" y="2021"/>
                  </a:cubicBezTo>
                  <a:lnTo>
                    <a:pt x="1346" y="2083"/>
                  </a:lnTo>
                  <a:cubicBezTo>
                    <a:pt x="1504" y="2205"/>
                    <a:pt x="1508" y="2111"/>
                    <a:pt x="1821" y="2449"/>
                  </a:cubicBezTo>
                  <a:cubicBezTo>
                    <a:pt x="1750" y="2235"/>
                    <a:pt x="2090" y="2392"/>
                    <a:pt x="2019" y="2178"/>
                  </a:cubicBezTo>
                  <a:lnTo>
                    <a:pt x="2345" y="1886"/>
                  </a:lnTo>
                  <a:lnTo>
                    <a:pt x="2470" y="1793"/>
                  </a:lnTo>
                  <a:lnTo>
                    <a:pt x="3170" y="1805"/>
                  </a:lnTo>
                  <a:lnTo>
                    <a:pt x="2888" y="1835"/>
                  </a:lnTo>
                  <a:lnTo>
                    <a:pt x="2700" y="1596"/>
                  </a:lnTo>
                  <a:cubicBezTo>
                    <a:pt x="2694" y="1517"/>
                    <a:pt x="2689" y="1438"/>
                    <a:pt x="2683" y="1359"/>
                  </a:cubicBezTo>
                  <a:cubicBezTo>
                    <a:pt x="2736" y="1239"/>
                    <a:pt x="2678" y="1129"/>
                    <a:pt x="2731" y="1009"/>
                  </a:cubicBezTo>
                  <a:lnTo>
                    <a:pt x="2465" y="1059"/>
                  </a:lnTo>
                  <a:cubicBezTo>
                    <a:pt x="2450" y="999"/>
                    <a:pt x="2434" y="939"/>
                    <a:pt x="2419" y="879"/>
                  </a:cubicBezTo>
                  <a:cubicBezTo>
                    <a:pt x="2457" y="779"/>
                    <a:pt x="2496" y="680"/>
                    <a:pt x="2534" y="580"/>
                  </a:cubicBezTo>
                  <a:lnTo>
                    <a:pt x="2432" y="0"/>
                  </a:lnTo>
                  <a:lnTo>
                    <a:pt x="3730" y="195"/>
                  </a:lnTo>
                  <a:lnTo>
                    <a:pt x="4766" y="1088"/>
                  </a:lnTo>
                  <a:cubicBezTo>
                    <a:pt x="4797" y="1188"/>
                    <a:pt x="4995" y="991"/>
                    <a:pt x="5026" y="1091"/>
                  </a:cubicBezTo>
                  <a:lnTo>
                    <a:pt x="5092" y="1196"/>
                  </a:lnTo>
                  <a:cubicBezTo>
                    <a:pt x="5186" y="1176"/>
                    <a:pt x="5214" y="1320"/>
                    <a:pt x="5308" y="1300"/>
                  </a:cubicBezTo>
                  <a:lnTo>
                    <a:pt x="5749" y="1256"/>
                  </a:lnTo>
                  <a:cubicBezTo>
                    <a:pt x="5773" y="1393"/>
                    <a:pt x="5775" y="1608"/>
                    <a:pt x="5799" y="1745"/>
                  </a:cubicBezTo>
                  <a:lnTo>
                    <a:pt x="6080" y="1596"/>
                  </a:lnTo>
                  <a:cubicBezTo>
                    <a:pt x="6143" y="1705"/>
                    <a:pt x="6205" y="1815"/>
                    <a:pt x="6268" y="1924"/>
                  </a:cubicBezTo>
                  <a:lnTo>
                    <a:pt x="5846" y="2163"/>
                  </a:lnTo>
                  <a:lnTo>
                    <a:pt x="6174" y="2282"/>
                  </a:lnTo>
                  <a:cubicBezTo>
                    <a:pt x="6143" y="2421"/>
                    <a:pt x="6111" y="2561"/>
                    <a:pt x="6080" y="2700"/>
                  </a:cubicBezTo>
                  <a:lnTo>
                    <a:pt x="6975" y="3130"/>
                  </a:lnTo>
                  <a:lnTo>
                    <a:pt x="5588" y="3332"/>
                  </a:lnTo>
                  <a:lnTo>
                    <a:pt x="5841" y="3764"/>
                  </a:lnTo>
                  <a:lnTo>
                    <a:pt x="6268" y="3715"/>
                  </a:lnTo>
                  <a:lnTo>
                    <a:pt x="5799" y="3805"/>
                  </a:lnTo>
                  <a:cubicBezTo>
                    <a:pt x="5830" y="3894"/>
                    <a:pt x="6100" y="3860"/>
                    <a:pt x="6131" y="3949"/>
                  </a:cubicBezTo>
                  <a:cubicBezTo>
                    <a:pt x="6098" y="4028"/>
                    <a:pt x="6065" y="4106"/>
                    <a:pt x="6032" y="4185"/>
                  </a:cubicBezTo>
                  <a:cubicBezTo>
                    <a:pt x="6063" y="4424"/>
                    <a:pt x="6284" y="4670"/>
                    <a:pt x="6315" y="4909"/>
                  </a:cubicBezTo>
                  <a:lnTo>
                    <a:pt x="5705" y="4939"/>
                  </a:lnTo>
                  <a:lnTo>
                    <a:pt x="5705" y="5357"/>
                  </a:lnTo>
                  <a:lnTo>
                    <a:pt x="4766" y="5775"/>
                  </a:lnTo>
                  <a:lnTo>
                    <a:pt x="5048" y="6163"/>
                  </a:lnTo>
                  <a:lnTo>
                    <a:pt x="4813" y="6521"/>
                  </a:lnTo>
                  <a:lnTo>
                    <a:pt x="5611" y="7208"/>
                  </a:lnTo>
                  <a:lnTo>
                    <a:pt x="6738" y="7208"/>
                  </a:lnTo>
                  <a:lnTo>
                    <a:pt x="7395" y="7088"/>
                  </a:lnTo>
                  <a:lnTo>
                    <a:pt x="7958" y="7238"/>
                  </a:lnTo>
                  <a:lnTo>
                    <a:pt x="8428" y="7626"/>
                  </a:lnTo>
                  <a:lnTo>
                    <a:pt x="8803" y="8372"/>
                  </a:lnTo>
                  <a:lnTo>
                    <a:pt x="9179" y="8342"/>
                  </a:lnTo>
                  <a:lnTo>
                    <a:pt x="10165" y="9088"/>
                  </a:lnTo>
                  <a:lnTo>
                    <a:pt x="8991" y="9894"/>
                  </a:lnTo>
                  <a:lnTo>
                    <a:pt x="9461" y="10491"/>
                  </a:lnTo>
                  <a:lnTo>
                    <a:pt x="9273" y="10730"/>
                  </a:lnTo>
                  <a:lnTo>
                    <a:pt x="8991" y="10491"/>
                  </a:lnTo>
                  <a:lnTo>
                    <a:pt x="7113" y="10461"/>
                  </a:lnTo>
                  <a:lnTo>
                    <a:pt x="6785" y="10760"/>
                  </a:lnTo>
                  <a:lnTo>
                    <a:pt x="6221" y="10730"/>
                  </a:lnTo>
                  <a:close/>
                </a:path>
              </a:pathLst>
            </a:custGeom>
            <a:solidFill>
              <a:schemeClr val="bg1">
                <a:lumMod val="95000"/>
              </a:schemeClr>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GB" dirty="0"/>
            </a:p>
          </p:txBody>
        </p:sp>
        <p:sp>
          <p:nvSpPr>
            <p:cNvPr id="47" name="He"/>
            <p:cNvSpPr>
              <a:spLocks/>
            </p:cNvSpPr>
            <p:nvPr/>
          </p:nvSpPr>
          <p:spPr bwMode="auto">
            <a:xfrm rot="460133">
              <a:off x="5854700" y="3278188"/>
              <a:ext cx="508000" cy="701675"/>
            </a:xfrm>
            <a:custGeom>
              <a:avLst/>
              <a:gdLst>
                <a:gd name="T0" fmla="*/ 2147483647 w 139"/>
                <a:gd name="T1" fmla="*/ 2147483647 h 201"/>
                <a:gd name="T2" fmla="*/ 2147483647 w 139"/>
                <a:gd name="T3" fmla="*/ 2147483647 h 201"/>
                <a:gd name="T4" fmla="*/ 2147483647 w 139"/>
                <a:gd name="T5" fmla="*/ 2147483647 h 201"/>
                <a:gd name="T6" fmla="*/ 2147483647 w 139"/>
                <a:gd name="T7" fmla="*/ 2147483647 h 201"/>
                <a:gd name="T8" fmla="*/ 0 w 139"/>
                <a:gd name="T9" fmla="*/ 2147483647 h 201"/>
                <a:gd name="T10" fmla="*/ 2147483647 w 139"/>
                <a:gd name="T11" fmla="*/ 2147483647 h 201"/>
                <a:gd name="T12" fmla="*/ 0 w 139"/>
                <a:gd name="T13" fmla="*/ 2147483647 h 201"/>
                <a:gd name="T14" fmla="*/ 2147483647 w 139"/>
                <a:gd name="T15" fmla="*/ 2147483647 h 201"/>
                <a:gd name="T16" fmla="*/ 2147483647 w 139"/>
                <a:gd name="T17" fmla="*/ 2147483647 h 201"/>
                <a:gd name="T18" fmla="*/ 2147483647 w 139"/>
                <a:gd name="T19" fmla="*/ 2147483647 h 201"/>
                <a:gd name="T20" fmla="*/ 2147483647 w 139"/>
                <a:gd name="T21" fmla="*/ 2147483647 h 201"/>
                <a:gd name="T22" fmla="*/ 2147483647 w 139"/>
                <a:gd name="T23" fmla="*/ 2147483647 h 201"/>
                <a:gd name="T24" fmla="*/ 2147483647 w 139"/>
                <a:gd name="T25" fmla="*/ 2147483647 h 201"/>
                <a:gd name="T26" fmla="*/ 2147483647 w 139"/>
                <a:gd name="T27" fmla="*/ 2147483647 h 201"/>
                <a:gd name="T28" fmla="*/ 2147483647 w 139"/>
                <a:gd name="T29" fmla="*/ 2147483647 h 201"/>
                <a:gd name="T30" fmla="*/ 2147483647 w 139"/>
                <a:gd name="T31" fmla="*/ 2147483647 h 201"/>
                <a:gd name="T32" fmla="*/ 2147483647 w 139"/>
                <a:gd name="T33" fmla="*/ 2147483647 h 201"/>
                <a:gd name="T34" fmla="*/ 2147483647 w 139"/>
                <a:gd name="T35" fmla="*/ 2147483647 h 201"/>
                <a:gd name="T36" fmla="*/ 2147483647 w 139"/>
                <a:gd name="T37" fmla="*/ 2147483647 h 201"/>
                <a:gd name="T38" fmla="*/ 2147483647 w 139"/>
                <a:gd name="T39" fmla="*/ 2147483647 h 201"/>
                <a:gd name="T40" fmla="*/ 2147483647 w 139"/>
                <a:gd name="T41" fmla="*/ 2147483647 h 201"/>
                <a:gd name="T42" fmla="*/ 2147483647 w 139"/>
                <a:gd name="T43" fmla="*/ 2147483647 h 201"/>
                <a:gd name="T44" fmla="*/ 2147483647 w 139"/>
                <a:gd name="T45" fmla="*/ 2147483647 h 201"/>
                <a:gd name="T46" fmla="*/ 2147483647 w 139"/>
                <a:gd name="T47" fmla="*/ 2147483647 h 201"/>
                <a:gd name="T48" fmla="*/ 2147483647 w 139"/>
                <a:gd name="T49" fmla="*/ 2147483647 h 201"/>
                <a:gd name="T50" fmla="*/ 2147483647 w 139"/>
                <a:gd name="T51" fmla="*/ 2147483647 h 201"/>
                <a:gd name="T52" fmla="*/ 2147483647 w 139"/>
                <a:gd name="T53" fmla="*/ 2147483647 h 201"/>
                <a:gd name="T54" fmla="*/ 2147483647 w 139"/>
                <a:gd name="T55" fmla="*/ 2147483647 h 201"/>
                <a:gd name="T56" fmla="*/ 2147483647 w 139"/>
                <a:gd name="T57" fmla="*/ 2147483647 h 201"/>
                <a:gd name="T58" fmla="*/ 2147483647 w 139"/>
                <a:gd name="T59" fmla="*/ 0 h 201"/>
                <a:gd name="T60" fmla="*/ 2147483647 w 139"/>
                <a:gd name="T61" fmla="*/ 2147483647 h 201"/>
                <a:gd name="T62" fmla="*/ 2147483647 w 139"/>
                <a:gd name="T63" fmla="*/ 2147483647 h 201"/>
                <a:gd name="T64" fmla="*/ 2147483647 w 139"/>
                <a:gd name="T65" fmla="*/ 2147483647 h 201"/>
                <a:gd name="T66" fmla="*/ 2147483647 w 139"/>
                <a:gd name="T67" fmla="*/ 2147483647 h 201"/>
                <a:gd name="T68" fmla="*/ 2147483647 w 139"/>
                <a:gd name="T69" fmla="*/ 2147483647 h 201"/>
                <a:gd name="T70" fmla="*/ 2147483647 w 139"/>
                <a:gd name="T71" fmla="*/ 2147483647 h 201"/>
                <a:gd name="T72" fmla="*/ 2147483647 w 139"/>
                <a:gd name="T73" fmla="*/ 2147483647 h 201"/>
                <a:gd name="T74" fmla="*/ 2147483647 w 139"/>
                <a:gd name="T75" fmla="*/ 2147483647 h 201"/>
                <a:gd name="T76" fmla="*/ 2147483647 w 139"/>
                <a:gd name="T77" fmla="*/ 2147483647 h 201"/>
                <a:gd name="T78" fmla="*/ 2147483647 w 139"/>
                <a:gd name="T79" fmla="*/ 2147483647 h 201"/>
                <a:gd name="T80" fmla="*/ 2147483647 w 139"/>
                <a:gd name="T81" fmla="*/ 2147483647 h 201"/>
                <a:gd name="T82" fmla="*/ 2147483647 w 139"/>
                <a:gd name="T83" fmla="*/ 2147483647 h 201"/>
                <a:gd name="T84" fmla="*/ 2147483647 w 139"/>
                <a:gd name="T85" fmla="*/ 2147483647 h 201"/>
                <a:gd name="T86" fmla="*/ 2147483647 w 139"/>
                <a:gd name="T87" fmla="*/ 2147483647 h 201"/>
                <a:gd name="T88" fmla="*/ 2147483647 w 139"/>
                <a:gd name="T89" fmla="*/ 2147483647 h 201"/>
                <a:gd name="T90" fmla="*/ 2147483647 w 139"/>
                <a:gd name="T91" fmla="*/ 2147483647 h 201"/>
                <a:gd name="T92" fmla="*/ 2147483647 w 139"/>
                <a:gd name="T93" fmla="*/ 2147483647 h 201"/>
                <a:gd name="T94" fmla="*/ 2147483647 w 139"/>
                <a:gd name="T95" fmla="*/ 2147483647 h 20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39"/>
                <a:gd name="T145" fmla="*/ 0 h 201"/>
                <a:gd name="T146" fmla="*/ 139 w 139"/>
                <a:gd name="T147" fmla="*/ 201 h 201"/>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3094 w 10000"/>
                <a:gd name="connsiteY14" fmla="*/ 4279 h 10000"/>
                <a:gd name="connsiteX15" fmla="*/ 3741 w 10000"/>
                <a:gd name="connsiteY15" fmla="*/ 3881 h 10000"/>
                <a:gd name="connsiteX16" fmla="*/ 1295 w 10000"/>
                <a:gd name="connsiteY16" fmla="*/ 2985 h 10000"/>
                <a:gd name="connsiteX17" fmla="*/ 2014 w 10000"/>
                <a:gd name="connsiteY17" fmla="*/ 2388 h 10000"/>
                <a:gd name="connsiteX18" fmla="*/ 2086 w 10000"/>
                <a:gd name="connsiteY18" fmla="*/ 1741 h 10000"/>
                <a:gd name="connsiteX19" fmla="*/ 2446 w 10000"/>
                <a:gd name="connsiteY19" fmla="*/ 1542 h 10000"/>
                <a:gd name="connsiteX20" fmla="*/ 2734 w 10000"/>
                <a:gd name="connsiteY20" fmla="*/ 1542 h 10000"/>
                <a:gd name="connsiteX21" fmla="*/ 2878 w 10000"/>
                <a:gd name="connsiteY21" fmla="*/ 1741 h 10000"/>
                <a:gd name="connsiteX22" fmla="*/ 3525 w 10000"/>
                <a:gd name="connsiteY22" fmla="*/ 1642 h 10000"/>
                <a:gd name="connsiteX23" fmla="*/ 3957 w 10000"/>
                <a:gd name="connsiteY23" fmla="*/ 1294 h 10000"/>
                <a:gd name="connsiteX24" fmla="*/ 4427 w 10000"/>
                <a:gd name="connsiteY24" fmla="*/ 656 h 10000"/>
                <a:gd name="connsiteX25" fmla="*/ 5540 w 10000"/>
                <a:gd name="connsiteY25" fmla="*/ 547 h 10000"/>
                <a:gd name="connsiteX26" fmla="*/ 6475 w 10000"/>
                <a:gd name="connsiteY26" fmla="*/ 597 h 10000"/>
                <a:gd name="connsiteX27" fmla="*/ 6763 w 10000"/>
                <a:gd name="connsiteY27" fmla="*/ 746 h 10000"/>
                <a:gd name="connsiteX28" fmla="*/ 6978 w 10000"/>
                <a:gd name="connsiteY28" fmla="*/ 348 h 10000"/>
                <a:gd name="connsiteX29" fmla="*/ 7410 w 10000"/>
                <a:gd name="connsiteY29" fmla="*/ 0 h 10000"/>
                <a:gd name="connsiteX30" fmla="*/ 7554 w 10000"/>
                <a:gd name="connsiteY30" fmla="*/ 249 h 10000"/>
                <a:gd name="connsiteX31" fmla="*/ 7986 w 10000"/>
                <a:gd name="connsiteY31" fmla="*/ 299 h 10000"/>
                <a:gd name="connsiteX32" fmla="*/ 8129 w 10000"/>
                <a:gd name="connsiteY32" fmla="*/ 746 h 10000"/>
                <a:gd name="connsiteX33" fmla="*/ 7626 w 10000"/>
                <a:gd name="connsiteY33" fmla="*/ 896 h 10000"/>
                <a:gd name="connsiteX34" fmla="*/ 7338 w 10000"/>
                <a:gd name="connsiteY34" fmla="*/ 1194 h 10000"/>
                <a:gd name="connsiteX35" fmla="*/ 7482 w 10000"/>
                <a:gd name="connsiteY35" fmla="*/ 1393 h 10000"/>
                <a:gd name="connsiteX36" fmla="*/ 8273 w 10000"/>
                <a:gd name="connsiteY36" fmla="*/ 1194 h 10000"/>
                <a:gd name="connsiteX37" fmla="*/ 9209 w 10000"/>
                <a:gd name="connsiteY37" fmla="*/ 1791 h 10000"/>
                <a:gd name="connsiteX38" fmla="*/ 9209 w 10000"/>
                <a:gd name="connsiteY38" fmla="*/ 2139 h 10000"/>
                <a:gd name="connsiteX39" fmla="*/ 9353 w 10000"/>
                <a:gd name="connsiteY39" fmla="*/ 3980 h 10000"/>
                <a:gd name="connsiteX40" fmla="*/ 8921 w 10000"/>
                <a:gd name="connsiteY40" fmla="*/ 4229 h 10000"/>
                <a:gd name="connsiteX41" fmla="*/ 9856 w 10000"/>
                <a:gd name="connsiteY41" fmla="*/ 4975 h 10000"/>
                <a:gd name="connsiteX42" fmla="*/ 9496 w 10000"/>
                <a:gd name="connsiteY42" fmla="*/ 5423 h 10000"/>
                <a:gd name="connsiteX43" fmla="*/ 10000 w 10000"/>
                <a:gd name="connsiteY43" fmla="*/ 8557 h 10000"/>
                <a:gd name="connsiteX44" fmla="*/ 8705 w 10000"/>
                <a:gd name="connsiteY44" fmla="*/ 8259 h 10000"/>
                <a:gd name="connsiteX45" fmla="*/ 7770 w 10000"/>
                <a:gd name="connsiteY45" fmla="*/ 8955 h 10000"/>
                <a:gd name="connsiteX46" fmla="*/ 5252 w 10000"/>
                <a:gd name="connsiteY46" fmla="*/ 9552 h 10000"/>
                <a:gd name="connsiteX47" fmla="*/ 4748 w 10000"/>
                <a:gd name="connsiteY47"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3094 w 10000"/>
                <a:gd name="connsiteY14" fmla="*/ 4279 h 10000"/>
                <a:gd name="connsiteX15" fmla="*/ 3741 w 10000"/>
                <a:gd name="connsiteY15" fmla="*/ 3881 h 10000"/>
                <a:gd name="connsiteX16" fmla="*/ 1295 w 10000"/>
                <a:gd name="connsiteY16" fmla="*/ 2985 h 10000"/>
                <a:gd name="connsiteX17" fmla="*/ 2014 w 10000"/>
                <a:gd name="connsiteY17" fmla="*/ 2388 h 10000"/>
                <a:gd name="connsiteX18" fmla="*/ 2086 w 10000"/>
                <a:gd name="connsiteY18" fmla="*/ 1741 h 10000"/>
                <a:gd name="connsiteX19" fmla="*/ 2446 w 10000"/>
                <a:gd name="connsiteY19" fmla="*/ 1542 h 10000"/>
                <a:gd name="connsiteX20" fmla="*/ 2734 w 10000"/>
                <a:gd name="connsiteY20" fmla="*/ 1542 h 10000"/>
                <a:gd name="connsiteX21" fmla="*/ 2878 w 10000"/>
                <a:gd name="connsiteY21" fmla="*/ 1741 h 10000"/>
                <a:gd name="connsiteX22" fmla="*/ 3525 w 10000"/>
                <a:gd name="connsiteY22" fmla="*/ 1642 h 10000"/>
                <a:gd name="connsiteX23" fmla="*/ 3618 w 10000"/>
                <a:gd name="connsiteY23" fmla="*/ 1038 h 10000"/>
                <a:gd name="connsiteX24" fmla="*/ 4427 w 10000"/>
                <a:gd name="connsiteY24" fmla="*/ 656 h 10000"/>
                <a:gd name="connsiteX25" fmla="*/ 5540 w 10000"/>
                <a:gd name="connsiteY25" fmla="*/ 547 h 10000"/>
                <a:gd name="connsiteX26" fmla="*/ 6475 w 10000"/>
                <a:gd name="connsiteY26" fmla="*/ 597 h 10000"/>
                <a:gd name="connsiteX27" fmla="*/ 6763 w 10000"/>
                <a:gd name="connsiteY27" fmla="*/ 746 h 10000"/>
                <a:gd name="connsiteX28" fmla="*/ 6978 w 10000"/>
                <a:gd name="connsiteY28" fmla="*/ 348 h 10000"/>
                <a:gd name="connsiteX29" fmla="*/ 7410 w 10000"/>
                <a:gd name="connsiteY29" fmla="*/ 0 h 10000"/>
                <a:gd name="connsiteX30" fmla="*/ 7554 w 10000"/>
                <a:gd name="connsiteY30" fmla="*/ 249 h 10000"/>
                <a:gd name="connsiteX31" fmla="*/ 7986 w 10000"/>
                <a:gd name="connsiteY31" fmla="*/ 299 h 10000"/>
                <a:gd name="connsiteX32" fmla="*/ 8129 w 10000"/>
                <a:gd name="connsiteY32" fmla="*/ 746 h 10000"/>
                <a:gd name="connsiteX33" fmla="*/ 7626 w 10000"/>
                <a:gd name="connsiteY33" fmla="*/ 896 h 10000"/>
                <a:gd name="connsiteX34" fmla="*/ 7338 w 10000"/>
                <a:gd name="connsiteY34" fmla="*/ 1194 h 10000"/>
                <a:gd name="connsiteX35" fmla="*/ 7482 w 10000"/>
                <a:gd name="connsiteY35" fmla="*/ 1393 h 10000"/>
                <a:gd name="connsiteX36" fmla="*/ 8273 w 10000"/>
                <a:gd name="connsiteY36" fmla="*/ 1194 h 10000"/>
                <a:gd name="connsiteX37" fmla="*/ 9209 w 10000"/>
                <a:gd name="connsiteY37" fmla="*/ 1791 h 10000"/>
                <a:gd name="connsiteX38" fmla="*/ 9209 w 10000"/>
                <a:gd name="connsiteY38" fmla="*/ 2139 h 10000"/>
                <a:gd name="connsiteX39" fmla="*/ 9353 w 10000"/>
                <a:gd name="connsiteY39" fmla="*/ 3980 h 10000"/>
                <a:gd name="connsiteX40" fmla="*/ 8921 w 10000"/>
                <a:gd name="connsiteY40" fmla="*/ 4229 h 10000"/>
                <a:gd name="connsiteX41" fmla="*/ 9856 w 10000"/>
                <a:gd name="connsiteY41" fmla="*/ 4975 h 10000"/>
                <a:gd name="connsiteX42" fmla="*/ 9496 w 10000"/>
                <a:gd name="connsiteY42" fmla="*/ 5423 h 10000"/>
                <a:gd name="connsiteX43" fmla="*/ 10000 w 10000"/>
                <a:gd name="connsiteY43" fmla="*/ 8557 h 10000"/>
                <a:gd name="connsiteX44" fmla="*/ 8705 w 10000"/>
                <a:gd name="connsiteY44" fmla="*/ 8259 h 10000"/>
                <a:gd name="connsiteX45" fmla="*/ 7770 w 10000"/>
                <a:gd name="connsiteY45" fmla="*/ 8955 h 10000"/>
                <a:gd name="connsiteX46" fmla="*/ 5252 w 10000"/>
                <a:gd name="connsiteY46" fmla="*/ 9552 h 10000"/>
                <a:gd name="connsiteX47" fmla="*/ 4748 w 10000"/>
                <a:gd name="connsiteY47"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3094 w 10000"/>
                <a:gd name="connsiteY14" fmla="*/ 4279 h 10000"/>
                <a:gd name="connsiteX15" fmla="*/ 3741 w 10000"/>
                <a:gd name="connsiteY15" fmla="*/ 3881 h 10000"/>
                <a:gd name="connsiteX16" fmla="*/ 1295 w 10000"/>
                <a:gd name="connsiteY16" fmla="*/ 2985 h 10000"/>
                <a:gd name="connsiteX17" fmla="*/ 2014 w 10000"/>
                <a:gd name="connsiteY17" fmla="*/ 2388 h 10000"/>
                <a:gd name="connsiteX18" fmla="*/ 2086 w 10000"/>
                <a:gd name="connsiteY18" fmla="*/ 1741 h 10000"/>
                <a:gd name="connsiteX19" fmla="*/ 2446 w 10000"/>
                <a:gd name="connsiteY19" fmla="*/ 1542 h 10000"/>
                <a:gd name="connsiteX20" fmla="*/ 2734 w 10000"/>
                <a:gd name="connsiteY20" fmla="*/ 1542 h 10000"/>
                <a:gd name="connsiteX21" fmla="*/ 2878 w 10000"/>
                <a:gd name="connsiteY21" fmla="*/ 1741 h 10000"/>
                <a:gd name="connsiteX22" fmla="*/ 3201 w 10000"/>
                <a:gd name="connsiteY22" fmla="*/ 1467 h 10000"/>
                <a:gd name="connsiteX23" fmla="*/ 3618 w 10000"/>
                <a:gd name="connsiteY23" fmla="*/ 1038 h 10000"/>
                <a:gd name="connsiteX24" fmla="*/ 4427 w 10000"/>
                <a:gd name="connsiteY24" fmla="*/ 656 h 10000"/>
                <a:gd name="connsiteX25" fmla="*/ 5540 w 10000"/>
                <a:gd name="connsiteY25" fmla="*/ 547 h 10000"/>
                <a:gd name="connsiteX26" fmla="*/ 6475 w 10000"/>
                <a:gd name="connsiteY26" fmla="*/ 597 h 10000"/>
                <a:gd name="connsiteX27" fmla="*/ 6763 w 10000"/>
                <a:gd name="connsiteY27" fmla="*/ 746 h 10000"/>
                <a:gd name="connsiteX28" fmla="*/ 6978 w 10000"/>
                <a:gd name="connsiteY28" fmla="*/ 348 h 10000"/>
                <a:gd name="connsiteX29" fmla="*/ 7410 w 10000"/>
                <a:gd name="connsiteY29" fmla="*/ 0 h 10000"/>
                <a:gd name="connsiteX30" fmla="*/ 7554 w 10000"/>
                <a:gd name="connsiteY30" fmla="*/ 249 h 10000"/>
                <a:gd name="connsiteX31" fmla="*/ 7986 w 10000"/>
                <a:gd name="connsiteY31" fmla="*/ 299 h 10000"/>
                <a:gd name="connsiteX32" fmla="*/ 8129 w 10000"/>
                <a:gd name="connsiteY32" fmla="*/ 746 h 10000"/>
                <a:gd name="connsiteX33" fmla="*/ 7626 w 10000"/>
                <a:gd name="connsiteY33" fmla="*/ 896 h 10000"/>
                <a:gd name="connsiteX34" fmla="*/ 7338 w 10000"/>
                <a:gd name="connsiteY34" fmla="*/ 1194 h 10000"/>
                <a:gd name="connsiteX35" fmla="*/ 7482 w 10000"/>
                <a:gd name="connsiteY35" fmla="*/ 1393 h 10000"/>
                <a:gd name="connsiteX36" fmla="*/ 8273 w 10000"/>
                <a:gd name="connsiteY36" fmla="*/ 1194 h 10000"/>
                <a:gd name="connsiteX37" fmla="*/ 9209 w 10000"/>
                <a:gd name="connsiteY37" fmla="*/ 1791 h 10000"/>
                <a:gd name="connsiteX38" fmla="*/ 9209 w 10000"/>
                <a:gd name="connsiteY38" fmla="*/ 2139 h 10000"/>
                <a:gd name="connsiteX39" fmla="*/ 9353 w 10000"/>
                <a:gd name="connsiteY39" fmla="*/ 3980 h 10000"/>
                <a:gd name="connsiteX40" fmla="*/ 8921 w 10000"/>
                <a:gd name="connsiteY40" fmla="*/ 4229 h 10000"/>
                <a:gd name="connsiteX41" fmla="*/ 9856 w 10000"/>
                <a:gd name="connsiteY41" fmla="*/ 4975 h 10000"/>
                <a:gd name="connsiteX42" fmla="*/ 9496 w 10000"/>
                <a:gd name="connsiteY42" fmla="*/ 5423 h 10000"/>
                <a:gd name="connsiteX43" fmla="*/ 10000 w 10000"/>
                <a:gd name="connsiteY43" fmla="*/ 8557 h 10000"/>
                <a:gd name="connsiteX44" fmla="*/ 8705 w 10000"/>
                <a:gd name="connsiteY44" fmla="*/ 8259 h 10000"/>
                <a:gd name="connsiteX45" fmla="*/ 7770 w 10000"/>
                <a:gd name="connsiteY45" fmla="*/ 8955 h 10000"/>
                <a:gd name="connsiteX46" fmla="*/ 5252 w 10000"/>
                <a:gd name="connsiteY46" fmla="*/ 9552 h 10000"/>
                <a:gd name="connsiteX47" fmla="*/ 4748 w 10000"/>
                <a:gd name="connsiteY47"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3094 w 10000"/>
                <a:gd name="connsiteY14" fmla="*/ 4279 h 10000"/>
                <a:gd name="connsiteX15" fmla="*/ 3741 w 10000"/>
                <a:gd name="connsiteY15" fmla="*/ 3881 h 10000"/>
                <a:gd name="connsiteX16" fmla="*/ 1295 w 10000"/>
                <a:gd name="connsiteY16" fmla="*/ 2985 h 10000"/>
                <a:gd name="connsiteX17" fmla="*/ 2014 w 10000"/>
                <a:gd name="connsiteY17" fmla="*/ 2388 h 10000"/>
                <a:gd name="connsiteX18" fmla="*/ 1599 w 10000"/>
                <a:gd name="connsiteY18" fmla="*/ 2202 h 10000"/>
                <a:gd name="connsiteX19" fmla="*/ 2086 w 10000"/>
                <a:gd name="connsiteY19" fmla="*/ 1741 h 10000"/>
                <a:gd name="connsiteX20" fmla="*/ 2446 w 10000"/>
                <a:gd name="connsiteY20" fmla="*/ 1542 h 10000"/>
                <a:gd name="connsiteX21" fmla="*/ 2734 w 10000"/>
                <a:gd name="connsiteY21" fmla="*/ 1542 h 10000"/>
                <a:gd name="connsiteX22" fmla="*/ 2878 w 10000"/>
                <a:gd name="connsiteY22" fmla="*/ 1741 h 10000"/>
                <a:gd name="connsiteX23" fmla="*/ 3201 w 10000"/>
                <a:gd name="connsiteY23" fmla="*/ 1467 h 10000"/>
                <a:gd name="connsiteX24" fmla="*/ 3618 w 10000"/>
                <a:gd name="connsiteY24" fmla="*/ 1038 h 10000"/>
                <a:gd name="connsiteX25" fmla="*/ 4427 w 10000"/>
                <a:gd name="connsiteY25" fmla="*/ 656 h 10000"/>
                <a:gd name="connsiteX26" fmla="*/ 5540 w 10000"/>
                <a:gd name="connsiteY26" fmla="*/ 547 h 10000"/>
                <a:gd name="connsiteX27" fmla="*/ 6475 w 10000"/>
                <a:gd name="connsiteY27" fmla="*/ 597 h 10000"/>
                <a:gd name="connsiteX28" fmla="*/ 6763 w 10000"/>
                <a:gd name="connsiteY28" fmla="*/ 746 h 10000"/>
                <a:gd name="connsiteX29" fmla="*/ 6978 w 10000"/>
                <a:gd name="connsiteY29" fmla="*/ 348 h 10000"/>
                <a:gd name="connsiteX30" fmla="*/ 7410 w 10000"/>
                <a:gd name="connsiteY30" fmla="*/ 0 h 10000"/>
                <a:gd name="connsiteX31" fmla="*/ 7554 w 10000"/>
                <a:gd name="connsiteY31" fmla="*/ 249 h 10000"/>
                <a:gd name="connsiteX32" fmla="*/ 7986 w 10000"/>
                <a:gd name="connsiteY32" fmla="*/ 299 h 10000"/>
                <a:gd name="connsiteX33" fmla="*/ 8129 w 10000"/>
                <a:gd name="connsiteY33" fmla="*/ 746 h 10000"/>
                <a:gd name="connsiteX34" fmla="*/ 7626 w 10000"/>
                <a:gd name="connsiteY34" fmla="*/ 896 h 10000"/>
                <a:gd name="connsiteX35" fmla="*/ 7338 w 10000"/>
                <a:gd name="connsiteY35" fmla="*/ 1194 h 10000"/>
                <a:gd name="connsiteX36" fmla="*/ 7482 w 10000"/>
                <a:gd name="connsiteY36" fmla="*/ 1393 h 10000"/>
                <a:gd name="connsiteX37" fmla="*/ 8273 w 10000"/>
                <a:gd name="connsiteY37" fmla="*/ 1194 h 10000"/>
                <a:gd name="connsiteX38" fmla="*/ 9209 w 10000"/>
                <a:gd name="connsiteY38" fmla="*/ 1791 h 10000"/>
                <a:gd name="connsiteX39" fmla="*/ 9209 w 10000"/>
                <a:gd name="connsiteY39" fmla="*/ 2139 h 10000"/>
                <a:gd name="connsiteX40" fmla="*/ 9353 w 10000"/>
                <a:gd name="connsiteY40" fmla="*/ 3980 h 10000"/>
                <a:gd name="connsiteX41" fmla="*/ 8921 w 10000"/>
                <a:gd name="connsiteY41" fmla="*/ 4229 h 10000"/>
                <a:gd name="connsiteX42" fmla="*/ 9856 w 10000"/>
                <a:gd name="connsiteY42" fmla="*/ 4975 h 10000"/>
                <a:gd name="connsiteX43" fmla="*/ 9496 w 10000"/>
                <a:gd name="connsiteY43" fmla="*/ 5423 h 10000"/>
                <a:gd name="connsiteX44" fmla="*/ 10000 w 10000"/>
                <a:gd name="connsiteY44" fmla="*/ 8557 h 10000"/>
                <a:gd name="connsiteX45" fmla="*/ 8705 w 10000"/>
                <a:gd name="connsiteY45" fmla="*/ 8259 h 10000"/>
                <a:gd name="connsiteX46" fmla="*/ 7770 w 10000"/>
                <a:gd name="connsiteY46" fmla="*/ 8955 h 10000"/>
                <a:gd name="connsiteX47" fmla="*/ 5252 w 10000"/>
                <a:gd name="connsiteY47" fmla="*/ 9552 h 10000"/>
                <a:gd name="connsiteX48" fmla="*/ 4748 w 10000"/>
                <a:gd name="connsiteY48"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3094 w 10000"/>
                <a:gd name="connsiteY14" fmla="*/ 4279 h 10000"/>
                <a:gd name="connsiteX15" fmla="*/ 3741 w 10000"/>
                <a:gd name="connsiteY15" fmla="*/ 3881 h 10000"/>
                <a:gd name="connsiteX16" fmla="*/ 1002 w 10000"/>
                <a:gd name="connsiteY16" fmla="*/ 2972 h 10000"/>
                <a:gd name="connsiteX17" fmla="*/ 2014 w 10000"/>
                <a:gd name="connsiteY17" fmla="*/ 2388 h 10000"/>
                <a:gd name="connsiteX18" fmla="*/ 1599 w 10000"/>
                <a:gd name="connsiteY18" fmla="*/ 2202 h 10000"/>
                <a:gd name="connsiteX19" fmla="*/ 2086 w 10000"/>
                <a:gd name="connsiteY19" fmla="*/ 1741 h 10000"/>
                <a:gd name="connsiteX20" fmla="*/ 2446 w 10000"/>
                <a:gd name="connsiteY20" fmla="*/ 1542 h 10000"/>
                <a:gd name="connsiteX21" fmla="*/ 2734 w 10000"/>
                <a:gd name="connsiteY21" fmla="*/ 1542 h 10000"/>
                <a:gd name="connsiteX22" fmla="*/ 2878 w 10000"/>
                <a:gd name="connsiteY22" fmla="*/ 1741 h 10000"/>
                <a:gd name="connsiteX23" fmla="*/ 3201 w 10000"/>
                <a:gd name="connsiteY23" fmla="*/ 1467 h 10000"/>
                <a:gd name="connsiteX24" fmla="*/ 3618 w 10000"/>
                <a:gd name="connsiteY24" fmla="*/ 1038 h 10000"/>
                <a:gd name="connsiteX25" fmla="*/ 4427 w 10000"/>
                <a:gd name="connsiteY25" fmla="*/ 656 h 10000"/>
                <a:gd name="connsiteX26" fmla="*/ 5540 w 10000"/>
                <a:gd name="connsiteY26" fmla="*/ 547 h 10000"/>
                <a:gd name="connsiteX27" fmla="*/ 6475 w 10000"/>
                <a:gd name="connsiteY27" fmla="*/ 597 h 10000"/>
                <a:gd name="connsiteX28" fmla="*/ 6763 w 10000"/>
                <a:gd name="connsiteY28" fmla="*/ 746 h 10000"/>
                <a:gd name="connsiteX29" fmla="*/ 6978 w 10000"/>
                <a:gd name="connsiteY29" fmla="*/ 348 h 10000"/>
                <a:gd name="connsiteX30" fmla="*/ 7410 w 10000"/>
                <a:gd name="connsiteY30" fmla="*/ 0 h 10000"/>
                <a:gd name="connsiteX31" fmla="*/ 7554 w 10000"/>
                <a:gd name="connsiteY31" fmla="*/ 249 h 10000"/>
                <a:gd name="connsiteX32" fmla="*/ 7986 w 10000"/>
                <a:gd name="connsiteY32" fmla="*/ 299 h 10000"/>
                <a:gd name="connsiteX33" fmla="*/ 8129 w 10000"/>
                <a:gd name="connsiteY33" fmla="*/ 746 h 10000"/>
                <a:gd name="connsiteX34" fmla="*/ 7626 w 10000"/>
                <a:gd name="connsiteY34" fmla="*/ 896 h 10000"/>
                <a:gd name="connsiteX35" fmla="*/ 7338 w 10000"/>
                <a:gd name="connsiteY35" fmla="*/ 1194 h 10000"/>
                <a:gd name="connsiteX36" fmla="*/ 7482 w 10000"/>
                <a:gd name="connsiteY36" fmla="*/ 1393 h 10000"/>
                <a:gd name="connsiteX37" fmla="*/ 8273 w 10000"/>
                <a:gd name="connsiteY37" fmla="*/ 1194 h 10000"/>
                <a:gd name="connsiteX38" fmla="*/ 9209 w 10000"/>
                <a:gd name="connsiteY38" fmla="*/ 1791 h 10000"/>
                <a:gd name="connsiteX39" fmla="*/ 9209 w 10000"/>
                <a:gd name="connsiteY39" fmla="*/ 2139 h 10000"/>
                <a:gd name="connsiteX40" fmla="*/ 9353 w 10000"/>
                <a:gd name="connsiteY40" fmla="*/ 3980 h 10000"/>
                <a:gd name="connsiteX41" fmla="*/ 8921 w 10000"/>
                <a:gd name="connsiteY41" fmla="*/ 4229 h 10000"/>
                <a:gd name="connsiteX42" fmla="*/ 9856 w 10000"/>
                <a:gd name="connsiteY42" fmla="*/ 4975 h 10000"/>
                <a:gd name="connsiteX43" fmla="*/ 9496 w 10000"/>
                <a:gd name="connsiteY43" fmla="*/ 5423 h 10000"/>
                <a:gd name="connsiteX44" fmla="*/ 10000 w 10000"/>
                <a:gd name="connsiteY44" fmla="*/ 8557 h 10000"/>
                <a:gd name="connsiteX45" fmla="*/ 8705 w 10000"/>
                <a:gd name="connsiteY45" fmla="*/ 8259 h 10000"/>
                <a:gd name="connsiteX46" fmla="*/ 7770 w 10000"/>
                <a:gd name="connsiteY46" fmla="*/ 8955 h 10000"/>
                <a:gd name="connsiteX47" fmla="*/ 5252 w 10000"/>
                <a:gd name="connsiteY47" fmla="*/ 9552 h 10000"/>
                <a:gd name="connsiteX48" fmla="*/ 4748 w 10000"/>
                <a:gd name="connsiteY48"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3094 w 10000"/>
                <a:gd name="connsiteY14" fmla="*/ 4279 h 10000"/>
                <a:gd name="connsiteX15" fmla="*/ 3251 w 10000"/>
                <a:gd name="connsiteY15" fmla="*/ 4051 h 10000"/>
                <a:gd name="connsiteX16" fmla="*/ 1002 w 10000"/>
                <a:gd name="connsiteY16" fmla="*/ 2972 h 10000"/>
                <a:gd name="connsiteX17" fmla="*/ 2014 w 10000"/>
                <a:gd name="connsiteY17" fmla="*/ 2388 h 10000"/>
                <a:gd name="connsiteX18" fmla="*/ 1599 w 10000"/>
                <a:gd name="connsiteY18" fmla="*/ 2202 h 10000"/>
                <a:gd name="connsiteX19" fmla="*/ 2086 w 10000"/>
                <a:gd name="connsiteY19" fmla="*/ 1741 h 10000"/>
                <a:gd name="connsiteX20" fmla="*/ 2446 w 10000"/>
                <a:gd name="connsiteY20" fmla="*/ 1542 h 10000"/>
                <a:gd name="connsiteX21" fmla="*/ 2734 w 10000"/>
                <a:gd name="connsiteY21" fmla="*/ 1542 h 10000"/>
                <a:gd name="connsiteX22" fmla="*/ 2878 w 10000"/>
                <a:gd name="connsiteY22" fmla="*/ 1741 h 10000"/>
                <a:gd name="connsiteX23" fmla="*/ 3201 w 10000"/>
                <a:gd name="connsiteY23" fmla="*/ 1467 h 10000"/>
                <a:gd name="connsiteX24" fmla="*/ 3618 w 10000"/>
                <a:gd name="connsiteY24" fmla="*/ 1038 h 10000"/>
                <a:gd name="connsiteX25" fmla="*/ 4427 w 10000"/>
                <a:gd name="connsiteY25" fmla="*/ 656 h 10000"/>
                <a:gd name="connsiteX26" fmla="*/ 5540 w 10000"/>
                <a:gd name="connsiteY26" fmla="*/ 547 h 10000"/>
                <a:gd name="connsiteX27" fmla="*/ 6475 w 10000"/>
                <a:gd name="connsiteY27" fmla="*/ 597 h 10000"/>
                <a:gd name="connsiteX28" fmla="*/ 6763 w 10000"/>
                <a:gd name="connsiteY28" fmla="*/ 746 h 10000"/>
                <a:gd name="connsiteX29" fmla="*/ 6978 w 10000"/>
                <a:gd name="connsiteY29" fmla="*/ 348 h 10000"/>
                <a:gd name="connsiteX30" fmla="*/ 7410 w 10000"/>
                <a:gd name="connsiteY30" fmla="*/ 0 h 10000"/>
                <a:gd name="connsiteX31" fmla="*/ 7554 w 10000"/>
                <a:gd name="connsiteY31" fmla="*/ 249 h 10000"/>
                <a:gd name="connsiteX32" fmla="*/ 7986 w 10000"/>
                <a:gd name="connsiteY32" fmla="*/ 299 h 10000"/>
                <a:gd name="connsiteX33" fmla="*/ 8129 w 10000"/>
                <a:gd name="connsiteY33" fmla="*/ 746 h 10000"/>
                <a:gd name="connsiteX34" fmla="*/ 7626 w 10000"/>
                <a:gd name="connsiteY34" fmla="*/ 896 h 10000"/>
                <a:gd name="connsiteX35" fmla="*/ 7338 w 10000"/>
                <a:gd name="connsiteY35" fmla="*/ 1194 h 10000"/>
                <a:gd name="connsiteX36" fmla="*/ 7482 w 10000"/>
                <a:gd name="connsiteY36" fmla="*/ 1393 h 10000"/>
                <a:gd name="connsiteX37" fmla="*/ 8273 w 10000"/>
                <a:gd name="connsiteY37" fmla="*/ 1194 h 10000"/>
                <a:gd name="connsiteX38" fmla="*/ 9209 w 10000"/>
                <a:gd name="connsiteY38" fmla="*/ 1791 h 10000"/>
                <a:gd name="connsiteX39" fmla="*/ 9209 w 10000"/>
                <a:gd name="connsiteY39" fmla="*/ 2139 h 10000"/>
                <a:gd name="connsiteX40" fmla="*/ 9353 w 10000"/>
                <a:gd name="connsiteY40" fmla="*/ 3980 h 10000"/>
                <a:gd name="connsiteX41" fmla="*/ 8921 w 10000"/>
                <a:gd name="connsiteY41" fmla="*/ 4229 h 10000"/>
                <a:gd name="connsiteX42" fmla="*/ 9856 w 10000"/>
                <a:gd name="connsiteY42" fmla="*/ 4975 h 10000"/>
                <a:gd name="connsiteX43" fmla="*/ 9496 w 10000"/>
                <a:gd name="connsiteY43" fmla="*/ 5423 h 10000"/>
                <a:gd name="connsiteX44" fmla="*/ 10000 w 10000"/>
                <a:gd name="connsiteY44" fmla="*/ 8557 h 10000"/>
                <a:gd name="connsiteX45" fmla="*/ 8705 w 10000"/>
                <a:gd name="connsiteY45" fmla="*/ 8259 h 10000"/>
                <a:gd name="connsiteX46" fmla="*/ 7770 w 10000"/>
                <a:gd name="connsiteY46" fmla="*/ 8955 h 10000"/>
                <a:gd name="connsiteX47" fmla="*/ 5252 w 10000"/>
                <a:gd name="connsiteY47" fmla="*/ 9552 h 10000"/>
                <a:gd name="connsiteX48" fmla="*/ 4748 w 10000"/>
                <a:gd name="connsiteY48"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2854 w 10000"/>
                <a:gd name="connsiteY14" fmla="*/ 3932 h 10000"/>
                <a:gd name="connsiteX15" fmla="*/ 3251 w 10000"/>
                <a:gd name="connsiteY15" fmla="*/ 4051 h 10000"/>
                <a:gd name="connsiteX16" fmla="*/ 1002 w 10000"/>
                <a:gd name="connsiteY16" fmla="*/ 2972 h 10000"/>
                <a:gd name="connsiteX17" fmla="*/ 2014 w 10000"/>
                <a:gd name="connsiteY17" fmla="*/ 2388 h 10000"/>
                <a:gd name="connsiteX18" fmla="*/ 1599 w 10000"/>
                <a:gd name="connsiteY18" fmla="*/ 2202 h 10000"/>
                <a:gd name="connsiteX19" fmla="*/ 2086 w 10000"/>
                <a:gd name="connsiteY19" fmla="*/ 1741 h 10000"/>
                <a:gd name="connsiteX20" fmla="*/ 2446 w 10000"/>
                <a:gd name="connsiteY20" fmla="*/ 1542 h 10000"/>
                <a:gd name="connsiteX21" fmla="*/ 2734 w 10000"/>
                <a:gd name="connsiteY21" fmla="*/ 1542 h 10000"/>
                <a:gd name="connsiteX22" fmla="*/ 2878 w 10000"/>
                <a:gd name="connsiteY22" fmla="*/ 1741 h 10000"/>
                <a:gd name="connsiteX23" fmla="*/ 3201 w 10000"/>
                <a:gd name="connsiteY23" fmla="*/ 1467 h 10000"/>
                <a:gd name="connsiteX24" fmla="*/ 3618 w 10000"/>
                <a:gd name="connsiteY24" fmla="*/ 1038 h 10000"/>
                <a:gd name="connsiteX25" fmla="*/ 4427 w 10000"/>
                <a:gd name="connsiteY25" fmla="*/ 656 h 10000"/>
                <a:gd name="connsiteX26" fmla="*/ 5540 w 10000"/>
                <a:gd name="connsiteY26" fmla="*/ 547 h 10000"/>
                <a:gd name="connsiteX27" fmla="*/ 6475 w 10000"/>
                <a:gd name="connsiteY27" fmla="*/ 597 h 10000"/>
                <a:gd name="connsiteX28" fmla="*/ 6763 w 10000"/>
                <a:gd name="connsiteY28" fmla="*/ 746 h 10000"/>
                <a:gd name="connsiteX29" fmla="*/ 6978 w 10000"/>
                <a:gd name="connsiteY29" fmla="*/ 348 h 10000"/>
                <a:gd name="connsiteX30" fmla="*/ 7410 w 10000"/>
                <a:gd name="connsiteY30" fmla="*/ 0 h 10000"/>
                <a:gd name="connsiteX31" fmla="*/ 7554 w 10000"/>
                <a:gd name="connsiteY31" fmla="*/ 249 h 10000"/>
                <a:gd name="connsiteX32" fmla="*/ 7986 w 10000"/>
                <a:gd name="connsiteY32" fmla="*/ 299 h 10000"/>
                <a:gd name="connsiteX33" fmla="*/ 8129 w 10000"/>
                <a:gd name="connsiteY33" fmla="*/ 746 h 10000"/>
                <a:gd name="connsiteX34" fmla="*/ 7626 w 10000"/>
                <a:gd name="connsiteY34" fmla="*/ 896 h 10000"/>
                <a:gd name="connsiteX35" fmla="*/ 7338 w 10000"/>
                <a:gd name="connsiteY35" fmla="*/ 1194 h 10000"/>
                <a:gd name="connsiteX36" fmla="*/ 7482 w 10000"/>
                <a:gd name="connsiteY36" fmla="*/ 1393 h 10000"/>
                <a:gd name="connsiteX37" fmla="*/ 8273 w 10000"/>
                <a:gd name="connsiteY37" fmla="*/ 1194 h 10000"/>
                <a:gd name="connsiteX38" fmla="*/ 9209 w 10000"/>
                <a:gd name="connsiteY38" fmla="*/ 1791 h 10000"/>
                <a:gd name="connsiteX39" fmla="*/ 9209 w 10000"/>
                <a:gd name="connsiteY39" fmla="*/ 2139 h 10000"/>
                <a:gd name="connsiteX40" fmla="*/ 9353 w 10000"/>
                <a:gd name="connsiteY40" fmla="*/ 3980 h 10000"/>
                <a:gd name="connsiteX41" fmla="*/ 8921 w 10000"/>
                <a:gd name="connsiteY41" fmla="*/ 4229 h 10000"/>
                <a:gd name="connsiteX42" fmla="*/ 9856 w 10000"/>
                <a:gd name="connsiteY42" fmla="*/ 4975 h 10000"/>
                <a:gd name="connsiteX43" fmla="*/ 9496 w 10000"/>
                <a:gd name="connsiteY43" fmla="*/ 5423 h 10000"/>
                <a:gd name="connsiteX44" fmla="*/ 10000 w 10000"/>
                <a:gd name="connsiteY44" fmla="*/ 8557 h 10000"/>
                <a:gd name="connsiteX45" fmla="*/ 8705 w 10000"/>
                <a:gd name="connsiteY45" fmla="*/ 8259 h 10000"/>
                <a:gd name="connsiteX46" fmla="*/ 7770 w 10000"/>
                <a:gd name="connsiteY46" fmla="*/ 8955 h 10000"/>
                <a:gd name="connsiteX47" fmla="*/ 5252 w 10000"/>
                <a:gd name="connsiteY47" fmla="*/ 9552 h 10000"/>
                <a:gd name="connsiteX48" fmla="*/ 4748 w 10000"/>
                <a:gd name="connsiteY48"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1816 w 10000"/>
                <a:gd name="connsiteY10" fmla="*/ 4909 h 10000"/>
                <a:gd name="connsiteX11" fmla="*/ 1727 w 10000"/>
                <a:gd name="connsiteY11" fmla="*/ 4726 h 10000"/>
                <a:gd name="connsiteX12" fmla="*/ 1583 w 10000"/>
                <a:gd name="connsiteY12" fmla="*/ 4279 h 10000"/>
                <a:gd name="connsiteX13" fmla="*/ 2374 w 10000"/>
                <a:gd name="connsiteY13" fmla="*/ 4080 h 10000"/>
                <a:gd name="connsiteX14" fmla="*/ 2854 w 10000"/>
                <a:gd name="connsiteY14" fmla="*/ 3932 h 10000"/>
                <a:gd name="connsiteX15" fmla="*/ 3251 w 10000"/>
                <a:gd name="connsiteY15" fmla="*/ 4051 h 10000"/>
                <a:gd name="connsiteX16" fmla="*/ 1002 w 10000"/>
                <a:gd name="connsiteY16" fmla="*/ 2972 h 10000"/>
                <a:gd name="connsiteX17" fmla="*/ 2014 w 10000"/>
                <a:gd name="connsiteY17" fmla="*/ 2388 h 10000"/>
                <a:gd name="connsiteX18" fmla="*/ 1599 w 10000"/>
                <a:gd name="connsiteY18" fmla="*/ 2202 h 10000"/>
                <a:gd name="connsiteX19" fmla="*/ 2086 w 10000"/>
                <a:gd name="connsiteY19" fmla="*/ 1741 h 10000"/>
                <a:gd name="connsiteX20" fmla="*/ 2446 w 10000"/>
                <a:gd name="connsiteY20" fmla="*/ 1542 h 10000"/>
                <a:gd name="connsiteX21" fmla="*/ 2734 w 10000"/>
                <a:gd name="connsiteY21" fmla="*/ 1542 h 10000"/>
                <a:gd name="connsiteX22" fmla="*/ 2878 w 10000"/>
                <a:gd name="connsiteY22" fmla="*/ 1741 h 10000"/>
                <a:gd name="connsiteX23" fmla="*/ 3201 w 10000"/>
                <a:gd name="connsiteY23" fmla="*/ 1467 h 10000"/>
                <a:gd name="connsiteX24" fmla="*/ 3618 w 10000"/>
                <a:gd name="connsiteY24" fmla="*/ 1038 h 10000"/>
                <a:gd name="connsiteX25" fmla="*/ 4427 w 10000"/>
                <a:gd name="connsiteY25" fmla="*/ 656 h 10000"/>
                <a:gd name="connsiteX26" fmla="*/ 5540 w 10000"/>
                <a:gd name="connsiteY26" fmla="*/ 547 h 10000"/>
                <a:gd name="connsiteX27" fmla="*/ 6475 w 10000"/>
                <a:gd name="connsiteY27" fmla="*/ 597 h 10000"/>
                <a:gd name="connsiteX28" fmla="*/ 6763 w 10000"/>
                <a:gd name="connsiteY28" fmla="*/ 746 h 10000"/>
                <a:gd name="connsiteX29" fmla="*/ 6978 w 10000"/>
                <a:gd name="connsiteY29" fmla="*/ 348 h 10000"/>
                <a:gd name="connsiteX30" fmla="*/ 7410 w 10000"/>
                <a:gd name="connsiteY30" fmla="*/ 0 h 10000"/>
                <a:gd name="connsiteX31" fmla="*/ 7554 w 10000"/>
                <a:gd name="connsiteY31" fmla="*/ 249 h 10000"/>
                <a:gd name="connsiteX32" fmla="*/ 7986 w 10000"/>
                <a:gd name="connsiteY32" fmla="*/ 299 h 10000"/>
                <a:gd name="connsiteX33" fmla="*/ 8129 w 10000"/>
                <a:gd name="connsiteY33" fmla="*/ 746 h 10000"/>
                <a:gd name="connsiteX34" fmla="*/ 7626 w 10000"/>
                <a:gd name="connsiteY34" fmla="*/ 896 h 10000"/>
                <a:gd name="connsiteX35" fmla="*/ 7338 w 10000"/>
                <a:gd name="connsiteY35" fmla="*/ 1194 h 10000"/>
                <a:gd name="connsiteX36" fmla="*/ 7482 w 10000"/>
                <a:gd name="connsiteY36" fmla="*/ 1393 h 10000"/>
                <a:gd name="connsiteX37" fmla="*/ 8273 w 10000"/>
                <a:gd name="connsiteY37" fmla="*/ 1194 h 10000"/>
                <a:gd name="connsiteX38" fmla="*/ 9209 w 10000"/>
                <a:gd name="connsiteY38" fmla="*/ 1791 h 10000"/>
                <a:gd name="connsiteX39" fmla="*/ 9209 w 10000"/>
                <a:gd name="connsiteY39" fmla="*/ 2139 h 10000"/>
                <a:gd name="connsiteX40" fmla="*/ 9353 w 10000"/>
                <a:gd name="connsiteY40" fmla="*/ 3980 h 10000"/>
                <a:gd name="connsiteX41" fmla="*/ 8921 w 10000"/>
                <a:gd name="connsiteY41" fmla="*/ 4229 h 10000"/>
                <a:gd name="connsiteX42" fmla="*/ 9856 w 10000"/>
                <a:gd name="connsiteY42" fmla="*/ 4975 h 10000"/>
                <a:gd name="connsiteX43" fmla="*/ 9496 w 10000"/>
                <a:gd name="connsiteY43" fmla="*/ 5423 h 10000"/>
                <a:gd name="connsiteX44" fmla="*/ 10000 w 10000"/>
                <a:gd name="connsiteY44" fmla="*/ 8557 h 10000"/>
                <a:gd name="connsiteX45" fmla="*/ 8705 w 10000"/>
                <a:gd name="connsiteY45" fmla="*/ 8259 h 10000"/>
                <a:gd name="connsiteX46" fmla="*/ 7770 w 10000"/>
                <a:gd name="connsiteY46" fmla="*/ 8955 h 10000"/>
                <a:gd name="connsiteX47" fmla="*/ 5252 w 10000"/>
                <a:gd name="connsiteY47" fmla="*/ 9552 h 10000"/>
                <a:gd name="connsiteX48" fmla="*/ 4748 w 10000"/>
                <a:gd name="connsiteY48"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1921 w 10000"/>
                <a:gd name="connsiteY9" fmla="*/ 5874 h 10000"/>
                <a:gd name="connsiteX10" fmla="*/ 1816 w 10000"/>
                <a:gd name="connsiteY10" fmla="*/ 4909 h 10000"/>
                <a:gd name="connsiteX11" fmla="*/ 1727 w 10000"/>
                <a:gd name="connsiteY11" fmla="*/ 4726 h 10000"/>
                <a:gd name="connsiteX12" fmla="*/ 1583 w 10000"/>
                <a:gd name="connsiteY12" fmla="*/ 4279 h 10000"/>
                <a:gd name="connsiteX13" fmla="*/ 2374 w 10000"/>
                <a:gd name="connsiteY13" fmla="*/ 4080 h 10000"/>
                <a:gd name="connsiteX14" fmla="*/ 2854 w 10000"/>
                <a:gd name="connsiteY14" fmla="*/ 3932 h 10000"/>
                <a:gd name="connsiteX15" fmla="*/ 3251 w 10000"/>
                <a:gd name="connsiteY15" fmla="*/ 4051 h 10000"/>
                <a:gd name="connsiteX16" fmla="*/ 1002 w 10000"/>
                <a:gd name="connsiteY16" fmla="*/ 2972 h 10000"/>
                <a:gd name="connsiteX17" fmla="*/ 2014 w 10000"/>
                <a:gd name="connsiteY17" fmla="*/ 2388 h 10000"/>
                <a:gd name="connsiteX18" fmla="*/ 1599 w 10000"/>
                <a:gd name="connsiteY18" fmla="*/ 2202 h 10000"/>
                <a:gd name="connsiteX19" fmla="*/ 2086 w 10000"/>
                <a:gd name="connsiteY19" fmla="*/ 1741 h 10000"/>
                <a:gd name="connsiteX20" fmla="*/ 2446 w 10000"/>
                <a:gd name="connsiteY20" fmla="*/ 1542 h 10000"/>
                <a:gd name="connsiteX21" fmla="*/ 2734 w 10000"/>
                <a:gd name="connsiteY21" fmla="*/ 1542 h 10000"/>
                <a:gd name="connsiteX22" fmla="*/ 2878 w 10000"/>
                <a:gd name="connsiteY22" fmla="*/ 1741 h 10000"/>
                <a:gd name="connsiteX23" fmla="*/ 3201 w 10000"/>
                <a:gd name="connsiteY23" fmla="*/ 1467 h 10000"/>
                <a:gd name="connsiteX24" fmla="*/ 3618 w 10000"/>
                <a:gd name="connsiteY24" fmla="*/ 1038 h 10000"/>
                <a:gd name="connsiteX25" fmla="*/ 4427 w 10000"/>
                <a:gd name="connsiteY25" fmla="*/ 656 h 10000"/>
                <a:gd name="connsiteX26" fmla="*/ 5540 w 10000"/>
                <a:gd name="connsiteY26" fmla="*/ 547 h 10000"/>
                <a:gd name="connsiteX27" fmla="*/ 6475 w 10000"/>
                <a:gd name="connsiteY27" fmla="*/ 597 h 10000"/>
                <a:gd name="connsiteX28" fmla="*/ 6763 w 10000"/>
                <a:gd name="connsiteY28" fmla="*/ 746 h 10000"/>
                <a:gd name="connsiteX29" fmla="*/ 6978 w 10000"/>
                <a:gd name="connsiteY29" fmla="*/ 348 h 10000"/>
                <a:gd name="connsiteX30" fmla="*/ 7410 w 10000"/>
                <a:gd name="connsiteY30" fmla="*/ 0 h 10000"/>
                <a:gd name="connsiteX31" fmla="*/ 7554 w 10000"/>
                <a:gd name="connsiteY31" fmla="*/ 249 h 10000"/>
                <a:gd name="connsiteX32" fmla="*/ 7986 w 10000"/>
                <a:gd name="connsiteY32" fmla="*/ 299 h 10000"/>
                <a:gd name="connsiteX33" fmla="*/ 8129 w 10000"/>
                <a:gd name="connsiteY33" fmla="*/ 746 h 10000"/>
                <a:gd name="connsiteX34" fmla="*/ 7626 w 10000"/>
                <a:gd name="connsiteY34" fmla="*/ 896 h 10000"/>
                <a:gd name="connsiteX35" fmla="*/ 7338 w 10000"/>
                <a:gd name="connsiteY35" fmla="*/ 1194 h 10000"/>
                <a:gd name="connsiteX36" fmla="*/ 7482 w 10000"/>
                <a:gd name="connsiteY36" fmla="*/ 1393 h 10000"/>
                <a:gd name="connsiteX37" fmla="*/ 8273 w 10000"/>
                <a:gd name="connsiteY37" fmla="*/ 1194 h 10000"/>
                <a:gd name="connsiteX38" fmla="*/ 9209 w 10000"/>
                <a:gd name="connsiteY38" fmla="*/ 1791 h 10000"/>
                <a:gd name="connsiteX39" fmla="*/ 9209 w 10000"/>
                <a:gd name="connsiteY39" fmla="*/ 2139 h 10000"/>
                <a:gd name="connsiteX40" fmla="*/ 9353 w 10000"/>
                <a:gd name="connsiteY40" fmla="*/ 3980 h 10000"/>
                <a:gd name="connsiteX41" fmla="*/ 8921 w 10000"/>
                <a:gd name="connsiteY41" fmla="*/ 4229 h 10000"/>
                <a:gd name="connsiteX42" fmla="*/ 9856 w 10000"/>
                <a:gd name="connsiteY42" fmla="*/ 4975 h 10000"/>
                <a:gd name="connsiteX43" fmla="*/ 9496 w 10000"/>
                <a:gd name="connsiteY43" fmla="*/ 5423 h 10000"/>
                <a:gd name="connsiteX44" fmla="*/ 10000 w 10000"/>
                <a:gd name="connsiteY44" fmla="*/ 8557 h 10000"/>
                <a:gd name="connsiteX45" fmla="*/ 8705 w 10000"/>
                <a:gd name="connsiteY45" fmla="*/ 8259 h 10000"/>
                <a:gd name="connsiteX46" fmla="*/ 7770 w 10000"/>
                <a:gd name="connsiteY46" fmla="*/ 8955 h 10000"/>
                <a:gd name="connsiteX47" fmla="*/ 5252 w 10000"/>
                <a:gd name="connsiteY47" fmla="*/ 9552 h 10000"/>
                <a:gd name="connsiteX48" fmla="*/ 4748 w 10000"/>
                <a:gd name="connsiteY48"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163 w 10000"/>
                <a:gd name="connsiteY7" fmla="*/ 6932 h 10000"/>
                <a:gd name="connsiteX8" fmla="*/ 1439 w 10000"/>
                <a:gd name="connsiteY8" fmla="*/ 6866 h 10000"/>
                <a:gd name="connsiteX9" fmla="*/ 1367 w 10000"/>
                <a:gd name="connsiteY9" fmla="*/ 6169 h 10000"/>
                <a:gd name="connsiteX10" fmla="*/ 1921 w 10000"/>
                <a:gd name="connsiteY10" fmla="*/ 5874 h 10000"/>
                <a:gd name="connsiteX11" fmla="*/ 1816 w 10000"/>
                <a:gd name="connsiteY11" fmla="*/ 4909 h 10000"/>
                <a:gd name="connsiteX12" fmla="*/ 1727 w 10000"/>
                <a:gd name="connsiteY12" fmla="*/ 4726 h 10000"/>
                <a:gd name="connsiteX13" fmla="*/ 1583 w 10000"/>
                <a:gd name="connsiteY13" fmla="*/ 4279 h 10000"/>
                <a:gd name="connsiteX14" fmla="*/ 2374 w 10000"/>
                <a:gd name="connsiteY14" fmla="*/ 4080 h 10000"/>
                <a:gd name="connsiteX15" fmla="*/ 2854 w 10000"/>
                <a:gd name="connsiteY15" fmla="*/ 3932 h 10000"/>
                <a:gd name="connsiteX16" fmla="*/ 3251 w 10000"/>
                <a:gd name="connsiteY16" fmla="*/ 4051 h 10000"/>
                <a:gd name="connsiteX17" fmla="*/ 1002 w 10000"/>
                <a:gd name="connsiteY17" fmla="*/ 2972 h 10000"/>
                <a:gd name="connsiteX18" fmla="*/ 2014 w 10000"/>
                <a:gd name="connsiteY18" fmla="*/ 2388 h 10000"/>
                <a:gd name="connsiteX19" fmla="*/ 1599 w 10000"/>
                <a:gd name="connsiteY19" fmla="*/ 2202 h 10000"/>
                <a:gd name="connsiteX20" fmla="*/ 2086 w 10000"/>
                <a:gd name="connsiteY20" fmla="*/ 1741 h 10000"/>
                <a:gd name="connsiteX21" fmla="*/ 2446 w 10000"/>
                <a:gd name="connsiteY21" fmla="*/ 1542 h 10000"/>
                <a:gd name="connsiteX22" fmla="*/ 2734 w 10000"/>
                <a:gd name="connsiteY22" fmla="*/ 1542 h 10000"/>
                <a:gd name="connsiteX23" fmla="*/ 2878 w 10000"/>
                <a:gd name="connsiteY23" fmla="*/ 1741 h 10000"/>
                <a:gd name="connsiteX24" fmla="*/ 3201 w 10000"/>
                <a:gd name="connsiteY24" fmla="*/ 1467 h 10000"/>
                <a:gd name="connsiteX25" fmla="*/ 3618 w 10000"/>
                <a:gd name="connsiteY25" fmla="*/ 1038 h 10000"/>
                <a:gd name="connsiteX26" fmla="*/ 4427 w 10000"/>
                <a:gd name="connsiteY26" fmla="*/ 656 h 10000"/>
                <a:gd name="connsiteX27" fmla="*/ 5540 w 10000"/>
                <a:gd name="connsiteY27" fmla="*/ 547 h 10000"/>
                <a:gd name="connsiteX28" fmla="*/ 6475 w 10000"/>
                <a:gd name="connsiteY28" fmla="*/ 597 h 10000"/>
                <a:gd name="connsiteX29" fmla="*/ 6763 w 10000"/>
                <a:gd name="connsiteY29" fmla="*/ 746 h 10000"/>
                <a:gd name="connsiteX30" fmla="*/ 6978 w 10000"/>
                <a:gd name="connsiteY30" fmla="*/ 348 h 10000"/>
                <a:gd name="connsiteX31" fmla="*/ 7410 w 10000"/>
                <a:gd name="connsiteY31" fmla="*/ 0 h 10000"/>
                <a:gd name="connsiteX32" fmla="*/ 7554 w 10000"/>
                <a:gd name="connsiteY32" fmla="*/ 249 h 10000"/>
                <a:gd name="connsiteX33" fmla="*/ 7986 w 10000"/>
                <a:gd name="connsiteY33" fmla="*/ 299 h 10000"/>
                <a:gd name="connsiteX34" fmla="*/ 8129 w 10000"/>
                <a:gd name="connsiteY34" fmla="*/ 746 h 10000"/>
                <a:gd name="connsiteX35" fmla="*/ 7626 w 10000"/>
                <a:gd name="connsiteY35" fmla="*/ 896 h 10000"/>
                <a:gd name="connsiteX36" fmla="*/ 7338 w 10000"/>
                <a:gd name="connsiteY36" fmla="*/ 1194 h 10000"/>
                <a:gd name="connsiteX37" fmla="*/ 7482 w 10000"/>
                <a:gd name="connsiteY37" fmla="*/ 1393 h 10000"/>
                <a:gd name="connsiteX38" fmla="*/ 8273 w 10000"/>
                <a:gd name="connsiteY38" fmla="*/ 1194 h 10000"/>
                <a:gd name="connsiteX39" fmla="*/ 9209 w 10000"/>
                <a:gd name="connsiteY39" fmla="*/ 1791 h 10000"/>
                <a:gd name="connsiteX40" fmla="*/ 9209 w 10000"/>
                <a:gd name="connsiteY40" fmla="*/ 2139 h 10000"/>
                <a:gd name="connsiteX41" fmla="*/ 9353 w 10000"/>
                <a:gd name="connsiteY41" fmla="*/ 3980 h 10000"/>
                <a:gd name="connsiteX42" fmla="*/ 8921 w 10000"/>
                <a:gd name="connsiteY42" fmla="*/ 4229 h 10000"/>
                <a:gd name="connsiteX43" fmla="*/ 9856 w 10000"/>
                <a:gd name="connsiteY43" fmla="*/ 4975 h 10000"/>
                <a:gd name="connsiteX44" fmla="*/ 9496 w 10000"/>
                <a:gd name="connsiteY44" fmla="*/ 5423 h 10000"/>
                <a:gd name="connsiteX45" fmla="*/ 10000 w 10000"/>
                <a:gd name="connsiteY45" fmla="*/ 8557 h 10000"/>
                <a:gd name="connsiteX46" fmla="*/ 8705 w 10000"/>
                <a:gd name="connsiteY46" fmla="*/ 8259 h 10000"/>
                <a:gd name="connsiteX47" fmla="*/ 7770 w 10000"/>
                <a:gd name="connsiteY47" fmla="*/ 8955 h 10000"/>
                <a:gd name="connsiteX48" fmla="*/ 5252 w 10000"/>
                <a:gd name="connsiteY48" fmla="*/ 9552 h 10000"/>
                <a:gd name="connsiteX49" fmla="*/ 4748 w 10000"/>
                <a:gd name="connsiteY49" fmla="*/ 10000 h 10000"/>
                <a:gd name="connsiteX0" fmla="*/ 4748 w 10000"/>
                <a:gd name="connsiteY0" fmla="*/ 10000 h 10426"/>
                <a:gd name="connsiteX1" fmla="*/ 4029 w 10000"/>
                <a:gd name="connsiteY1" fmla="*/ 9801 h 10426"/>
                <a:gd name="connsiteX2" fmla="*/ 3094 w 10000"/>
                <a:gd name="connsiteY2" fmla="*/ 9950 h 10426"/>
                <a:gd name="connsiteX3" fmla="*/ 1144 w 10000"/>
                <a:gd name="connsiteY3" fmla="*/ 10426 h 10426"/>
                <a:gd name="connsiteX4" fmla="*/ 0 w 10000"/>
                <a:gd name="connsiteY4" fmla="*/ 8856 h 10426"/>
                <a:gd name="connsiteX5" fmla="*/ 432 w 10000"/>
                <a:gd name="connsiteY5" fmla="*/ 8209 h 10426"/>
                <a:gd name="connsiteX6" fmla="*/ 0 w 10000"/>
                <a:gd name="connsiteY6" fmla="*/ 7512 h 10426"/>
                <a:gd name="connsiteX7" fmla="*/ 1163 w 10000"/>
                <a:gd name="connsiteY7" fmla="*/ 6932 h 10426"/>
                <a:gd name="connsiteX8" fmla="*/ 1439 w 10000"/>
                <a:gd name="connsiteY8" fmla="*/ 6866 h 10426"/>
                <a:gd name="connsiteX9" fmla="*/ 1367 w 10000"/>
                <a:gd name="connsiteY9" fmla="*/ 6169 h 10426"/>
                <a:gd name="connsiteX10" fmla="*/ 1921 w 10000"/>
                <a:gd name="connsiteY10" fmla="*/ 5874 h 10426"/>
                <a:gd name="connsiteX11" fmla="*/ 1816 w 10000"/>
                <a:gd name="connsiteY11" fmla="*/ 4909 h 10426"/>
                <a:gd name="connsiteX12" fmla="*/ 1727 w 10000"/>
                <a:gd name="connsiteY12" fmla="*/ 4726 h 10426"/>
                <a:gd name="connsiteX13" fmla="*/ 1583 w 10000"/>
                <a:gd name="connsiteY13" fmla="*/ 4279 h 10426"/>
                <a:gd name="connsiteX14" fmla="*/ 2374 w 10000"/>
                <a:gd name="connsiteY14" fmla="*/ 4080 h 10426"/>
                <a:gd name="connsiteX15" fmla="*/ 2854 w 10000"/>
                <a:gd name="connsiteY15" fmla="*/ 3932 h 10426"/>
                <a:gd name="connsiteX16" fmla="*/ 3251 w 10000"/>
                <a:gd name="connsiteY16" fmla="*/ 4051 h 10426"/>
                <a:gd name="connsiteX17" fmla="*/ 1002 w 10000"/>
                <a:gd name="connsiteY17" fmla="*/ 2972 h 10426"/>
                <a:gd name="connsiteX18" fmla="*/ 2014 w 10000"/>
                <a:gd name="connsiteY18" fmla="*/ 2388 h 10426"/>
                <a:gd name="connsiteX19" fmla="*/ 1599 w 10000"/>
                <a:gd name="connsiteY19" fmla="*/ 2202 h 10426"/>
                <a:gd name="connsiteX20" fmla="*/ 2086 w 10000"/>
                <a:gd name="connsiteY20" fmla="*/ 1741 h 10426"/>
                <a:gd name="connsiteX21" fmla="*/ 2446 w 10000"/>
                <a:gd name="connsiteY21" fmla="*/ 1542 h 10426"/>
                <a:gd name="connsiteX22" fmla="*/ 2734 w 10000"/>
                <a:gd name="connsiteY22" fmla="*/ 1542 h 10426"/>
                <a:gd name="connsiteX23" fmla="*/ 2878 w 10000"/>
                <a:gd name="connsiteY23" fmla="*/ 1741 h 10426"/>
                <a:gd name="connsiteX24" fmla="*/ 3201 w 10000"/>
                <a:gd name="connsiteY24" fmla="*/ 1467 h 10426"/>
                <a:gd name="connsiteX25" fmla="*/ 3618 w 10000"/>
                <a:gd name="connsiteY25" fmla="*/ 1038 h 10426"/>
                <a:gd name="connsiteX26" fmla="*/ 4427 w 10000"/>
                <a:gd name="connsiteY26" fmla="*/ 656 h 10426"/>
                <a:gd name="connsiteX27" fmla="*/ 5540 w 10000"/>
                <a:gd name="connsiteY27" fmla="*/ 547 h 10426"/>
                <a:gd name="connsiteX28" fmla="*/ 6475 w 10000"/>
                <a:gd name="connsiteY28" fmla="*/ 597 h 10426"/>
                <a:gd name="connsiteX29" fmla="*/ 6763 w 10000"/>
                <a:gd name="connsiteY29" fmla="*/ 746 h 10426"/>
                <a:gd name="connsiteX30" fmla="*/ 6978 w 10000"/>
                <a:gd name="connsiteY30" fmla="*/ 348 h 10426"/>
                <a:gd name="connsiteX31" fmla="*/ 7410 w 10000"/>
                <a:gd name="connsiteY31" fmla="*/ 0 h 10426"/>
                <a:gd name="connsiteX32" fmla="*/ 7554 w 10000"/>
                <a:gd name="connsiteY32" fmla="*/ 249 h 10426"/>
                <a:gd name="connsiteX33" fmla="*/ 7986 w 10000"/>
                <a:gd name="connsiteY33" fmla="*/ 299 h 10426"/>
                <a:gd name="connsiteX34" fmla="*/ 8129 w 10000"/>
                <a:gd name="connsiteY34" fmla="*/ 746 h 10426"/>
                <a:gd name="connsiteX35" fmla="*/ 7626 w 10000"/>
                <a:gd name="connsiteY35" fmla="*/ 896 h 10426"/>
                <a:gd name="connsiteX36" fmla="*/ 7338 w 10000"/>
                <a:gd name="connsiteY36" fmla="*/ 1194 h 10426"/>
                <a:gd name="connsiteX37" fmla="*/ 7482 w 10000"/>
                <a:gd name="connsiteY37" fmla="*/ 1393 h 10426"/>
                <a:gd name="connsiteX38" fmla="*/ 8273 w 10000"/>
                <a:gd name="connsiteY38" fmla="*/ 1194 h 10426"/>
                <a:gd name="connsiteX39" fmla="*/ 9209 w 10000"/>
                <a:gd name="connsiteY39" fmla="*/ 1791 h 10426"/>
                <a:gd name="connsiteX40" fmla="*/ 9209 w 10000"/>
                <a:gd name="connsiteY40" fmla="*/ 2139 h 10426"/>
                <a:gd name="connsiteX41" fmla="*/ 9353 w 10000"/>
                <a:gd name="connsiteY41" fmla="*/ 3980 h 10426"/>
                <a:gd name="connsiteX42" fmla="*/ 8921 w 10000"/>
                <a:gd name="connsiteY42" fmla="*/ 4229 h 10426"/>
                <a:gd name="connsiteX43" fmla="*/ 9856 w 10000"/>
                <a:gd name="connsiteY43" fmla="*/ 4975 h 10426"/>
                <a:gd name="connsiteX44" fmla="*/ 9496 w 10000"/>
                <a:gd name="connsiteY44" fmla="*/ 5423 h 10426"/>
                <a:gd name="connsiteX45" fmla="*/ 10000 w 10000"/>
                <a:gd name="connsiteY45" fmla="*/ 8557 h 10426"/>
                <a:gd name="connsiteX46" fmla="*/ 8705 w 10000"/>
                <a:gd name="connsiteY46" fmla="*/ 8259 h 10426"/>
                <a:gd name="connsiteX47" fmla="*/ 7770 w 10000"/>
                <a:gd name="connsiteY47" fmla="*/ 8955 h 10426"/>
                <a:gd name="connsiteX48" fmla="*/ 5252 w 10000"/>
                <a:gd name="connsiteY48" fmla="*/ 9552 h 10426"/>
                <a:gd name="connsiteX49" fmla="*/ 4748 w 10000"/>
                <a:gd name="connsiteY49" fmla="*/ 10000 h 10426"/>
                <a:gd name="connsiteX0" fmla="*/ 4748 w 10000"/>
                <a:gd name="connsiteY0" fmla="*/ 10000 h 10672"/>
                <a:gd name="connsiteX1" fmla="*/ 4029 w 10000"/>
                <a:gd name="connsiteY1" fmla="*/ 9801 h 10672"/>
                <a:gd name="connsiteX2" fmla="*/ 3289 w 10000"/>
                <a:gd name="connsiteY2" fmla="*/ 10672 h 10672"/>
                <a:gd name="connsiteX3" fmla="*/ 1144 w 10000"/>
                <a:gd name="connsiteY3" fmla="*/ 10426 h 10672"/>
                <a:gd name="connsiteX4" fmla="*/ 0 w 10000"/>
                <a:gd name="connsiteY4" fmla="*/ 8856 h 10672"/>
                <a:gd name="connsiteX5" fmla="*/ 432 w 10000"/>
                <a:gd name="connsiteY5" fmla="*/ 8209 h 10672"/>
                <a:gd name="connsiteX6" fmla="*/ 0 w 10000"/>
                <a:gd name="connsiteY6" fmla="*/ 7512 h 10672"/>
                <a:gd name="connsiteX7" fmla="*/ 1163 w 10000"/>
                <a:gd name="connsiteY7" fmla="*/ 6932 h 10672"/>
                <a:gd name="connsiteX8" fmla="*/ 1439 w 10000"/>
                <a:gd name="connsiteY8" fmla="*/ 6866 h 10672"/>
                <a:gd name="connsiteX9" fmla="*/ 1367 w 10000"/>
                <a:gd name="connsiteY9" fmla="*/ 6169 h 10672"/>
                <a:gd name="connsiteX10" fmla="*/ 1921 w 10000"/>
                <a:gd name="connsiteY10" fmla="*/ 5874 h 10672"/>
                <a:gd name="connsiteX11" fmla="*/ 1816 w 10000"/>
                <a:gd name="connsiteY11" fmla="*/ 4909 h 10672"/>
                <a:gd name="connsiteX12" fmla="*/ 1727 w 10000"/>
                <a:gd name="connsiteY12" fmla="*/ 4726 h 10672"/>
                <a:gd name="connsiteX13" fmla="*/ 1583 w 10000"/>
                <a:gd name="connsiteY13" fmla="*/ 4279 h 10672"/>
                <a:gd name="connsiteX14" fmla="*/ 2374 w 10000"/>
                <a:gd name="connsiteY14" fmla="*/ 4080 h 10672"/>
                <a:gd name="connsiteX15" fmla="*/ 2854 w 10000"/>
                <a:gd name="connsiteY15" fmla="*/ 3932 h 10672"/>
                <a:gd name="connsiteX16" fmla="*/ 3251 w 10000"/>
                <a:gd name="connsiteY16" fmla="*/ 4051 h 10672"/>
                <a:gd name="connsiteX17" fmla="*/ 1002 w 10000"/>
                <a:gd name="connsiteY17" fmla="*/ 2972 h 10672"/>
                <a:gd name="connsiteX18" fmla="*/ 2014 w 10000"/>
                <a:gd name="connsiteY18" fmla="*/ 2388 h 10672"/>
                <a:gd name="connsiteX19" fmla="*/ 1599 w 10000"/>
                <a:gd name="connsiteY19" fmla="*/ 2202 h 10672"/>
                <a:gd name="connsiteX20" fmla="*/ 2086 w 10000"/>
                <a:gd name="connsiteY20" fmla="*/ 1741 h 10672"/>
                <a:gd name="connsiteX21" fmla="*/ 2446 w 10000"/>
                <a:gd name="connsiteY21" fmla="*/ 1542 h 10672"/>
                <a:gd name="connsiteX22" fmla="*/ 2734 w 10000"/>
                <a:gd name="connsiteY22" fmla="*/ 1542 h 10672"/>
                <a:gd name="connsiteX23" fmla="*/ 2878 w 10000"/>
                <a:gd name="connsiteY23" fmla="*/ 1741 h 10672"/>
                <a:gd name="connsiteX24" fmla="*/ 3201 w 10000"/>
                <a:gd name="connsiteY24" fmla="*/ 1467 h 10672"/>
                <a:gd name="connsiteX25" fmla="*/ 3618 w 10000"/>
                <a:gd name="connsiteY25" fmla="*/ 1038 h 10672"/>
                <a:gd name="connsiteX26" fmla="*/ 4427 w 10000"/>
                <a:gd name="connsiteY26" fmla="*/ 656 h 10672"/>
                <a:gd name="connsiteX27" fmla="*/ 5540 w 10000"/>
                <a:gd name="connsiteY27" fmla="*/ 547 h 10672"/>
                <a:gd name="connsiteX28" fmla="*/ 6475 w 10000"/>
                <a:gd name="connsiteY28" fmla="*/ 597 h 10672"/>
                <a:gd name="connsiteX29" fmla="*/ 6763 w 10000"/>
                <a:gd name="connsiteY29" fmla="*/ 746 h 10672"/>
                <a:gd name="connsiteX30" fmla="*/ 6978 w 10000"/>
                <a:gd name="connsiteY30" fmla="*/ 348 h 10672"/>
                <a:gd name="connsiteX31" fmla="*/ 7410 w 10000"/>
                <a:gd name="connsiteY31" fmla="*/ 0 h 10672"/>
                <a:gd name="connsiteX32" fmla="*/ 7554 w 10000"/>
                <a:gd name="connsiteY32" fmla="*/ 249 h 10672"/>
                <a:gd name="connsiteX33" fmla="*/ 7986 w 10000"/>
                <a:gd name="connsiteY33" fmla="*/ 299 h 10672"/>
                <a:gd name="connsiteX34" fmla="*/ 8129 w 10000"/>
                <a:gd name="connsiteY34" fmla="*/ 746 h 10672"/>
                <a:gd name="connsiteX35" fmla="*/ 7626 w 10000"/>
                <a:gd name="connsiteY35" fmla="*/ 896 h 10672"/>
                <a:gd name="connsiteX36" fmla="*/ 7338 w 10000"/>
                <a:gd name="connsiteY36" fmla="*/ 1194 h 10672"/>
                <a:gd name="connsiteX37" fmla="*/ 7482 w 10000"/>
                <a:gd name="connsiteY37" fmla="*/ 1393 h 10672"/>
                <a:gd name="connsiteX38" fmla="*/ 8273 w 10000"/>
                <a:gd name="connsiteY38" fmla="*/ 1194 h 10672"/>
                <a:gd name="connsiteX39" fmla="*/ 9209 w 10000"/>
                <a:gd name="connsiteY39" fmla="*/ 1791 h 10672"/>
                <a:gd name="connsiteX40" fmla="*/ 9209 w 10000"/>
                <a:gd name="connsiteY40" fmla="*/ 2139 h 10672"/>
                <a:gd name="connsiteX41" fmla="*/ 9353 w 10000"/>
                <a:gd name="connsiteY41" fmla="*/ 3980 h 10672"/>
                <a:gd name="connsiteX42" fmla="*/ 8921 w 10000"/>
                <a:gd name="connsiteY42" fmla="*/ 4229 h 10672"/>
                <a:gd name="connsiteX43" fmla="*/ 9856 w 10000"/>
                <a:gd name="connsiteY43" fmla="*/ 4975 h 10672"/>
                <a:gd name="connsiteX44" fmla="*/ 9496 w 10000"/>
                <a:gd name="connsiteY44" fmla="*/ 5423 h 10672"/>
                <a:gd name="connsiteX45" fmla="*/ 10000 w 10000"/>
                <a:gd name="connsiteY45" fmla="*/ 8557 h 10672"/>
                <a:gd name="connsiteX46" fmla="*/ 8705 w 10000"/>
                <a:gd name="connsiteY46" fmla="*/ 8259 h 10672"/>
                <a:gd name="connsiteX47" fmla="*/ 7770 w 10000"/>
                <a:gd name="connsiteY47" fmla="*/ 8955 h 10672"/>
                <a:gd name="connsiteX48" fmla="*/ 5252 w 10000"/>
                <a:gd name="connsiteY48" fmla="*/ 9552 h 10672"/>
                <a:gd name="connsiteX49" fmla="*/ 4748 w 10000"/>
                <a:gd name="connsiteY49" fmla="*/ 10000 h 10672"/>
                <a:gd name="connsiteX0" fmla="*/ 4748 w 10000"/>
                <a:gd name="connsiteY0" fmla="*/ 10000 h 10672"/>
                <a:gd name="connsiteX1" fmla="*/ 4627 w 10000"/>
                <a:gd name="connsiteY1" fmla="*/ 10196 h 10672"/>
                <a:gd name="connsiteX2" fmla="*/ 3289 w 10000"/>
                <a:gd name="connsiteY2" fmla="*/ 10672 h 10672"/>
                <a:gd name="connsiteX3" fmla="*/ 1144 w 10000"/>
                <a:gd name="connsiteY3" fmla="*/ 10426 h 10672"/>
                <a:gd name="connsiteX4" fmla="*/ 0 w 10000"/>
                <a:gd name="connsiteY4" fmla="*/ 8856 h 10672"/>
                <a:gd name="connsiteX5" fmla="*/ 432 w 10000"/>
                <a:gd name="connsiteY5" fmla="*/ 8209 h 10672"/>
                <a:gd name="connsiteX6" fmla="*/ 0 w 10000"/>
                <a:gd name="connsiteY6" fmla="*/ 7512 h 10672"/>
                <a:gd name="connsiteX7" fmla="*/ 1163 w 10000"/>
                <a:gd name="connsiteY7" fmla="*/ 6932 h 10672"/>
                <a:gd name="connsiteX8" fmla="*/ 1439 w 10000"/>
                <a:gd name="connsiteY8" fmla="*/ 6866 h 10672"/>
                <a:gd name="connsiteX9" fmla="*/ 1367 w 10000"/>
                <a:gd name="connsiteY9" fmla="*/ 6169 h 10672"/>
                <a:gd name="connsiteX10" fmla="*/ 1921 w 10000"/>
                <a:gd name="connsiteY10" fmla="*/ 5874 h 10672"/>
                <a:gd name="connsiteX11" fmla="*/ 1816 w 10000"/>
                <a:gd name="connsiteY11" fmla="*/ 4909 h 10672"/>
                <a:gd name="connsiteX12" fmla="*/ 1727 w 10000"/>
                <a:gd name="connsiteY12" fmla="*/ 4726 h 10672"/>
                <a:gd name="connsiteX13" fmla="*/ 1583 w 10000"/>
                <a:gd name="connsiteY13" fmla="*/ 4279 h 10672"/>
                <a:gd name="connsiteX14" fmla="*/ 2374 w 10000"/>
                <a:gd name="connsiteY14" fmla="*/ 4080 h 10672"/>
                <a:gd name="connsiteX15" fmla="*/ 2854 w 10000"/>
                <a:gd name="connsiteY15" fmla="*/ 3932 h 10672"/>
                <a:gd name="connsiteX16" fmla="*/ 3251 w 10000"/>
                <a:gd name="connsiteY16" fmla="*/ 4051 h 10672"/>
                <a:gd name="connsiteX17" fmla="*/ 1002 w 10000"/>
                <a:gd name="connsiteY17" fmla="*/ 2972 h 10672"/>
                <a:gd name="connsiteX18" fmla="*/ 2014 w 10000"/>
                <a:gd name="connsiteY18" fmla="*/ 2388 h 10672"/>
                <a:gd name="connsiteX19" fmla="*/ 1599 w 10000"/>
                <a:gd name="connsiteY19" fmla="*/ 2202 h 10672"/>
                <a:gd name="connsiteX20" fmla="*/ 2086 w 10000"/>
                <a:gd name="connsiteY20" fmla="*/ 1741 h 10672"/>
                <a:gd name="connsiteX21" fmla="*/ 2446 w 10000"/>
                <a:gd name="connsiteY21" fmla="*/ 1542 h 10672"/>
                <a:gd name="connsiteX22" fmla="*/ 2734 w 10000"/>
                <a:gd name="connsiteY22" fmla="*/ 1542 h 10672"/>
                <a:gd name="connsiteX23" fmla="*/ 2878 w 10000"/>
                <a:gd name="connsiteY23" fmla="*/ 1741 h 10672"/>
                <a:gd name="connsiteX24" fmla="*/ 3201 w 10000"/>
                <a:gd name="connsiteY24" fmla="*/ 1467 h 10672"/>
                <a:gd name="connsiteX25" fmla="*/ 3618 w 10000"/>
                <a:gd name="connsiteY25" fmla="*/ 1038 h 10672"/>
                <a:gd name="connsiteX26" fmla="*/ 4427 w 10000"/>
                <a:gd name="connsiteY26" fmla="*/ 656 h 10672"/>
                <a:gd name="connsiteX27" fmla="*/ 5540 w 10000"/>
                <a:gd name="connsiteY27" fmla="*/ 547 h 10672"/>
                <a:gd name="connsiteX28" fmla="*/ 6475 w 10000"/>
                <a:gd name="connsiteY28" fmla="*/ 597 h 10672"/>
                <a:gd name="connsiteX29" fmla="*/ 6763 w 10000"/>
                <a:gd name="connsiteY29" fmla="*/ 746 h 10672"/>
                <a:gd name="connsiteX30" fmla="*/ 6978 w 10000"/>
                <a:gd name="connsiteY30" fmla="*/ 348 h 10672"/>
                <a:gd name="connsiteX31" fmla="*/ 7410 w 10000"/>
                <a:gd name="connsiteY31" fmla="*/ 0 h 10672"/>
                <a:gd name="connsiteX32" fmla="*/ 7554 w 10000"/>
                <a:gd name="connsiteY32" fmla="*/ 249 h 10672"/>
                <a:gd name="connsiteX33" fmla="*/ 7986 w 10000"/>
                <a:gd name="connsiteY33" fmla="*/ 299 h 10672"/>
                <a:gd name="connsiteX34" fmla="*/ 8129 w 10000"/>
                <a:gd name="connsiteY34" fmla="*/ 746 h 10672"/>
                <a:gd name="connsiteX35" fmla="*/ 7626 w 10000"/>
                <a:gd name="connsiteY35" fmla="*/ 896 h 10672"/>
                <a:gd name="connsiteX36" fmla="*/ 7338 w 10000"/>
                <a:gd name="connsiteY36" fmla="*/ 1194 h 10672"/>
                <a:gd name="connsiteX37" fmla="*/ 7482 w 10000"/>
                <a:gd name="connsiteY37" fmla="*/ 1393 h 10672"/>
                <a:gd name="connsiteX38" fmla="*/ 8273 w 10000"/>
                <a:gd name="connsiteY38" fmla="*/ 1194 h 10672"/>
                <a:gd name="connsiteX39" fmla="*/ 9209 w 10000"/>
                <a:gd name="connsiteY39" fmla="*/ 1791 h 10672"/>
                <a:gd name="connsiteX40" fmla="*/ 9209 w 10000"/>
                <a:gd name="connsiteY40" fmla="*/ 2139 h 10672"/>
                <a:gd name="connsiteX41" fmla="*/ 9353 w 10000"/>
                <a:gd name="connsiteY41" fmla="*/ 3980 h 10672"/>
                <a:gd name="connsiteX42" fmla="*/ 8921 w 10000"/>
                <a:gd name="connsiteY42" fmla="*/ 4229 h 10672"/>
                <a:gd name="connsiteX43" fmla="*/ 9856 w 10000"/>
                <a:gd name="connsiteY43" fmla="*/ 4975 h 10672"/>
                <a:gd name="connsiteX44" fmla="*/ 9496 w 10000"/>
                <a:gd name="connsiteY44" fmla="*/ 5423 h 10672"/>
                <a:gd name="connsiteX45" fmla="*/ 10000 w 10000"/>
                <a:gd name="connsiteY45" fmla="*/ 8557 h 10672"/>
                <a:gd name="connsiteX46" fmla="*/ 8705 w 10000"/>
                <a:gd name="connsiteY46" fmla="*/ 8259 h 10672"/>
                <a:gd name="connsiteX47" fmla="*/ 7770 w 10000"/>
                <a:gd name="connsiteY47" fmla="*/ 8955 h 10672"/>
                <a:gd name="connsiteX48" fmla="*/ 5252 w 10000"/>
                <a:gd name="connsiteY48" fmla="*/ 9552 h 10672"/>
                <a:gd name="connsiteX49" fmla="*/ 4748 w 10000"/>
                <a:gd name="connsiteY49" fmla="*/ 10000 h 10672"/>
                <a:gd name="connsiteX0" fmla="*/ 4748 w 10000"/>
                <a:gd name="connsiteY0" fmla="*/ 10000 h 10672"/>
                <a:gd name="connsiteX1" fmla="*/ 4627 w 10000"/>
                <a:gd name="connsiteY1" fmla="*/ 10196 h 10672"/>
                <a:gd name="connsiteX2" fmla="*/ 3289 w 10000"/>
                <a:gd name="connsiteY2" fmla="*/ 10672 h 10672"/>
                <a:gd name="connsiteX3" fmla="*/ 1144 w 10000"/>
                <a:gd name="connsiteY3" fmla="*/ 10426 h 10672"/>
                <a:gd name="connsiteX4" fmla="*/ 0 w 10000"/>
                <a:gd name="connsiteY4" fmla="*/ 8856 h 10672"/>
                <a:gd name="connsiteX5" fmla="*/ 432 w 10000"/>
                <a:gd name="connsiteY5" fmla="*/ 8209 h 10672"/>
                <a:gd name="connsiteX6" fmla="*/ 0 w 10000"/>
                <a:gd name="connsiteY6" fmla="*/ 7512 h 10672"/>
                <a:gd name="connsiteX7" fmla="*/ 1163 w 10000"/>
                <a:gd name="connsiteY7" fmla="*/ 6932 h 10672"/>
                <a:gd name="connsiteX8" fmla="*/ 1439 w 10000"/>
                <a:gd name="connsiteY8" fmla="*/ 6866 h 10672"/>
                <a:gd name="connsiteX9" fmla="*/ 1367 w 10000"/>
                <a:gd name="connsiteY9" fmla="*/ 6169 h 10672"/>
                <a:gd name="connsiteX10" fmla="*/ 1921 w 10000"/>
                <a:gd name="connsiteY10" fmla="*/ 5874 h 10672"/>
                <a:gd name="connsiteX11" fmla="*/ 1816 w 10000"/>
                <a:gd name="connsiteY11" fmla="*/ 4909 h 10672"/>
                <a:gd name="connsiteX12" fmla="*/ 1727 w 10000"/>
                <a:gd name="connsiteY12" fmla="*/ 4726 h 10672"/>
                <a:gd name="connsiteX13" fmla="*/ 1583 w 10000"/>
                <a:gd name="connsiteY13" fmla="*/ 4279 h 10672"/>
                <a:gd name="connsiteX14" fmla="*/ 2374 w 10000"/>
                <a:gd name="connsiteY14" fmla="*/ 4080 h 10672"/>
                <a:gd name="connsiteX15" fmla="*/ 2854 w 10000"/>
                <a:gd name="connsiteY15" fmla="*/ 3932 h 10672"/>
                <a:gd name="connsiteX16" fmla="*/ 3251 w 10000"/>
                <a:gd name="connsiteY16" fmla="*/ 4051 h 10672"/>
                <a:gd name="connsiteX17" fmla="*/ 1002 w 10000"/>
                <a:gd name="connsiteY17" fmla="*/ 2972 h 10672"/>
                <a:gd name="connsiteX18" fmla="*/ 2014 w 10000"/>
                <a:gd name="connsiteY18" fmla="*/ 2388 h 10672"/>
                <a:gd name="connsiteX19" fmla="*/ 1599 w 10000"/>
                <a:gd name="connsiteY19" fmla="*/ 2202 h 10672"/>
                <a:gd name="connsiteX20" fmla="*/ 2086 w 10000"/>
                <a:gd name="connsiteY20" fmla="*/ 1741 h 10672"/>
                <a:gd name="connsiteX21" fmla="*/ 2446 w 10000"/>
                <a:gd name="connsiteY21" fmla="*/ 1542 h 10672"/>
                <a:gd name="connsiteX22" fmla="*/ 2734 w 10000"/>
                <a:gd name="connsiteY22" fmla="*/ 1542 h 10672"/>
                <a:gd name="connsiteX23" fmla="*/ 2878 w 10000"/>
                <a:gd name="connsiteY23" fmla="*/ 1741 h 10672"/>
                <a:gd name="connsiteX24" fmla="*/ 3201 w 10000"/>
                <a:gd name="connsiteY24" fmla="*/ 1467 h 10672"/>
                <a:gd name="connsiteX25" fmla="*/ 3618 w 10000"/>
                <a:gd name="connsiteY25" fmla="*/ 1038 h 10672"/>
                <a:gd name="connsiteX26" fmla="*/ 4427 w 10000"/>
                <a:gd name="connsiteY26" fmla="*/ 656 h 10672"/>
                <a:gd name="connsiteX27" fmla="*/ 5540 w 10000"/>
                <a:gd name="connsiteY27" fmla="*/ 547 h 10672"/>
                <a:gd name="connsiteX28" fmla="*/ 6475 w 10000"/>
                <a:gd name="connsiteY28" fmla="*/ 597 h 10672"/>
                <a:gd name="connsiteX29" fmla="*/ 6763 w 10000"/>
                <a:gd name="connsiteY29" fmla="*/ 746 h 10672"/>
                <a:gd name="connsiteX30" fmla="*/ 6978 w 10000"/>
                <a:gd name="connsiteY30" fmla="*/ 348 h 10672"/>
                <a:gd name="connsiteX31" fmla="*/ 7410 w 10000"/>
                <a:gd name="connsiteY31" fmla="*/ 0 h 10672"/>
                <a:gd name="connsiteX32" fmla="*/ 7554 w 10000"/>
                <a:gd name="connsiteY32" fmla="*/ 249 h 10672"/>
                <a:gd name="connsiteX33" fmla="*/ 7986 w 10000"/>
                <a:gd name="connsiteY33" fmla="*/ 299 h 10672"/>
                <a:gd name="connsiteX34" fmla="*/ 8129 w 10000"/>
                <a:gd name="connsiteY34" fmla="*/ 746 h 10672"/>
                <a:gd name="connsiteX35" fmla="*/ 7626 w 10000"/>
                <a:gd name="connsiteY35" fmla="*/ 896 h 10672"/>
                <a:gd name="connsiteX36" fmla="*/ 7338 w 10000"/>
                <a:gd name="connsiteY36" fmla="*/ 1194 h 10672"/>
                <a:gd name="connsiteX37" fmla="*/ 7482 w 10000"/>
                <a:gd name="connsiteY37" fmla="*/ 1393 h 10672"/>
                <a:gd name="connsiteX38" fmla="*/ 8273 w 10000"/>
                <a:gd name="connsiteY38" fmla="*/ 1194 h 10672"/>
                <a:gd name="connsiteX39" fmla="*/ 9209 w 10000"/>
                <a:gd name="connsiteY39" fmla="*/ 1791 h 10672"/>
                <a:gd name="connsiteX40" fmla="*/ 9209 w 10000"/>
                <a:gd name="connsiteY40" fmla="*/ 2139 h 10672"/>
                <a:gd name="connsiteX41" fmla="*/ 9353 w 10000"/>
                <a:gd name="connsiteY41" fmla="*/ 3980 h 10672"/>
                <a:gd name="connsiteX42" fmla="*/ 8921 w 10000"/>
                <a:gd name="connsiteY42" fmla="*/ 4229 h 10672"/>
                <a:gd name="connsiteX43" fmla="*/ 9856 w 10000"/>
                <a:gd name="connsiteY43" fmla="*/ 4975 h 10672"/>
                <a:gd name="connsiteX44" fmla="*/ 9496 w 10000"/>
                <a:gd name="connsiteY44" fmla="*/ 5423 h 10672"/>
                <a:gd name="connsiteX45" fmla="*/ 10000 w 10000"/>
                <a:gd name="connsiteY45" fmla="*/ 8557 h 10672"/>
                <a:gd name="connsiteX46" fmla="*/ 8705 w 10000"/>
                <a:gd name="connsiteY46" fmla="*/ 8259 h 10672"/>
                <a:gd name="connsiteX47" fmla="*/ 7770 w 10000"/>
                <a:gd name="connsiteY47" fmla="*/ 8955 h 10672"/>
                <a:gd name="connsiteX48" fmla="*/ 6006 w 10000"/>
                <a:gd name="connsiteY48" fmla="*/ 9850 h 10672"/>
                <a:gd name="connsiteX49" fmla="*/ 4748 w 10000"/>
                <a:gd name="connsiteY49" fmla="*/ 10000 h 10672"/>
                <a:gd name="connsiteX0" fmla="*/ 4748 w 10000"/>
                <a:gd name="connsiteY0" fmla="*/ 10000 h 10672"/>
                <a:gd name="connsiteX1" fmla="*/ 4627 w 10000"/>
                <a:gd name="connsiteY1" fmla="*/ 10196 h 10672"/>
                <a:gd name="connsiteX2" fmla="*/ 3289 w 10000"/>
                <a:gd name="connsiteY2" fmla="*/ 10672 h 10672"/>
                <a:gd name="connsiteX3" fmla="*/ 1144 w 10000"/>
                <a:gd name="connsiteY3" fmla="*/ 10426 h 10672"/>
                <a:gd name="connsiteX4" fmla="*/ 0 w 10000"/>
                <a:gd name="connsiteY4" fmla="*/ 8856 h 10672"/>
                <a:gd name="connsiteX5" fmla="*/ 432 w 10000"/>
                <a:gd name="connsiteY5" fmla="*/ 8209 h 10672"/>
                <a:gd name="connsiteX6" fmla="*/ 0 w 10000"/>
                <a:gd name="connsiteY6" fmla="*/ 7512 h 10672"/>
                <a:gd name="connsiteX7" fmla="*/ 1163 w 10000"/>
                <a:gd name="connsiteY7" fmla="*/ 6932 h 10672"/>
                <a:gd name="connsiteX8" fmla="*/ 1439 w 10000"/>
                <a:gd name="connsiteY8" fmla="*/ 6866 h 10672"/>
                <a:gd name="connsiteX9" fmla="*/ 1367 w 10000"/>
                <a:gd name="connsiteY9" fmla="*/ 6169 h 10672"/>
                <a:gd name="connsiteX10" fmla="*/ 1921 w 10000"/>
                <a:gd name="connsiteY10" fmla="*/ 5874 h 10672"/>
                <a:gd name="connsiteX11" fmla="*/ 1816 w 10000"/>
                <a:gd name="connsiteY11" fmla="*/ 4909 h 10672"/>
                <a:gd name="connsiteX12" fmla="*/ 1727 w 10000"/>
                <a:gd name="connsiteY12" fmla="*/ 4726 h 10672"/>
                <a:gd name="connsiteX13" fmla="*/ 1583 w 10000"/>
                <a:gd name="connsiteY13" fmla="*/ 4279 h 10672"/>
                <a:gd name="connsiteX14" fmla="*/ 2374 w 10000"/>
                <a:gd name="connsiteY14" fmla="*/ 4080 h 10672"/>
                <a:gd name="connsiteX15" fmla="*/ 2854 w 10000"/>
                <a:gd name="connsiteY15" fmla="*/ 3932 h 10672"/>
                <a:gd name="connsiteX16" fmla="*/ 3251 w 10000"/>
                <a:gd name="connsiteY16" fmla="*/ 4051 h 10672"/>
                <a:gd name="connsiteX17" fmla="*/ 1002 w 10000"/>
                <a:gd name="connsiteY17" fmla="*/ 2972 h 10672"/>
                <a:gd name="connsiteX18" fmla="*/ 2014 w 10000"/>
                <a:gd name="connsiteY18" fmla="*/ 2388 h 10672"/>
                <a:gd name="connsiteX19" fmla="*/ 1599 w 10000"/>
                <a:gd name="connsiteY19" fmla="*/ 2202 h 10672"/>
                <a:gd name="connsiteX20" fmla="*/ 2086 w 10000"/>
                <a:gd name="connsiteY20" fmla="*/ 1741 h 10672"/>
                <a:gd name="connsiteX21" fmla="*/ 2446 w 10000"/>
                <a:gd name="connsiteY21" fmla="*/ 1542 h 10672"/>
                <a:gd name="connsiteX22" fmla="*/ 2734 w 10000"/>
                <a:gd name="connsiteY22" fmla="*/ 1542 h 10672"/>
                <a:gd name="connsiteX23" fmla="*/ 2878 w 10000"/>
                <a:gd name="connsiteY23" fmla="*/ 1741 h 10672"/>
                <a:gd name="connsiteX24" fmla="*/ 3201 w 10000"/>
                <a:gd name="connsiteY24" fmla="*/ 1467 h 10672"/>
                <a:gd name="connsiteX25" fmla="*/ 3618 w 10000"/>
                <a:gd name="connsiteY25" fmla="*/ 1038 h 10672"/>
                <a:gd name="connsiteX26" fmla="*/ 4427 w 10000"/>
                <a:gd name="connsiteY26" fmla="*/ 656 h 10672"/>
                <a:gd name="connsiteX27" fmla="*/ 5540 w 10000"/>
                <a:gd name="connsiteY27" fmla="*/ 547 h 10672"/>
                <a:gd name="connsiteX28" fmla="*/ 6475 w 10000"/>
                <a:gd name="connsiteY28" fmla="*/ 597 h 10672"/>
                <a:gd name="connsiteX29" fmla="*/ 6763 w 10000"/>
                <a:gd name="connsiteY29" fmla="*/ 746 h 10672"/>
                <a:gd name="connsiteX30" fmla="*/ 6978 w 10000"/>
                <a:gd name="connsiteY30" fmla="*/ 348 h 10672"/>
                <a:gd name="connsiteX31" fmla="*/ 7410 w 10000"/>
                <a:gd name="connsiteY31" fmla="*/ 0 h 10672"/>
                <a:gd name="connsiteX32" fmla="*/ 7554 w 10000"/>
                <a:gd name="connsiteY32" fmla="*/ 249 h 10672"/>
                <a:gd name="connsiteX33" fmla="*/ 7986 w 10000"/>
                <a:gd name="connsiteY33" fmla="*/ 299 h 10672"/>
                <a:gd name="connsiteX34" fmla="*/ 8129 w 10000"/>
                <a:gd name="connsiteY34" fmla="*/ 746 h 10672"/>
                <a:gd name="connsiteX35" fmla="*/ 7626 w 10000"/>
                <a:gd name="connsiteY35" fmla="*/ 896 h 10672"/>
                <a:gd name="connsiteX36" fmla="*/ 7338 w 10000"/>
                <a:gd name="connsiteY36" fmla="*/ 1194 h 10672"/>
                <a:gd name="connsiteX37" fmla="*/ 7482 w 10000"/>
                <a:gd name="connsiteY37" fmla="*/ 1393 h 10672"/>
                <a:gd name="connsiteX38" fmla="*/ 8273 w 10000"/>
                <a:gd name="connsiteY38" fmla="*/ 1194 h 10672"/>
                <a:gd name="connsiteX39" fmla="*/ 9209 w 10000"/>
                <a:gd name="connsiteY39" fmla="*/ 1791 h 10672"/>
                <a:gd name="connsiteX40" fmla="*/ 9209 w 10000"/>
                <a:gd name="connsiteY40" fmla="*/ 2139 h 10672"/>
                <a:gd name="connsiteX41" fmla="*/ 9353 w 10000"/>
                <a:gd name="connsiteY41" fmla="*/ 3980 h 10672"/>
                <a:gd name="connsiteX42" fmla="*/ 8921 w 10000"/>
                <a:gd name="connsiteY42" fmla="*/ 4229 h 10672"/>
                <a:gd name="connsiteX43" fmla="*/ 9856 w 10000"/>
                <a:gd name="connsiteY43" fmla="*/ 4975 h 10672"/>
                <a:gd name="connsiteX44" fmla="*/ 9496 w 10000"/>
                <a:gd name="connsiteY44" fmla="*/ 5423 h 10672"/>
                <a:gd name="connsiteX45" fmla="*/ 10000 w 10000"/>
                <a:gd name="connsiteY45" fmla="*/ 8557 h 10672"/>
                <a:gd name="connsiteX46" fmla="*/ 9409 w 10000"/>
                <a:gd name="connsiteY46" fmla="*/ 8603 h 10672"/>
                <a:gd name="connsiteX47" fmla="*/ 7770 w 10000"/>
                <a:gd name="connsiteY47" fmla="*/ 8955 h 10672"/>
                <a:gd name="connsiteX48" fmla="*/ 6006 w 10000"/>
                <a:gd name="connsiteY48" fmla="*/ 9850 h 10672"/>
                <a:gd name="connsiteX49" fmla="*/ 4748 w 10000"/>
                <a:gd name="connsiteY49" fmla="*/ 10000 h 10672"/>
                <a:gd name="connsiteX0" fmla="*/ 4748 w 10416"/>
                <a:gd name="connsiteY0" fmla="*/ 10000 h 10672"/>
                <a:gd name="connsiteX1" fmla="*/ 4627 w 10416"/>
                <a:gd name="connsiteY1" fmla="*/ 10196 h 10672"/>
                <a:gd name="connsiteX2" fmla="*/ 3289 w 10416"/>
                <a:gd name="connsiteY2" fmla="*/ 10672 h 10672"/>
                <a:gd name="connsiteX3" fmla="*/ 1144 w 10416"/>
                <a:gd name="connsiteY3" fmla="*/ 10426 h 10672"/>
                <a:gd name="connsiteX4" fmla="*/ 0 w 10416"/>
                <a:gd name="connsiteY4" fmla="*/ 8856 h 10672"/>
                <a:gd name="connsiteX5" fmla="*/ 432 w 10416"/>
                <a:gd name="connsiteY5" fmla="*/ 8209 h 10672"/>
                <a:gd name="connsiteX6" fmla="*/ 0 w 10416"/>
                <a:gd name="connsiteY6" fmla="*/ 7512 h 10672"/>
                <a:gd name="connsiteX7" fmla="*/ 1163 w 10416"/>
                <a:gd name="connsiteY7" fmla="*/ 6932 h 10672"/>
                <a:gd name="connsiteX8" fmla="*/ 1439 w 10416"/>
                <a:gd name="connsiteY8" fmla="*/ 6866 h 10672"/>
                <a:gd name="connsiteX9" fmla="*/ 1367 w 10416"/>
                <a:gd name="connsiteY9" fmla="*/ 6169 h 10672"/>
                <a:gd name="connsiteX10" fmla="*/ 1921 w 10416"/>
                <a:gd name="connsiteY10" fmla="*/ 5874 h 10672"/>
                <a:gd name="connsiteX11" fmla="*/ 1816 w 10416"/>
                <a:gd name="connsiteY11" fmla="*/ 4909 h 10672"/>
                <a:gd name="connsiteX12" fmla="*/ 1727 w 10416"/>
                <a:gd name="connsiteY12" fmla="*/ 4726 h 10672"/>
                <a:gd name="connsiteX13" fmla="*/ 1583 w 10416"/>
                <a:gd name="connsiteY13" fmla="*/ 4279 h 10672"/>
                <a:gd name="connsiteX14" fmla="*/ 2374 w 10416"/>
                <a:gd name="connsiteY14" fmla="*/ 4080 h 10672"/>
                <a:gd name="connsiteX15" fmla="*/ 2854 w 10416"/>
                <a:gd name="connsiteY15" fmla="*/ 3932 h 10672"/>
                <a:gd name="connsiteX16" fmla="*/ 3251 w 10416"/>
                <a:gd name="connsiteY16" fmla="*/ 4051 h 10672"/>
                <a:gd name="connsiteX17" fmla="*/ 1002 w 10416"/>
                <a:gd name="connsiteY17" fmla="*/ 2972 h 10672"/>
                <a:gd name="connsiteX18" fmla="*/ 2014 w 10416"/>
                <a:gd name="connsiteY18" fmla="*/ 2388 h 10672"/>
                <a:gd name="connsiteX19" fmla="*/ 1599 w 10416"/>
                <a:gd name="connsiteY19" fmla="*/ 2202 h 10672"/>
                <a:gd name="connsiteX20" fmla="*/ 2086 w 10416"/>
                <a:gd name="connsiteY20" fmla="*/ 1741 h 10672"/>
                <a:gd name="connsiteX21" fmla="*/ 2446 w 10416"/>
                <a:gd name="connsiteY21" fmla="*/ 1542 h 10672"/>
                <a:gd name="connsiteX22" fmla="*/ 2734 w 10416"/>
                <a:gd name="connsiteY22" fmla="*/ 1542 h 10672"/>
                <a:gd name="connsiteX23" fmla="*/ 2878 w 10416"/>
                <a:gd name="connsiteY23" fmla="*/ 1741 h 10672"/>
                <a:gd name="connsiteX24" fmla="*/ 3201 w 10416"/>
                <a:gd name="connsiteY24" fmla="*/ 1467 h 10672"/>
                <a:gd name="connsiteX25" fmla="*/ 3618 w 10416"/>
                <a:gd name="connsiteY25" fmla="*/ 1038 h 10672"/>
                <a:gd name="connsiteX26" fmla="*/ 4427 w 10416"/>
                <a:gd name="connsiteY26" fmla="*/ 656 h 10672"/>
                <a:gd name="connsiteX27" fmla="*/ 5540 w 10416"/>
                <a:gd name="connsiteY27" fmla="*/ 547 h 10672"/>
                <a:gd name="connsiteX28" fmla="*/ 6475 w 10416"/>
                <a:gd name="connsiteY28" fmla="*/ 597 h 10672"/>
                <a:gd name="connsiteX29" fmla="*/ 6763 w 10416"/>
                <a:gd name="connsiteY29" fmla="*/ 746 h 10672"/>
                <a:gd name="connsiteX30" fmla="*/ 6978 w 10416"/>
                <a:gd name="connsiteY30" fmla="*/ 348 h 10672"/>
                <a:gd name="connsiteX31" fmla="*/ 7410 w 10416"/>
                <a:gd name="connsiteY31" fmla="*/ 0 h 10672"/>
                <a:gd name="connsiteX32" fmla="*/ 7554 w 10416"/>
                <a:gd name="connsiteY32" fmla="*/ 249 h 10672"/>
                <a:gd name="connsiteX33" fmla="*/ 7986 w 10416"/>
                <a:gd name="connsiteY33" fmla="*/ 299 h 10672"/>
                <a:gd name="connsiteX34" fmla="*/ 8129 w 10416"/>
                <a:gd name="connsiteY34" fmla="*/ 746 h 10672"/>
                <a:gd name="connsiteX35" fmla="*/ 7626 w 10416"/>
                <a:gd name="connsiteY35" fmla="*/ 896 h 10672"/>
                <a:gd name="connsiteX36" fmla="*/ 7338 w 10416"/>
                <a:gd name="connsiteY36" fmla="*/ 1194 h 10672"/>
                <a:gd name="connsiteX37" fmla="*/ 7482 w 10416"/>
                <a:gd name="connsiteY37" fmla="*/ 1393 h 10672"/>
                <a:gd name="connsiteX38" fmla="*/ 8273 w 10416"/>
                <a:gd name="connsiteY38" fmla="*/ 1194 h 10672"/>
                <a:gd name="connsiteX39" fmla="*/ 9209 w 10416"/>
                <a:gd name="connsiteY39" fmla="*/ 1791 h 10672"/>
                <a:gd name="connsiteX40" fmla="*/ 9209 w 10416"/>
                <a:gd name="connsiteY40" fmla="*/ 2139 h 10672"/>
                <a:gd name="connsiteX41" fmla="*/ 9353 w 10416"/>
                <a:gd name="connsiteY41" fmla="*/ 3980 h 10672"/>
                <a:gd name="connsiteX42" fmla="*/ 8921 w 10416"/>
                <a:gd name="connsiteY42" fmla="*/ 4229 h 10672"/>
                <a:gd name="connsiteX43" fmla="*/ 9856 w 10416"/>
                <a:gd name="connsiteY43" fmla="*/ 4975 h 10672"/>
                <a:gd name="connsiteX44" fmla="*/ 10416 w 10416"/>
                <a:gd name="connsiteY44" fmla="*/ 7515 h 10672"/>
                <a:gd name="connsiteX45" fmla="*/ 10000 w 10416"/>
                <a:gd name="connsiteY45" fmla="*/ 8557 h 10672"/>
                <a:gd name="connsiteX46" fmla="*/ 9409 w 10416"/>
                <a:gd name="connsiteY46" fmla="*/ 8603 h 10672"/>
                <a:gd name="connsiteX47" fmla="*/ 7770 w 10416"/>
                <a:gd name="connsiteY47" fmla="*/ 8955 h 10672"/>
                <a:gd name="connsiteX48" fmla="*/ 6006 w 10416"/>
                <a:gd name="connsiteY48" fmla="*/ 9850 h 10672"/>
                <a:gd name="connsiteX49" fmla="*/ 4748 w 10416"/>
                <a:gd name="connsiteY49" fmla="*/ 10000 h 10672"/>
                <a:gd name="connsiteX0" fmla="*/ 4748 w 10416"/>
                <a:gd name="connsiteY0" fmla="*/ 10000 h 10672"/>
                <a:gd name="connsiteX1" fmla="*/ 4627 w 10416"/>
                <a:gd name="connsiteY1" fmla="*/ 10196 h 10672"/>
                <a:gd name="connsiteX2" fmla="*/ 3289 w 10416"/>
                <a:gd name="connsiteY2" fmla="*/ 10672 h 10672"/>
                <a:gd name="connsiteX3" fmla="*/ 1144 w 10416"/>
                <a:gd name="connsiteY3" fmla="*/ 10426 h 10672"/>
                <a:gd name="connsiteX4" fmla="*/ 0 w 10416"/>
                <a:gd name="connsiteY4" fmla="*/ 8856 h 10672"/>
                <a:gd name="connsiteX5" fmla="*/ 432 w 10416"/>
                <a:gd name="connsiteY5" fmla="*/ 8209 h 10672"/>
                <a:gd name="connsiteX6" fmla="*/ 0 w 10416"/>
                <a:gd name="connsiteY6" fmla="*/ 7512 h 10672"/>
                <a:gd name="connsiteX7" fmla="*/ 1163 w 10416"/>
                <a:gd name="connsiteY7" fmla="*/ 6932 h 10672"/>
                <a:gd name="connsiteX8" fmla="*/ 1439 w 10416"/>
                <a:gd name="connsiteY8" fmla="*/ 6866 h 10672"/>
                <a:gd name="connsiteX9" fmla="*/ 1367 w 10416"/>
                <a:gd name="connsiteY9" fmla="*/ 6169 h 10672"/>
                <a:gd name="connsiteX10" fmla="*/ 1921 w 10416"/>
                <a:gd name="connsiteY10" fmla="*/ 5874 h 10672"/>
                <a:gd name="connsiteX11" fmla="*/ 1816 w 10416"/>
                <a:gd name="connsiteY11" fmla="*/ 4909 h 10672"/>
                <a:gd name="connsiteX12" fmla="*/ 1727 w 10416"/>
                <a:gd name="connsiteY12" fmla="*/ 4726 h 10672"/>
                <a:gd name="connsiteX13" fmla="*/ 1583 w 10416"/>
                <a:gd name="connsiteY13" fmla="*/ 4279 h 10672"/>
                <a:gd name="connsiteX14" fmla="*/ 2374 w 10416"/>
                <a:gd name="connsiteY14" fmla="*/ 4080 h 10672"/>
                <a:gd name="connsiteX15" fmla="*/ 2854 w 10416"/>
                <a:gd name="connsiteY15" fmla="*/ 3932 h 10672"/>
                <a:gd name="connsiteX16" fmla="*/ 3251 w 10416"/>
                <a:gd name="connsiteY16" fmla="*/ 4051 h 10672"/>
                <a:gd name="connsiteX17" fmla="*/ 1002 w 10416"/>
                <a:gd name="connsiteY17" fmla="*/ 2972 h 10672"/>
                <a:gd name="connsiteX18" fmla="*/ 2014 w 10416"/>
                <a:gd name="connsiteY18" fmla="*/ 2388 h 10672"/>
                <a:gd name="connsiteX19" fmla="*/ 1599 w 10416"/>
                <a:gd name="connsiteY19" fmla="*/ 2202 h 10672"/>
                <a:gd name="connsiteX20" fmla="*/ 2086 w 10416"/>
                <a:gd name="connsiteY20" fmla="*/ 1741 h 10672"/>
                <a:gd name="connsiteX21" fmla="*/ 2446 w 10416"/>
                <a:gd name="connsiteY21" fmla="*/ 1542 h 10672"/>
                <a:gd name="connsiteX22" fmla="*/ 2734 w 10416"/>
                <a:gd name="connsiteY22" fmla="*/ 1542 h 10672"/>
                <a:gd name="connsiteX23" fmla="*/ 2878 w 10416"/>
                <a:gd name="connsiteY23" fmla="*/ 1741 h 10672"/>
                <a:gd name="connsiteX24" fmla="*/ 3201 w 10416"/>
                <a:gd name="connsiteY24" fmla="*/ 1467 h 10672"/>
                <a:gd name="connsiteX25" fmla="*/ 3618 w 10416"/>
                <a:gd name="connsiteY25" fmla="*/ 1038 h 10672"/>
                <a:gd name="connsiteX26" fmla="*/ 4427 w 10416"/>
                <a:gd name="connsiteY26" fmla="*/ 656 h 10672"/>
                <a:gd name="connsiteX27" fmla="*/ 5540 w 10416"/>
                <a:gd name="connsiteY27" fmla="*/ 547 h 10672"/>
                <a:gd name="connsiteX28" fmla="*/ 6475 w 10416"/>
                <a:gd name="connsiteY28" fmla="*/ 597 h 10672"/>
                <a:gd name="connsiteX29" fmla="*/ 6763 w 10416"/>
                <a:gd name="connsiteY29" fmla="*/ 746 h 10672"/>
                <a:gd name="connsiteX30" fmla="*/ 6978 w 10416"/>
                <a:gd name="connsiteY30" fmla="*/ 348 h 10672"/>
                <a:gd name="connsiteX31" fmla="*/ 7410 w 10416"/>
                <a:gd name="connsiteY31" fmla="*/ 0 h 10672"/>
                <a:gd name="connsiteX32" fmla="*/ 7554 w 10416"/>
                <a:gd name="connsiteY32" fmla="*/ 249 h 10672"/>
                <a:gd name="connsiteX33" fmla="*/ 7986 w 10416"/>
                <a:gd name="connsiteY33" fmla="*/ 299 h 10672"/>
                <a:gd name="connsiteX34" fmla="*/ 8129 w 10416"/>
                <a:gd name="connsiteY34" fmla="*/ 746 h 10672"/>
                <a:gd name="connsiteX35" fmla="*/ 7626 w 10416"/>
                <a:gd name="connsiteY35" fmla="*/ 896 h 10672"/>
                <a:gd name="connsiteX36" fmla="*/ 7338 w 10416"/>
                <a:gd name="connsiteY36" fmla="*/ 1194 h 10672"/>
                <a:gd name="connsiteX37" fmla="*/ 7482 w 10416"/>
                <a:gd name="connsiteY37" fmla="*/ 1393 h 10672"/>
                <a:gd name="connsiteX38" fmla="*/ 8273 w 10416"/>
                <a:gd name="connsiteY38" fmla="*/ 1194 h 10672"/>
                <a:gd name="connsiteX39" fmla="*/ 9209 w 10416"/>
                <a:gd name="connsiteY39" fmla="*/ 1791 h 10672"/>
                <a:gd name="connsiteX40" fmla="*/ 9209 w 10416"/>
                <a:gd name="connsiteY40" fmla="*/ 2139 h 10672"/>
                <a:gd name="connsiteX41" fmla="*/ 9353 w 10416"/>
                <a:gd name="connsiteY41" fmla="*/ 3980 h 10672"/>
                <a:gd name="connsiteX42" fmla="*/ 8921 w 10416"/>
                <a:gd name="connsiteY42" fmla="*/ 4229 h 10672"/>
                <a:gd name="connsiteX43" fmla="*/ 9740 w 10416"/>
                <a:gd name="connsiteY43" fmla="*/ 5891 h 10672"/>
                <a:gd name="connsiteX44" fmla="*/ 10416 w 10416"/>
                <a:gd name="connsiteY44" fmla="*/ 7515 h 10672"/>
                <a:gd name="connsiteX45" fmla="*/ 10000 w 10416"/>
                <a:gd name="connsiteY45" fmla="*/ 8557 h 10672"/>
                <a:gd name="connsiteX46" fmla="*/ 9409 w 10416"/>
                <a:gd name="connsiteY46" fmla="*/ 8603 h 10672"/>
                <a:gd name="connsiteX47" fmla="*/ 7770 w 10416"/>
                <a:gd name="connsiteY47" fmla="*/ 8955 h 10672"/>
                <a:gd name="connsiteX48" fmla="*/ 6006 w 10416"/>
                <a:gd name="connsiteY48" fmla="*/ 9850 h 10672"/>
                <a:gd name="connsiteX49" fmla="*/ 4748 w 10416"/>
                <a:gd name="connsiteY49" fmla="*/ 10000 h 10672"/>
                <a:gd name="connsiteX0" fmla="*/ 4748 w 10815"/>
                <a:gd name="connsiteY0" fmla="*/ 10000 h 10672"/>
                <a:gd name="connsiteX1" fmla="*/ 4627 w 10815"/>
                <a:gd name="connsiteY1" fmla="*/ 10196 h 10672"/>
                <a:gd name="connsiteX2" fmla="*/ 3289 w 10815"/>
                <a:gd name="connsiteY2" fmla="*/ 10672 h 10672"/>
                <a:gd name="connsiteX3" fmla="*/ 1144 w 10815"/>
                <a:gd name="connsiteY3" fmla="*/ 10426 h 10672"/>
                <a:gd name="connsiteX4" fmla="*/ 0 w 10815"/>
                <a:gd name="connsiteY4" fmla="*/ 8856 h 10672"/>
                <a:gd name="connsiteX5" fmla="*/ 432 w 10815"/>
                <a:gd name="connsiteY5" fmla="*/ 8209 h 10672"/>
                <a:gd name="connsiteX6" fmla="*/ 0 w 10815"/>
                <a:gd name="connsiteY6" fmla="*/ 7512 h 10672"/>
                <a:gd name="connsiteX7" fmla="*/ 1163 w 10815"/>
                <a:gd name="connsiteY7" fmla="*/ 6932 h 10672"/>
                <a:gd name="connsiteX8" fmla="*/ 1439 w 10815"/>
                <a:gd name="connsiteY8" fmla="*/ 6866 h 10672"/>
                <a:gd name="connsiteX9" fmla="*/ 1367 w 10815"/>
                <a:gd name="connsiteY9" fmla="*/ 6169 h 10672"/>
                <a:gd name="connsiteX10" fmla="*/ 1921 w 10815"/>
                <a:gd name="connsiteY10" fmla="*/ 5874 h 10672"/>
                <a:gd name="connsiteX11" fmla="*/ 1816 w 10815"/>
                <a:gd name="connsiteY11" fmla="*/ 4909 h 10672"/>
                <a:gd name="connsiteX12" fmla="*/ 1727 w 10815"/>
                <a:gd name="connsiteY12" fmla="*/ 4726 h 10672"/>
                <a:gd name="connsiteX13" fmla="*/ 1583 w 10815"/>
                <a:gd name="connsiteY13" fmla="*/ 4279 h 10672"/>
                <a:gd name="connsiteX14" fmla="*/ 2374 w 10815"/>
                <a:gd name="connsiteY14" fmla="*/ 4080 h 10672"/>
                <a:gd name="connsiteX15" fmla="*/ 2854 w 10815"/>
                <a:gd name="connsiteY15" fmla="*/ 3932 h 10672"/>
                <a:gd name="connsiteX16" fmla="*/ 3251 w 10815"/>
                <a:gd name="connsiteY16" fmla="*/ 4051 h 10672"/>
                <a:gd name="connsiteX17" fmla="*/ 1002 w 10815"/>
                <a:gd name="connsiteY17" fmla="*/ 2972 h 10672"/>
                <a:gd name="connsiteX18" fmla="*/ 2014 w 10815"/>
                <a:gd name="connsiteY18" fmla="*/ 2388 h 10672"/>
                <a:gd name="connsiteX19" fmla="*/ 1599 w 10815"/>
                <a:gd name="connsiteY19" fmla="*/ 2202 h 10672"/>
                <a:gd name="connsiteX20" fmla="*/ 2086 w 10815"/>
                <a:gd name="connsiteY20" fmla="*/ 1741 h 10672"/>
                <a:gd name="connsiteX21" fmla="*/ 2446 w 10815"/>
                <a:gd name="connsiteY21" fmla="*/ 1542 h 10672"/>
                <a:gd name="connsiteX22" fmla="*/ 2734 w 10815"/>
                <a:gd name="connsiteY22" fmla="*/ 1542 h 10672"/>
                <a:gd name="connsiteX23" fmla="*/ 2878 w 10815"/>
                <a:gd name="connsiteY23" fmla="*/ 1741 h 10672"/>
                <a:gd name="connsiteX24" fmla="*/ 3201 w 10815"/>
                <a:gd name="connsiteY24" fmla="*/ 1467 h 10672"/>
                <a:gd name="connsiteX25" fmla="*/ 3618 w 10815"/>
                <a:gd name="connsiteY25" fmla="*/ 1038 h 10672"/>
                <a:gd name="connsiteX26" fmla="*/ 4427 w 10815"/>
                <a:gd name="connsiteY26" fmla="*/ 656 h 10672"/>
                <a:gd name="connsiteX27" fmla="*/ 5540 w 10815"/>
                <a:gd name="connsiteY27" fmla="*/ 547 h 10672"/>
                <a:gd name="connsiteX28" fmla="*/ 6475 w 10815"/>
                <a:gd name="connsiteY28" fmla="*/ 597 h 10672"/>
                <a:gd name="connsiteX29" fmla="*/ 6763 w 10815"/>
                <a:gd name="connsiteY29" fmla="*/ 746 h 10672"/>
                <a:gd name="connsiteX30" fmla="*/ 6978 w 10815"/>
                <a:gd name="connsiteY30" fmla="*/ 348 h 10672"/>
                <a:gd name="connsiteX31" fmla="*/ 7410 w 10815"/>
                <a:gd name="connsiteY31" fmla="*/ 0 h 10672"/>
                <a:gd name="connsiteX32" fmla="*/ 7554 w 10815"/>
                <a:gd name="connsiteY32" fmla="*/ 249 h 10672"/>
                <a:gd name="connsiteX33" fmla="*/ 7986 w 10815"/>
                <a:gd name="connsiteY33" fmla="*/ 299 h 10672"/>
                <a:gd name="connsiteX34" fmla="*/ 8129 w 10815"/>
                <a:gd name="connsiteY34" fmla="*/ 746 h 10672"/>
                <a:gd name="connsiteX35" fmla="*/ 7626 w 10815"/>
                <a:gd name="connsiteY35" fmla="*/ 896 h 10672"/>
                <a:gd name="connsiteX36" fmla="*/ 7338 w 10815"/>
                <a:gd name="connsiteY36" fmla="*/ 1194 h 10672"/>
                <a:gd name="connsiteX37" fmla="*/ 7482 w 10815"/>
                <a:gd name="connsiteY37" fmla="*/ 1393 h 10672"/>
                <a:gd name="connsiteX38" fmla="*/ 8273 w 10815"/>
                <a:gd name="connsiteY38" fmla="*/ 1194 h 10672"/>
                <a:gd name="connsiteX39" fmla="*/ 9209 w 10815"/>
                <a:gd name="connsiteY39" fmla="*/ 1791 h 10672"/>
                <a:gd name="connsiteX40" fmla="*/ 9209 w 10815"/>
                <a:gd name="connsiteY40" fmla="*/ 2139 h 10672"/>
                <a:gd name="connsiteX41" fmla="*/ 9353 w 10815"/>
                <a:gd name="connsiteY41" fmla="*/ 3980 h 10672"/>
                <a:gd name="connsiteX42" fmla="*/ 8921 w 10815"/>
                <a:gd name="connsiteY42" fmla="*/ 4229 h 10672"/>
                <a:gd name="connsiteX43" fmla="*/ 9740 w 10815"/>
                <a:gd name="connsiteY43" fmla="*/ 5891 h 10672"/>
                <a:gd name="connsiteX44" fmla="*/ 10815 w 10815"/>
                <a:gd name="connsiteY44" fmla="*/ 7477 h 10672"/>
                <a:gd name="connsiteX45" fmla="*/ 10000 w 10815"/>
                <a:gd name="connsiteY45" fmla="*/ 8557 h 10672"/>
                <a:gd name="connsiteX46" fmla="*/ 9409 w 10815"/>
                <a:gd name="connsiteY46" fmla="*/ 8603 h 10672"/>
                <a:gd name="connsiteX47" fmla="*/ 7770 w 10815"/>
                <a:gd name="connsiteY47" fmla="*/ 8955 h 10672"/>
                <a:gd name="connsiteX48" fmla="*/ 6006 w 10815"/>
                <a:gd name="connsiteY48" fmla="*/ 9850 h 10672"/>
                <a:gd name="connsiteX49" fmla="*/ 4748 w 10815"/>
                <a:gd name="connsiteY49" fmla="*/ 10000 h 10672"/>
                <a:gd name="connsiteX0" fmla="*/ 4748 w 10815"/>
                <a:gd name="connsiteY0" fmla="*/ 10000 h 10672"/>
                <a:gd name="connsiteX1" fmla="*/ 4627 w 10815"/>
                <a:gd name="connsiteY1" fmla="*/ 10196 h 10672"/>
                <a:gd name="connsiteX2" fmla="*/ 3289 w 10815"/>
                <a:gd name="connsiteY2" fmla="*/ 10672 h 10672"/>
                <a:gd name="connsiteX3" fmla="*/ 1144 w 10815"/>
                <a:gd name="connsiteY3" fmla="*/ 10426 h 10672"/>
                <a:gd name="connsiteX4" fmla="*/ 0 w 10815"/>
                <a:gd name="connsiteY4" fmla="*/ 8856 h 10672"/>
                <a:gd name="connsiteX5" fmla="*/ 432 w 10815"/>
                <a:gd name="connsiteY5" fmla="*/ 8209 h 10672"/>
                <a:gd name="connsiteX6" fmla="*/ 0 w 10815"/>
                <a:gd name="connsiteY6" fmla="*/ 7512 h 10672"/>
                <a:gd name="connsiteX7" fmla="*/ 1163 w 10815"/>
                <a:gd name="connsiteY7" fmla="*/ 6932 h 10672"/>
                <a:gd name="connsiteX8" fmla="*/ 1439 w 10815"/>
                <a:gd name="connsiteY8" fmla="*/ 6866 h 10672"/>
                <a:gd name="connsiteX9" fmla="*/ 1367 w 10815"/>
                <a:gd name="connsiteY9" fmla="*/ 6169 h 10672"/>
                <a:gd name="connsiteX10" fmla="*/ 1921 w 10815"/>
                <a:gd name="connsiteY10" fmla="*/ 5874 h 10672"/>
                <a:gd name="connsiteX11" fmla="*/ 1816 w 10815"/>
                <a:gd name="connsiteY11" fmla="*/ 4909 h 10672"/>
                <a:gd name="connsiteX12" fmla="*/ 1727 w 10815"/>
                <a:gd name="connsiteY12" fmla="*/ 4726 h 10672"/>
                <a:gd name="connsiteX13" fmla="*/ 1583 w 10815"/>
                <a:gd name="connsiteY13" fmla="*/ 4279 h 10672"/>
                <a:gd name="connsiteX14" fmla="*/ 2374 w 10815"/>
                <a:gd name="connsiteY14" fmla="*/ 4080 h 10672"/>
                <a:gd name="connsiteX15" fmla="*/ 2854 w 10815"/>
                <a:gd name="connsiteY15" fmla="*/ 3932 h 10672"/>
                <a:gd name="connsiteX16" fmla="*/ 3251 w 10815"/>
                <a:gd name="connsiteY16" fmla="*/ 4051 h 10672"/>
                <a:gd name="connsiteX17" fmla="*/ 1002 w 10815"/>
                <a:gd name="connsiteY17" fmla="*/ 2972 h 10672"/>
                <a:gd name="connsiteX18" fmla="*/ 2014 w 10815"/>
                <a:gd name="connsiteY18" fmla="*/ 2388 h 10672"/>
                <a:gd name="connsiteX19" fmla="*/ 1599 w 10815"/>
                <a:gd name="connsiteY19" fmla="*/ 2202 h 10672"/>
                <a:gd name="connsiteX20" fmla="*/ 2086 w 10815"/>
                <a:gd name="connsiteY20" fmla="*/ 1741 h 10672"/>
                <a:gd name="connsiteX21" fmla="*/ 2446 w 10815"/>
                <a:gd name="connsiteY21" fmla="*/ 1542 h 10672"/>
                <a:gd name="connsiteX22" fmla="*/ 2734 w 10815"/>
                <a:gd name="connsiteY22" fmla="*/ 1542 h 10672"/>
                <a:gd name="connsiteX23" fmla="*/ 2878 w 10815"/>
                <a:gd name="connsiteY23" fmla="*/ 1741 h 10672"/>
                <a:gd name="connsiteX24" fmla="*/ 3201 w 10815"/>
                <a:gd name="connsiteY24" fmla="*/ 1467 h 10672"/>
                <a:gd name="connsiteX25" fmla="*/ 3618 w 10815"/>
                <a:gd name="connsiteY25" fmla="*/ 1038 h 10672"/>
                <a:gd name="connsiteX26" fmla="*/ 4427 w 10815"/>
                <a:gd name="connsiteY26" fmla="*/ 656 h 10672"/>
                <a:gd name="connsiteX27" fmla="*/ 5540 w 10815"/>
                <a:gd name="connsiteY27" fmla="*/ 547 h 10672"/>
                <a:gd name="connsiteX28" fmla="*/ 6475 w 10815"/>
                <a:gd name="connsiteY28" fmla="*/ 597 h 10672"/>
                <a:gd name="connsiteX29" fmla="*/ 6763 w 10815"/>
                <a:gd name="connsiteY29" fmla="*/ 746 h 10672"/>
                <a:gd name="connsiteX30" fmla="*/ 6978 w 10815"/>
                <a:gd name="connsiteY30" fmla="*/ 348 h 10672"/>
                <a:gd name="connsiteX31" fmla="*/ 7410 w 10815"/>
                <a:gd name="connsiteY31" fmla="*/ 0 h 10672"/>
                <a:gd name="connsiteX32" fmla="*/ 7554 w 10815"/>
                <a:gd name="connsiteY32" fmla="*/ 249 h 10672"/>
                <a:gd name="connsiteX33" fmla="*/ 7986 w 10815"/>
                <a:gd name="connsiteY33" fmla="*/ 299 h 10672"/>
                <a:gd name="connsiteX34" fmla="*/ 8129 w 10815"/>
                <a:gd name="connsiteY34" fmla="*/ 746 h 10672"/>
                <a:gd name="connsiteX35" fmla="*/ 7626 w 10815"/>
                <a:gd name="connsiteY35" fmla="*/ 896 h 10672"/>
                <a:gd name="connsiteX36" fmla="*/ 7338 w 10815"/>
                <a:gd name="connsiteY36" fmla="*/ 1194 h 10672"/>
                <a:gd name="connsiteX37" fmla="*/ 7482 w 10815"/>
                <a:gd name="connsiteY37" fmla="*/ 1393 h 10672"/>
                <a:gd name="connsiteX38" fmla="*/ 8273 w 10815"/>
                <a:gd name="connsiteY38" fmla="*/ 1194 h 10672"/>
                <a:gd name="connsiteX39" fmla="*/ 9209 w 10815"/>
                <a:gd name="connsiteY39" fmla="*/ 1791 h 10672"/>
                <a:gd name="connsiteX40" fmla="*/ 9209 w 10815"/>
                <a:gd name="connsiteY40" fmla="*/ 2139 h 10672"/>
                <a:gd name="connsiteX41" fmla="*/ 9353 w 10815"/>
                <a:gd name="connsiteY41" fmla="*/ 3980 h 10672"/>
                <a:gd name="connsiteX42" fmla="*/ 9446 w 10815"/>
                <a:gd name="connsiteY42" fmla="*/ 4549 h 10672"/>
                <a:gd name="connsiteX43" fmla="*/ 9740 w 10815"/>
                <a:gd name="connsiteY43" fmla="*/ 5891 h 10672"/>
                <a:gd name="connsiteX44" fmla="*/ 10815 w 10815"/>
                <a:gd name="connsiteY44" fmla="*/ 7477 h 10672"/>
                <a:gd name="connsiteX45" fmla="*/ 10000 w 10815"/>
                <a:gd name="connsiteY45" fmla="*/ 8557 h 10672"/>
                <a:gd name="connsiteX46" fmla="*/ 9409 w 10815"/>
                <a:gd name="connsiteY46" fmla="*/ 8603 h 10672"/>
                <a:gd name="connsiteX47" fmla="*/ 7770 w 10815"/>
                <a:gd name="connsiteY47" fmla="*/ 8955 h 10672"/>
                <a:gd name="connsiteX48" fmla="*/ 6006 w 10815"/>
                <a:gd name="connsiteY48" fmla="*/ 9850 h 10672"/>
                <a:gd name="connsiteX49" fmla="*/ 4748 w 10815"/>
                <a:gd name="connsiteY49" fmla="*/ 10000 h 1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815" h="10672">
                  <a:moveTo>
                    <a:pt x="4748" y="10000"/>
                  </a:moveTo>
                  <a:lnTo>
                    <a:pt x="4627" y="10196"/>
                  </a:lnTo>
                  <a:lnTo>
                    <a:pt x="3289" y="10672"/>
                  </a:lnTo>
                  <a:lnTo>
                    <a:pt x="1144" y="10426"/>
                  </a:lnTo>
                  <a:lnTo>
                    <a:pt x="0" y="8856"/>
                  </a:lnTo>
                  <a:lnTo>
                    <a:pt x="432" y="8209"/>
                  </a:lnTo>
                  <a:lnTo>
                    <a:pt x="0" y="7512"/>
                  </a:lnTo>
                  <a:cubicBezTo>
                    <a:pt x="450" y="7340"/>
                    <a:pt x="713" y="7104"/>
                    <a:pt x="1163" y="6932"/>
                  </a:cubicBezTo>
                  <a:lnTo>
                    <a:pt x="1439" y="6866"/>
                  </a:lnTo>
                  <a:cubicBezTo>
                    <a:pt x="1415" y="6634"/>
                    <a:pt x="1391" y="6401"/>
                    <a:pt x="1367" y="6169"/>
                  </a:cubicBezTo>
                  <a:lnTo>
                    <a:pt x="1921" y="5874"/>
                  </a:lnTo>
                  <a:lnTo>
                    <a:pt x="1816" y="4909"/>
                  </a:lnTo>
                  <a:cubicBezTo>
                    <a:pt x="1786" y="4848"/>
                    <a:pt x="1757" y="4787"/>
                    <a:pt x="1727" y="4726"/>
                  </a:cubicBezTo>
                  <a:lnTo>
                    <a:pt x="1583" y="4279"/>
                  </a:lnTo>
                  <a:lnTo>
                    <a:pt x="2374" y="4080"/>
                  </a:lnTo>
                  <a:lnTo>
                    <a:pt x="2854" y="3932"/>
                  </a:lnTo>
                  <a:lnTo>
                    <a:pt x="3251" y="4051"/>
                  </a:lnTo>
                  <a:lnTo>
                    <a:pt x="1002" y="2972"/>
                  </a:lnTo>
                  <a:lnTo>
                    <a:pt x="2014" y="2388"/>
                  </a:lnTo>
                  <a:cubicBezTo>
                    <a:pt x="2132" y="2258"/>
                    <a:pt x="1587" y="2310"/>
                    <a:pt x="1599" y="2202"/>
                  </a:cubicBezTo>
                  <a:cubicBezTo>
                    <a:pt x="1611" y="2094"/>
                    <a:pt x="2013" y="1852"/>
                    <a:pt x="2086" y="1741"/>
                  </a:cubicBezTo>
                  <a:lnTo>
                    <a:pt x="2446" y="1542"/>
                  </a:lnTo>
                  <a:lnTo>
                    <a:pt x="2734" y="1542"/>
                  </a:lnTo>
                  <a:lnTo>
                    <a:pt x="2878" y="1741"/>
                  </a:lnTo>
                  <a:lnTo>
                    <a:pt x="3201" y="1467"/>
                  </a:lnTo>
                  <a:cubicBezTo>
                    <a:pt x="3232" y="1266"/>
                    <a:pt x="3587" y="1239"/>
                    <a:pt x="3618" y="1038"/>
                  </a:cubicBezTo>
                  <a:lnTo>
                    <a:pt x="4427" y="656"/>
                  </a:lnTo>
                  <a:lnTo>
                    <a:pt x="5540" y="547"/>
                  </a:lnTo>
                  <a:lnTo>
                    <a:pt x="6475" y="597"/>
                  </a:lnTo>
                  <a:lnTo>
                    <a:pt x="6763" y="746"/>
                  </a:lnTo>
                  <a:lnTo>
                    <a:pt x="6978" y="348"/>
                  </a:lnTo>
                  <a:lnTo>
                    <a:pt x="7410" y="0"/>
                  </a:lnTo>
                  <a:lnTo>
                    <a:pt x="7554" y="249"/>
                  </a:lnTo>
                  <a:lnTo>
                    <a:pt x="7986" y="299"/>
                  </a:lnTo>
                  <a:cubicBezTo>
                    <a:pt x="8034" y="448"/>
                    <a:pt x="8081" y="597"/>
                    <a:pt x="8129" y="746"/>
                  </a:cubicBezTo>
                  <a:lnTo>
                    <a:pt x="7626" y="896"/>
                  </a:lnTo>
                  <a:lnTo>
                    <a:pt x="7338" y="1194"/>
                  </a:lnTo>
                  <a:lnTo>
                    <a:pt x="7482" y="1393"/>
                  </a:lnTo>
                  <a:lnTo>
                    <a:pt x="8273" y="1194"/>
                  </a:lnTo>
                  <a:lnTo>
                    <a:pt x="9209" y="1791"/>
                  </a:lnTo>
                  <a:lnTo>
                    <a:pt x="9209" y="2139"/>
                  </a:lnTo>
                  <a:lnTo>
                    <a:pt x="9353" y="3980"/>
                  </a:lnTo>
                  <a:cubicBezTo>
                    <a:pt x="9384" y="4170"/>
                    <a:pt x="9415" y="4359"/>
                    <a:pt x="9446" y="4549"/>
                  </a:cubicBezTo>
                  <a:lnTo>
                    <a:pt x="9740" y="5891"/>
                  </a:lnTo>
                  <a:lnTo>
                    <a:pt x="10815" y="7477"/>
                  </a:lnTo>
                  <a:lnTo>
                    <a:pt x="10000" y="8557"/>
                  </a:lnTo>
                  <a:lnTo>
                    <a:pt x="9409" y="8603"/>
                  </a:lnTo>
                  <a:lnTo>
                    <a:pt x="7770" y="8955"/>
                  </a:lnTo>
                  <a:lnTo>
                    <a:pt x="6006" y="9850"/>
                  </a:lnTo>
                  <a:lnTo>
                    <a:pt x="4748" y="10000"/>
                  </a:lnTo>
                  <a:close/>
                </a:path>
              </a:pathLst>
            </a:custGeom>
            <a:solidFill>
              <a:schemeClr val="bg1">
                <a:lumMod val="95000"/>
              </a:schemeClr>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GB" dirty="0"/>
            </a:p>
          </p:txBody>
        </p:sp>
        <p:sp>
          <p:nvSpPr>
            <p:cNvPr id="48" name="EN"/>
            <p:cNvSpPr>
              <a:spLocks/>
            </p:cNvSpPr>
            <p:nvPr/>
          </p:nvSpPr>
          <p:spPr bwMode="auto">
            <a:xfrm rot="1238930">
              <a:off x="5492750" y="3975100"/>
              <a:ext cx="374650" cy="336550"/>
            </a:xfrm>
            <a:custGeom>
              <a:avLst/>
              <a:gdLst>
                <a:gd name="T0" fmla="*/ 2147483647 w 101"/>
                <a:gd name="T1" fmla="*/ 2147483647 h 92"/>
                <a:gd name="T2" fmla="*/ 2147483647 w 101"/>
                <a:gd name="T3" fmla="*/ 2147483647 h 92"/>
                <a:gd name="T4" fmla="*/ 2147483647 w 101"/>
                <a:gd name="T5" fmla="*/ 2147483647 h 92"/>
                <a:gd name="T6" fmla="*/ 2147483647 w 101"/>
                <a:gd name="T7" fmla="*/ 2147483647 h 92"/>
                <a:gd name="T8" fmla="*/ 2147483647 w 101"/>
                <a:gd name="T9" fmla="*/ 2147483647 h 92"/>
                <a:gd name="T10" fmla="*/ 2147483647 w 101"/>
                <a:gd name="T11" fmla="*/ 2147483647 h 92"/>
                <a:gd name="T12" fmla="*/ 2147483647 w 101"/>
                <a:gd name="T13" fmla="*/ 2147483647 h 92"/>
                <a:gd name="T14" fmla="*/ 2147483647 w 101"/>
                <a:gd name="T15" fmla="*/ 2147483647 h 92"/>
                <a:gd name="T16" fmla="*/ 2147483647 w 101"/>
                <a:gd name="T17" fmla="*/ 0 h 92"/>
                <a:gd name="T18" fmla="*/ 2147483647 w 101"/>
                <a:gd name="T19" fmla="*/ 2147483647 h 92"/>
                <a:gd name="T20" fmla="*/ 2147483647 w 101"/>
                <a:gd name="T21" fmla="*/ 2147483647 h 92"/>
                <a:gd name="T22" fmla="*/ 2147483647 w 101"/>
                <a:gd name="T23" fmla="*/ 2147483647 h 92"/>
                <a:gd name="T24" fmla="*/ 2147483647 w 101"/>
                <a:gd name="T25" fmla="*/ 2147483647 h 92"/>
                <a:gd name="T26" fmla="*/ 2147483647 w 101"/>
                <a:gd name="T27" fmla="*/ 2147483647 h 92"/>
                <a:gd name="T28" fmla="*/ 2147483647 w 101"/>
                <a:gd name="T29" fmla="*/ 2147483647 h 92"/>
                <a:gd name="T30" fmla="*/ 2147483647 w 101"/>
                <a:gd name="T31" fmla="*/ 2147483647 h 92"/>
                <a:gd name="T32" fmla="*/ 2147483647 w 101"/>
                <a:gd name="T33" fmla="*/ 2147483647 h 92"/>
                <a:gd name="T34" fmla="*/ 2147483647 w 101"/>
                <a:gd name="T35" fmla="*/ 2147483647 h 92"/>
                <a:gd name="T36" fmla="*/ 2147483647 w 101"/>
                <a:gd name="T37" fmla="*/ 2147483647 h 92"/>
                <a:gd name="T38" fmla="*/ 2147483647 w 101"/>
                <a:gd name="T39" fmla="*/ 2147483647 h 92"/>
                <a:gd name="T40" fmla="*/ 2147483647 w 101"/>
                <a:gd name="T41" fmla="*/ 2147483647 h 92"/>
                <a:gd name="T42" fmla="*/ 2147483647 w 101"/>
                <a:gd name="T43" fmla="*/ 2147483647 h 92"/>
                <a:gd name="T44" fmla="*/ 2147483647 w 101"/>
                <a:gd name="T45" fmla="*/ 2147483647 h 92"/>
                <a:gd name="T46" fmla="*/ 2147483647 w 101"/>
                <a:gd name="T47" fmla="*/ 2147483647 h 92"/>
                <a:gd name="T48" fmla="*/ 2147483647 w 101"/>
                <a:gd name="T49" fmla="*/ 2147483647 h 92"/>
                <a:gd name="T50" fmla="*/ 2147483647 w 101"/>
                <a:gd name="T51" fmla="*/ 2147483647 h 92"/>
                <a:gd name="T52" fmla="*/ 2147483647 w 101"/>
                <a:gd name="T53" fmla="*/ 2147483647 h 92"/>
                <a:gd name="T54" fmla="*/ 0 w 101"/>
                <a:gd name="T55" fmla="*/ 2147483647 h 92"/>
                <a:gd name="T56" fmla="*/ 2147483647 w 101"/>
                <a:gd name="T57" fmla="*/ 2147483647 h 92"/>
                <a:gd name="T58" fmla="*/ 2147483647 w 101"/>
                <a:gd name="T59" fmla="*/ 2147483647 h 92"/>
                <a:gd name="T60" fmla="*/ 2147483647 w 101"/>
                <a:gd name="T61" fmla="*/ 2147483647 h 9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1"/>
                <a:gd name="T94" fmla="*/ 0 h 92"/>
                <a:gd name="T95" fmla="*/ 101 w 101"/>
                <a:gd name="T96" fmla="*/ 92 h 92"/>
                <a:gd name="connsiteX0" fmla="*/ 2772 w 10000"/>
                <a:gd name="connsiteY0" fmla="*/ 3370 h 10000"/>
                <a:gd name="connsiteX1" fmla="*/ 3564 w 10000"/>
                <a:gd name="connsiteY1" fmla="*/ 2065 h 10000"/>
                <a:gd name="connsiteX2" fmla="*/ 3168 w 10000"/>
                <a:gd name="connsiteY2" fmla="*/ 978 h 10000"/>
                <a:gd name="connsiteX3" fmla="*/ 3960 w 10000"/>
                <a:gd name="connsiteY3" fmla="*/ 761 h 10000"/>
                <a:gd name="connsiteX4" fmla="*/ 4356 w 10000"/>
                <a:gd name="connsiteY4" fmla="*/ 1739 h 10000"/>
                <a:gd name="connsiteX5" fmla="*/ 4851 w 10000"/>
                <a:gd name="connsiteY5" fmla="*/ 870 h 10000"/>
                <a:gd name="connsiteX6" fmla="*/ 6040 w 10000"/>
                <a:gd name="connsiteY6" fmla="*/ 870 h 10000"/>
                <a:gd name="connsiteX7" fmla="*/ 5743 w 10000"/>
                <a:gd name="connsiteY7" fmla="*/ 217 h 10000"/>
                <a:gd name="connsiteX8" fmla="*/ 6634 w 10000"/>
                <a:gd name="connsiteY8" fmla="*/ 0 h 10000"/>
                <a:gd name="connsiteX9" fmla="*/ 7921 w 10000"/>
                <a:gd name="connsiteY9" fmla="*/ 1522 h 10000"/>
                <a:gd name="connsiteX10" fmla="*/ 8416 w 10000"/>
                <a:gd name="connsiteY10" fmla="*/ 3478 h 10000"/>
                <a:gd name="connsiteX11" fmla="*/ 9406 w 10000"/>
                <a:gd name="connsiteY11" fmla="*/ 3152 h 10000"/>
                <a:gd name="connsiteX12" fmla="*/ 10000 w 10000"/>
                <a:gd name="connsiteY12" fmla="*/ 3913 h 10000"/>
                <a:gd name="connsiteX13" fmla="*/ 9901 w 10000"/>
                <a:gd name="connsiteY13" fmla="*/ 4239 h 10000"/>
                <a:gd name="connsiteX14" fmla="*/ 8119 w 10000"/>
                <a:gd name="connsiteY14" fmla="*/ 6087 h 10000"/>
                <a:gd name="connsiteX15" fmla="*/ 7426 w 10000"/>
                <a:gd name="connsiteY15" fmla="*/ 6196 h 10000"/>
                <a:gd name="connsiteX16" fmla="*/ 7624 w 10000"/>
                <a:gd name="connsiteY16" fmla="*/ 6957 h 10000"/>
                <a:gd name="connsiteX17" fmla="*/ 8020 w 10000"/>
                <a:gd name="connsiteY17" fmla="*/ 7065 h 10000"/>
                <a:gd name="connsiteX18" fmla="*/ 7921 w 10000"/>
                <a:gd name="connsiteY18" fmla="*/ 9457 h 10000"/>
                <a:gd name="connsiteX19" fmla="*/ 7426 w 10000"/>
                <a:gd name="connsiteY19" fmla="*/ 9565 h 10000"/>
                <a:gd name="connsiteX20" fmla="*/ 7228 w 10000"/>
                <a:gd name="connsiteY20" fmla="*/ 9239 h 10000"/>
                <a:gd name="connsiteX21" fmla="*/ 6238 w 10000"/>
                <a:gd name="connsiteY21" fmla="*/ 10000 h 10000"/>
                <a:gd name="connsiteX22" fmla="*/ 5535 w 10000"/>
                <a:gd name="connsiteY22" fmla="*/ 9801 h 10000"/>
                <a:gd name="connsiteX23" fmla="*/ 3960 w 10000"/>
                <a:gd name="connsiteY23" fmla="*/ 8696 h 10000"/>
                <a:gd name="connsiteX24" fmla="*/ 3168 w 10000"/>
                <a:gd name="connsiteY24" fmla="*/ 9130 h 10000"/>
                <a:gd name="connsiteX25" fmla="*/ 1485 w 10000"/>
                <a:gd name="connsiteY25" fmla="*/ 9239 h 10000"/>
                <a:gd name="connsiteX26" fmla="*/ 792 w 10000"/>
                <a:gd name="connsiteY26" fmla="*/ 10000 h 10000"/>
                <a:gd name="connsiteX27" fmla="*/ 0 w 10000"/>
                <a:gd name="connsiteY27" fmla="*/ 10000 h 10000"/>
                <a:gd name="connsiteX28" fmla="*/ 594 w 10000"/>
                <a:gd name="connsiteY28" fmla="*/ 6630 h 10000"/>
                <a:gd name="connsiteX29" fmla="*/ 1980 w 10000"/>
                <a:gd name="connsiteY29" fmla="*/ 3913 h 10000"/>
                <a:gd name="connsiteX30" fmla="*/ 2772 w 10000"/>
                <a:gd name="connsiteY30" fmla="*/ 3370 h 10000"/>
                <a:gd name="connsiteX0" fmla="*/ 2772 w 10000"/>
                <a:gd name="connsiteY0" fmla="*/ 3370 h 10000"/>
                <a:gd name="connsiteX1" fmla="*/ 3564 w 10000"/>
                <a:gd name="connsiteY1" fmla="*/ 2065 h 10000"/>
                <a:gd name="connsiteX2" fmla="*/ 3168 w 10000"/>
                <a:gd name="connsiteY2" fmla="*/ 978 h 10000"/>
                <a:gd name="connsiteX3" fmla="*/ 3960 w 10000"/>
                <a:gd name="connsiteY3" fmla="*/ 761 h 10000"/>
                <a:gd name="connsiteX4" fmla="*/ 4356 w 10000"/>
                <a:gd name="connsiteY4" fmla="*/ 1739 h 10000"/>
                <a:gd name="connsiteX5" fmla="*/ 4851 w 10000"/>
                <a:gd name="connsiteY5" fmla="*/ 870 h 10000"/>
                <a:gd name="connsiteX6" fmla="*/ 6040 w 10000"/>
                <a:gd name="connsiteY6" fmla="*/ 870 h 10000"/>
                <a:gd name="connsiteX7" fmla="*/ 5743 w 10000"/>
                <a:gd name="connsiteY7" fmla="*/ 217 h 10000"/>
                <a:gd name="connsiteX8" fmla="*/ 6634 w 10000"/>
                <a:gd name="connsiteY8" fmla="*/ 0 h 10000"/>
                <a:gd name="connsiteX9" fmla="*/ 7921 w 10000"/>
                <a:gd name="connsiteY9" fmla="*/ 1522 h 10000"/>
                <a:gd name="connsiteX10" fmla="*/ 8416 w 10000"/>
                <a:gd name="connsiteY10" fmla="*/ 3478 h 10000"/>
                <a:gd name="connsiteX11" fmla="*/ 9406 w 10000"/>
                <a:gd name="connsiteY11" fmla="*/ 3152 h 10000"/>
                <a:gd name="connsiteX12" fmla="*/ 10000 w 10000"/>
                <a:gd name="connsiteY12" fmla="*/ 3913 h 10000"/>
                <a:gd name="connsiteX13" fmla="*/ 9901 w 10000"/>
                <a:gd name="connsiteY13" fmla="*/ 4239 h 10000"/>
                <a:gd name="connsiteX14" fmla="*/ 8119 w 10000"/>
                <a:gd name="connsiteY14" fmla="*/ 6087 h 10000"/>
                <a:gd name="connsiteX15" fmla="*/ 7426 w 10000"/>
                <a:gd name="connsiteY15" fmla="*/ 6196 h 10000"/>
                <a:gd name="connsiteX16" fmla="*/ 7624 w 10000"/>
                <a:gd name="connsiteY16" fmla="*/ 6957 h 10000"/>
                <a:gd name="connsiteX17" fmla="*/ 8020 w 10000"/>
                <a:gd name="connsiteY17" fmla="*/ 7065 h 10000"/>
                <a:gd name="connsiteX18" fmla="*/ 7921 w 10000"/>
                <a:gd name="connsiteY18" fmla="*/ 9457 h 10000"/>
                <a:gd name="connsiteX19" fmla="*/ 7426 w 10000"/>
                <a:gd name="connsiteY19" fmla="*/ 9565 h 10000"/>
                <a:gd name="connsiteX20" fmla="*/ 7228 w 10000"/>
                <a:gd name="connsiteY20" fmla="*/ 9239 h 10000"/>
                <a:gd name="connsiteX21" fmla="*/ 6238 w 10000"/>
                <a:gd name="connsiteY21" fmla="*/ 10000 h 10000"/>
                <a:gd name="connsiteX22" fmla="*/ 5535 w 10000"/>
                <a:gd name="connsiteY22" fmla="*/ 9801 h 10000"/>
                <a:gd name="connsiteX23" fmla="*/ 3960 w 10000"/>
                <a:gd name="connsiteY23" fmla="*/ 8696 h 10000"/>
                <a:gd name="connsiteX24" fmla="*/ 3480 w 10000"/>
                <a:gd name="connsiteY24" fmla="*/ 9544 h 10000"/>
                <a:gd name="connsiteX25" fmla="*/ 1485 w 10000"/>
                <a:gd name="connsiteY25" fmla="*/ 9239 h 10000"/>
                <a:gd name="connsiteX26" fmla="*/ 792 w 10000"/>
                <a:gd name="connsiteY26" fmla="*/ 10000 h 10000"/>
                <a:gd name="connsiteX27" fmla="*/ 0 w 10000"/>
                <a:gd name="connsiteY27" fmla="*/ 10000 h 10000"/>
                <a:gd name="connsiteX28" fmla="*/ 594 w 10000"/>
                <a:gd name="connsiteY28" fmla="*/ 6630 h 10000"/>
                <a:gd name="connsiteX29" fmla="*/ 1980 w 10000"/>
                <a:gd name="connsiteY29" fmla="*/ 3913 h 10000"/>
                <a:gd name="connsiteX30" fmla="*/ 2772 w 10000"/>
                <a:gd name="connsiteY30" fmla="*/ 3370 h 10000"/>
                <a:gd name="connsiteX0" fmla="*/ 2772 w 10000"/>
                <a:gd name="connsiteY0" fmla="*/ 3370 h 10560"/>
                <a:gd name="connsiteX1" fmla="*/ 3564 w 10000"/>
                <a:gd name="connsiteY1" fmla="*/ 2065 h 10560"/>
                <a:gd name="connsiteX2" fmla="*/ 3168 w 10000"/>
                <a:gd name="connsiteY2" fmla="*/ 978 h 10560"/>
                <a:gd name="connsiteX3" fmla="*/ 3960 w 10000"/>
                <a:gd name="connsiteY3" fmla="*/ 761 h 10560"/>
                <a:gd name="connsiteX4" fmla="*/ 4356 w 10000"/>
                <a:gd name="connsiteY4" fmla="*/ 1739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7921 w 10000"/>
                <a:gd name="connsiteY9" fmla="*/ 1522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485 w 10000"/>
                <a:gd name="connsiteY26" fmla="*/ 9239 h 10560"/>
                <a:gd name="connsiteX27" fmla="*/ 792 w 10000"/>
                <a:gd name="connsiteY27" fmla="*/ 10000 h 10560"/>
                <a:gd name="connsiteX28" fmla="*/ 0 w 10000"/>
                <a:gd name="connsiteY28" fmla="*/ 10000 h 10560"/>
                <a:gd name="connsiteX29" fmla="*/ 594 w 10000"/>
                <a:gd name="connsiteY29" fmla="*/ 6630 h 10560"/>
                <a:gd name="connsiteX30" fmla="*/ 1980 w 10000"/>
                <a:gd name="connsiteY30" fmla="*/ 3913 h 10560"/>
                <a:gd name="connsiteX31" fmla="*/ 2772 w 10000"/>
                <a:gd name="connsiteY31" fmla="*/ 3370 h 10560"/>
                <a:gd name="connsiteX0" fmla="*/ 2772 w 10000"/>
                <a:gd name="connsiteY0" fmla="*/ 3370 h 10560"/>
                <a:gd name="connsiteX1" fmla="*/ 3564 w 10000"/>
                <a:gd name="connsiteY1" fmla="*/ 2065 h 10560"/>
                <a:gd name="connsiteX2" fmla="*/ 3168 w 10000"/>
                <a:gd name="connsiteY2" fmla="*/ 978 h 10560"/>
                <a:gd name="connsiteX3" fmla="*/ 3960 w 10000"/>
                <a:gd name="connsiteY3" fmla="*/ 761 h 10560"/>
                <a:gd name="connsiteX4" fmla="*/ 4356 w 10000"/>
                <a:gd name="connsiteY4" fmla="*/ 1739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7921 w 10000"/>
                <a:gd name="connsiteY9" fmla="*/ 1522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594 w 10000"/>
                <a:gd name="connsiteY29" fmla="*/ 6630 h 10560"/>
                <a:gd name="connsiteX30" fmla="*/ 1980 w 10000"/>
                <a:gd name="connsiteY30" fmla="*/ 3913 h 10560"/>
                <a:gd name="connsiteX31" fmla="*/ 2772 w 10000"/>
                <a:gd name="connsiteY31" fmla="*/ 3370 h 10560"/>
                <a:gd name="connsiteX0" fmla="*/ 2772 w 10000"/>
                <a:gd name="connsiteY0" fmla="*/ 3370 h 10560"/>
                <a:gd name="connsiteX1" fmla="*/ 3564 w 10000"/>
                <a:gd name="connsiteY1" fmla="*/ 2065 h 10560"/>
                <a:gd name="connsiteX2" fmla="*/ 3168 w 10000"/>
                <a:gd name="connsiteY2" fmla="*/ 978 h 10560"/>
                <a:gd name="connsiteX3" fmla="*/ 3960 w 10000"/>
                <a:gd name="connsiteY3" fmla="*/ 761 h 10560"/>
                <a:gd name="connsiteX4" fmla="*/ 4356 w 10000"/>
                <a:gd name="connsiteY4" fmla="*/ 1739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7921 w 10000"/>
                <a:gd name="connsiteY9" fmla="*/ 1522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428 w 10000"/>
                <a:gd name="connsiteY29" fmla="*/ 5436 h 10560"/>
                <a:gd name="connsiteX30" fmla="*/ 1980 w 10000"/>
                <a:gd name="connsiteY30" fmla="*/ 3913 h 10560"/>
                <a:gd name="connsiteX31" fmla="*/ 2772 w 10000"/>
                <a:gd name="connsiteY31" fmla="*/ 3370 h 10560"/>
                <a:gd name="connsiteX0" fmla="*/ 2772 w 10000"/>
                <a:gd name="connsiteY0" fmla="*/ 3370 h 10560"/>
                <a:gd name="connsiteX1" fmla="*/ 3564 w 10000"/>
                <a:gd name="connsiteY1" fmla="*/ 2065 h 10560"/>
                <a:gd name="connsiteX2" fmla="*/ 3168 w 10000"/>
                <a:gd name="connsiteY2" fmla="*/ 978 h 10560"/>
                <a:gd name="connsiteX3" fmla="*/ 3960 w 10000"/>
                <a:gd name="connsiteY3" fmla="*/ 761 h 10560"/>
                <a:gd name="connsiteX4" fmla="*/ 4356 w 10000"/>
                <a:gd name="connsiteY4" fmla="*/ 1739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7921 w 10000"/>
                <a:gd name="connsiteY9" fmla="*/ 1522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428 w 10000"/>
                <a:gd name="connsiteY29" fmla="*/ 5436 h 10560"/>
                <a:gd name="connsiteX30" fmla="*/ 1083 w 10000"/>
                <a:gd name="connsiteY30" fmla="*/ 3737 h 10560"/>
                <a:gd name="connsiteX31" fmla="*/ 2772 w 10000"/>
                <a:gd name="connsiteY31" fmla="*/ 3370 h 10560"/>
                <a:gd name="connsiteX0" fmla="*/ 2772 w 10000"/>
                <a:gd name="connsiteY0" fmla="*/ 3370 h 10560"/>
                <a:gd name="connsiteX1" fmla="*/ 3564 w 10000"/>
                <a:gd name="connsiteY1" fmla="*/ 2065 h 10560"/>
                <a:gd name="connsiteX2" fmla="*/ 2729 w 10000"/>
                <a:gd name="connsiteY2" fmla="*/ 1156 h 10560"/>
                <a:gd name="connsiteX3" fmla="*/ 3960 w 10000"/>
                <a:gd name="connsiteY3" fmla="*/ 761 h 10560"/>
                <a:gd name="connsiteX4" fmla="*/ 4356 w 10000"/>
                <a:gd name="connsiteY4" fmla="*/ 1739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7921 w 10000"/>
                <a:gd name="connsiteY9" fmla="*/ 1522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428 w 10000"/>
                <a:gd name="connsiteY29" fmla="*/ 5436 h 10560"/>
                <a:gd name="connsiteX30" fmla="*/ 1083 w 10000"/>
                <a:gd name="connsiteY30" fmla="*/ 3737 h 10560"/>
                <a:gd name="connsiteX31" fmla="*/ 2772 w 10000"/>
                <a:gd name="connsiteY31" fmla="*/ 3370 h 10560"/>
                <a:gd name="connsiteX0" fmla="*/ 2772 w 10000"/>
                <a:gd name="connsiteY0" fmla="*/ 3370 h 10560"/>
                <a:gd name="connsiteX1" fmla="*/ 3564 w 10000"/>
                <a:gd name="connsiteY1" fmla="*/ 2065 h 10560"/>
                <a:gd name="connsiteX2" fmla="*/ 2729 w 10000"/>
                <a:gd name="connsiteY2" fmla="*/ 1156 h 10560"/>
                <a:gd name="connsiteX3" fmla="*/ 3960 w 10000"/>
                <a:gd name="connsiteY3" fmla="*/ 761 h 10560"/>
                <a:gd name="connsiteX4" fmla="*/ 4675 w 10000"/>
                <a:gd name="connsiteY4" fmla="*/ 978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7921 w 10000"/>
                <a:gd name="connsiteY9" fmla="*/ 1522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428 w 10000"/>
                <a:gd name="connsiteY29" fmla="*/ 5436 h 10560"/>
                <a:gd name="connsiteX30" fmla="*/ 1083 w 10000"/>
                <a:gd name="connsiteY30" fmla="*/ 3737 h 10560"/>
                <a:gd name="connsiteX31" fmla="*/ 2772 w 10000"/>
                <a:gd name="connsiteY31" fmla="*/ 3370 h 10560"/>
                <a:gd name="connsiteX0" fmla="*/ 2772 w 10000"/>
                <a:gd name="connsiteY0" fmla="*/ 3370 h 10560"/>
                <a:gd name="connsiteX1" fmla="*/ 3564 w 10000"/>
                <a:gd name="connsiteY1" fmla="*/ 2065 h 10560"/>
                <a:gd name="connsiteX2" fmla="*/ 2729 w 10000"/>
                <a:gd name="connsiteY2" fmla="*/ 1156 h 10560"/>
                <a:gd name="connsiteX3" fmla="*/ 3960 w 10000"/>
                <a:gd name="connsiteY3" fmla="*/ 761 h 10560"/>
                <a:gd name="connsiteX4" fmla="*/ 4675 w 10000"/>
                <a:gd name="connsiteY4" fmla="*/ 978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8698 w 10000"/>
                <a:gd name="connsiteY9" fmla="*/ 1116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428 w 10000"/>
                <a:gd name="connsiteY29" fmla="*/ 5436 h 10560"/>
                <a:gd name="connsiteX30" fmla="*/ 1083 w 10000"/>
                <a:gd name="connsiteY30" fmla="*/ 3737 h 10560"/>
                <a:gd name="connsiteX31" fmla="*/ 2772 w 10000"/>
                <a:gd name="connsiteY31" fmla="*/ 3370 h 10560"/>
                <a:gd name="connsiteX0" fmla="*/ 2772 w 10000"/>
                <a:gd name="connsiteY0" fmla="*/ 3370 h 10560"/>
                <a:gd name="connsiteX1" fmla="*/ 3564 w 10000"/>
                <a:gd name="connsiteY1" fmla="*/ 2065 h 10560"/>
                <a:gd name="connsiteX2" fmla="*/ 2729 w 10000"/>
                <a:gd name="connsiteY2" fmla="*/ 1156 h 10560"/>
                <a:gd name="connsiteX3" fmla="*/ 3960 w 10000"/>
                <a:gd name="connsiteY3" fmla="*/ 761 h 10560"/>
                <a:gd name="connsiteX4" fmla="*/ 4675 w 10000"/>
                <a:gd name="connsiteY4" fmla="*/ 978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8698 w 10000"/>
                <a:gd name="connsiteY9" fmla="*/ 1116 h 10560"/>
                <a:gd name="connsiteX10" fmla="*/ 9110 w 10000"/>
                <a:gd name="connsiteY10" fmla="*/ 2835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428 w 10000"/>
                <a:gd name="connsiteY29" fmla="*/ 5436 h 10560"/>
                <a:gd name="connsiteX30" fmla="*/ 1083 w 10000"/>
                <a:gd name="connsiteY30" fmla="*/ 3737 h 10560"/>
                <a:gd name="connsiteX31" fmla="*/ 2772 w 10000"/>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110 w 10821"/>
                <a:gd name="connsiteY10" fmla="*/ 2835 h 10560"/>
                <a:gd name="connsiteX11" fmla="*/ 9406 w 10821"/>
                <a:gd name="connsiteY11" fmla="*/ 3152 h 10560"/>
                <a:gd name="connsiteX12" fmla="*/ 10821 w 10821"/>
                <a:gd name="connsiteY12" fmla="*/ 2678 h 10560"/>
                <a:gd name="connsiteX13" fmla="*/ 9901 w 10821"/>
                <a:gd name="connsiteY13" fmla="*/ 4239 h 10560"/>
                <a:gd name="connsiteX14" fmla="*/ 8119 w 10821"/>
                <a:gd name="connsiteY14" fmla="*/ 6087 h 10560"/>
                <a:gd name="connsiteX15" fmla="*/ 7426 w 10821"/>
                <a:gd name="connsiteY15" fmla="*/ 6196 h 10560"/>
                <a:gd name="connsiteX16" fmla="*/ 7624 w 10821"/>
                <a:gd name="connsiteY16" fmla="*/ 6957 h 10560"/>
                <a:gd name="connsiteX17" fmla="*/ 8020 w 10821"/>
                <a:gd name="connsiteY17" fmla="*/ 7065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110 w 10821"/>
                <a:gd name="connsiteY10" fmla="*/ 2835 h 10560"/>
                <a:gd name="connsiteX11" fmla="*/ 10466 w 10821"/>
                <a:gd name="connsiteY11" fmla="*/ 2360 h 10560"/>
                <a:gd name="connsiteX12" fmla="*/ 10821 w 10821"/>
                <a:gd name="connsiteY12" fmla="*/ 2678 h 10560"/>
                <a:gd name="connsiteX13" fmla="*/ 9901 w 10821"/>
                <a:gd name="connsiteY13" fmla="*/ 4239 h 10560"/>
                <a:gd name="connsiteX14" fmla="*/ 8119 w 10821"/>
                <a:gd name="connsiteY14" fmla="*/ 6087 h 10560"/>
                <a:gd name="connsiteX15" fmla="*/ 7426 w 10821"/>
                <a:gd name="connsiteY15" fmla="*/ 6196 h 10560"/>
                <a:gd name="connsiteX16" fmla="*/ 7624 w 10821"/>
                <a:gd name="connsiteY16" fmla="*/ 6957 h 10560"/>
                <a:gd name="connsiteX17" fmla="*/ 8020 w 10821"/>
                <a:gd name="connsiteY17" fmla="*/ 7065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658 w 10821"/>
                <a:gd name="connsiteY10" fmla="*/ 2252 h 10560"/>
                <a:gd name="connsiteX11" fmla="*/ 10466 w 10821"/>
                <a:gd name="connsiteY11" fmla="*/ 2360 h 10560"/>
                <a:gd name="connsiteX12" fmla="*/ 10821 w 10821"/>
                <a:gd name="connsiteY12" fmla="*/ 2678 h 10560"/>
                <a:gd name="connsiteX13" fmla="*/ 9901 w 10821"/>
                <a:gd name="connsiteY13" fmla="*/ 4239 h 10560"/>
                <a:gd name="connsiteX14" fmla="*/ 8119 w 10821"/>
                <a:gd name="connsiteY14" fmla="*/ 6087 h 10560"/>
                <a:gd name="connsiteX15" fmla="*/ 7426 w 10821"/>
                <a:gd name="connsiteY15" fmla="*/ 6196 h 10560"/>
                <a:gd name="connsiteX16" fmla="*/ 7624 w 10821"/>
                <a:gd name="connsiteY16" fmla="*/ 6957 h 10560"/>
                <a:gd name="connsiteX17" fmla="*/ 8020 w 10821"/>
                <a:gd name="connsiteY17" fmla="*/ 7065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658 w 10821"/>
                <a:gd name="connsiteY10" fmla="*/ 2252 h 10560"/>
                <a:gd name="connsiteX11" fmla="*/ 10466 w 10821"/>
                <a:gd name="connsiteY11" fmla="*/ 2360 h 10560"/>
                <a:gd name="connsiteX12" fmla="*/ 10821 w 10821"/>
                <a:gd name="connsiteY12" fmla="*/ 2678 h 10560"/>
                <a:gd name="connsiteX13" fmla="*/ 9901 w 10821"/>
                <a:gd name="connsiteY13" fmla="*/ 4239 h 10560"/>
                <a:gd name="connsiteX14" fmla="*/ 8119 w 10821"/>
                <a:gd name="connsiteY14" fmla="*/ 6087 h 10560"/>
                <a:gd name="connsiteX15" fmla="*/ 7426 w 10821"/>
                <a:gd name="connsiteY15" fmla="*/ 6196 h 10560"/>
                <a:gd name="connsiteX16" fmla="*/ 7624 w 10821"/>
                <a:gd name="connsiteY16" fmla="*/ 6957 h 10560"/>
                <a:gd name="connsiteX17" fmla="*/ 8882 w 10821"/>
                <a:gd name="connsiteY17" fmla="*/ 8337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658 w 10821"/>
                <a:gd name="connsiteY10" fmla="*/ 2252 h 10560"/>
                <a:gd name="connsiteX11" fmla="*/ 10466 w 10821"/>
                <a:gd name="connsiteY11" fmla="*/ 2360 h 10560"/>
                <a:gd name="connsiteX12" fmla="*/ 10821 w 10821"/>
                <a:gd name="connsiteY12" fmla="*/ 2678 h 10560"/>
                <a:gd name="connsiteX13" fmla="*/ 9901 w 10821"/>
                <a:gd name="connsiteY13" fmla="*/ 4239 h 10560"/>
                <a:gd name="connsiteX14" fmla="*/ 8119 w 10821"/>
                <a:gd name="connsiteY14" fmla="*/ 6087 h 10560"/>
                <a:gd name="connsiteX15" fmla="*/ 7426 w 10821"/>
                <a:gd name="connsiteY15" fmla="*/ 6196 h 10560"/>
                <a:gd name="connsiteX16" fmla="*/ 9573 w 10821"/>
                <a:gd name="connsiteY16" fmla="*/ 7516 h 10560"/>
                <a:gd name="connsiteX17" fmla="*/ 8882 w 10821"/>
                <a:gd name="connsiteY17" fmla="*/ 8337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658 w 10821"/>
                <a:gd name="connsiteY10" fmla="*/ 2252 h 10560"/>
                <a:gd name="connsiteX11" fmla="*/ 10466 w 10821"/>
                <a:gd name="connsiteY11" fmla="*/ 2360 h 10560"/>
                <a:gd name="connsiteX12" fmla="*/ 10821 w 10821"/>
                <a:gd name="connsiteY12" fmla="*/ 2678 h 10560"/>
                <a:gd name="connsiteX13" fmla="*/ 9901 w 10821"/>
                <a:gd name="connsiteY13" fmla="*/ 4239 h 10560"/>
                <a:gd name="connsiteX14" fmla="*/ 9235 w 10821"/>
                <a:gd name="connsiteY14" fmla="*/ 6174 h 10560"/>
                <a:gd name="connsiteX15" fmla="*/ 7426 w 10821"/>
                <a:gd name="connsiteY15" fmla="*/ 6196 h 10560"/>
                <a:gd name="connsiteX16" fmla="*/ 9573 w 10821"/>
                <a:gd name="connsiteY16" fmla="*/ 7516 h 10560"/>
                <a:gd name="connsiteX17" fmla="*/ 8882 w 10821"/>
                <a:gd name="connsiteY17" fmla="*/ 8337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658 w 10821"/>
                <a:gd name="connsiteY10" fmla="*/ 2252 h 10560"/>
                <a:gd name="connsiteX11" fmla="*/ 10466 w 10821"/>
                <a:gd name="connsiteY11" fmla="*/ 2360 h 10560"/>
                <a:gd name="connsiteX12" fmla="*/ 10821 w 10821"/>
                <a:gd name="connsiteY12" fmla="*/ 2678 h 10560"/>
                <a:gd name="connsiteX13" fmla="*/ 9901 w 10821"/>
                <a:gd name="connsiteY13" fmla="*/ 4239 h 10560"/>
                <a:gd name="connsiteX14" fmla="*/ 9235 w 10821"/>
                <a:gd name="connsiteY14" fmla="*/ 6174 h 10560"/>
                <a:gd name="connsiteX15" fmla="*/ 9412 w 10821"/>
                <a:gd name="connsiteY15" fmla="*/ 7101 h 10560"/>
                <a:gd name="connsiteX16" fmla="*/ 9573 w 10821"/>
                <a:gd name="connsiteY16" fmla="*/ 7516 h 10560"/>
                <a:gd name="connsiteX17" fmla="*/ 8882 w 10821"/>
                <a:gd name="connsiteY17" fmla="*/ 8337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821" h="10560">
                  <a:moveTo>
                    <a:pt x="2772" y="3370"/>
                  </a:moveTo>
                  <a:lnTo>
                    <a:pt x="3564" y="2065"/>
                  </a:lnTo>
                  <a:lnTo>
                    <a:pt x="2729" y="1156"/>
                  </a:lnTo>
                  <a:lnTo>
                    <a:pt x="3960" y="761"/>
                  </a:lnTo>
                  <a:lnTo>
                    <a:pt x="4675" y="978"/>
                  </a:lnTo>
                  <a:lnTo>
                    <a:pt x="4851" y="870"/>
                  </a:lnTo>
                  <a:lnTo>
                    <a:pt x="6040" y="870"/>
                  </a:lnTo>
                  <a:lnTo>
                    <a:pt x="5743" y="217"/>
                  </a:lnTo>
                  <a:lnTo>
                    <a:pt x="6634" y="0"/>
                  </a:lnTo>
                  <a:lnTo>
                    <a:pt x="8698" y="1116"/>
                  </a:lnTo>
                  <a:cubicBezTo>
                    <a:pt x="8835" y="1689"/>
                    <a:pt x="9521" y="1679"/>
                    <a:pt x="9658" y="2252"/>
                  </a:cubicBezTo>
                  <a:lnTo>
                    <a:pt x="10466" y="2360"/>
                  </a:lnTo>
                  <a:lnTo>
                    <a:pt x="10821" y="2678"/>
                  </a:lnTo>
                  <a:cubicBezTo>
                    <a:pt x="10788" y="2787"/>
                    <a:pt x="9934" y="4130"/>
                    <a:pt x="9901" y="4239"/>
                  </a:cubicBezTo>
                  <a:lnTo>
                    <a:pt x="9235" y="6174"/>
                  </a:lnTo>
                  <a:lnTo>
                    <a:pt x="9412" y="7101"/>
                  </a:lnTo>
                  <a:cubicBezTo>
                    <a:pt x="9466" y="7239"/>
                    <a:pt x="9519" y="7378"/>
                    <a:pt x="9573" y="7516"/>
                  </a:cubicBezTo>
                  <a:lnTo>
                    <a:pt x="8882" y="8337"/>
                  </a:lnTo>
                  <a:cubicBezTo>
                    <a:pt x="8849" y="9134"/>
                    <a:pt x="7954" y="8660"/>
                    <a:pt x="7921" y="9457"/>
                  </a:cubicBezTo>
                  <a:lnTo>
                    <a:pt x="7426" y="9565"/>
                  </a:lnTo>
                  <a:lnTo>
                    <a:pt x="7228" y="9239"/>
                  </a:lnTo>
                  <a:lnTo>
                    <a:pt x="6238" y="10000"/>
                  </a:lnTo>
                  <a:lnTo>
                    <a:pt x="5535" y="9801"/>
                  </a:lnTo>
                  <a:lnTo>
                    <a:pt x="3960" y="8696"/>
                  </a:lnTo>
                  <a:lnTo>
                    <a:pt x="3480" y="9544"/>
                  </a:lnTo>
                  <a:cubicBezTo>
                    <a:pt x="2936" y="9460"/>
                    <a:pt x="2833" y="10640"/>
                    <a:pt x="2289" y="10556"/>
                  </a:cubicBezTo>
                  <a:lnTo>
                    <a:pt x="1221" y="10158"/>
                  </a:lnTo>
                  <a:lnTo>
                    <a:pt x="792" y="10000"/>
                  </a:lnTo>
                  <a:lnTo>
                    <a:pt x="0" y="10000"/>
                  </a:lnTo>
                  <a:cubicBezTo>
                    <a:pt x="143" y="8479"/>
                    <a:pt x="285" y="6957"/>
                    <a:pt x="428" y="5436"/>
                  </a:cubicBezTo>
                  <a:lnTo>
                    <a:pt x="1083" y="3737"/>
                  </a:lnTo>
                  <a:lnTo>
                    <a:pt x="2772" y="3370"/>
                  </a:lnTo>
                  <a:close/>
                </a:path>
              </a:pathLst>
            </a:custGeom>
            <a:solidFill>
              <a:schemeClr val="bg1">
                <a:lumMod val="95000"/>
              </a:schemeClr>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GB" dirty="0"/>
            </a:p>
          </p:txBody>
        </p:sp>
        <p:grpSp>
          <p:nvGrpSpPr>
            <p:cNvPr id="49" name="Am"/>
            <p:cNvGrpSpPr>
              <a:grpSpLocks/>
            </p:cNvGrpSpPr>
            <p:nvPr/>
          </p:nvGrpSpPr>
          <p:grpSpPr bwMode="auto">
            <a:xfrm rot="712744">
              <a:off x="5339298" y="3478563"/>
              <a:ext cx="690458" cy="800203"/>
              <a:chOff x="2287936" y="3796326"/>
              <a:chExt cx="143" cy="227"/>
            </a:xfrm>
            <a:solidFill>
              <a:schemeClr val="bg1">
                <a:lumMod val="95000"/>
              </a:schemeClr>
            </a:solidFill>
            <a:effectLst/>
          </p:grpSpPr>
          <p:sp>
            <p:nvSpPr>
              <p:cNvPr id="54" name="2aD"/>
              <p:cNvSpPr>
                <a:spLocks/>
              </p:cNvSpPr>
              <p:nvPr/>
            </p:nvSpPr>
            <p:spPr bwMode="auto">
              <a:xfrm>
                <a:off x="2287936" y="3796326"/>
                <a:ext cx="88" cy="168"/>
              </a:xfrm>
              <a:custGeom>
                <a:avLst/>
                <a:gdLst>
                  <a:gd name="T0" fmla="*/ 55 w 77"/>
                  <a:gd name="T1" fmla="*/ 160 h 160"/>
                  <a:gd name="T2" fmla="*/ 30 w 77"/>
                  <a:gd name="T3" fmla="*/ 153 h 160"/>
                  <a:gd name="T4" fmla="*/ 9 w 77"/>
                  <a:gd name="T5" fmla="*/ 142 h 160"/>
                  <a:gd name="T6" fmla="*/ 10 w 77"/>
                  <a:gd name="T7" fmla="*/ 130 h 160"/>
                  <a:gd name="T8" fmla="*/ 11 w 77"/>
                  <a:gd name="T9" fmla="*/ 122 h 160"/>
                  <a:gd name="T10" fmla="*/ 6 w 77"/>
                  <a:gd name="T11" fmla="*/ 114 h 160"/>
                  <a:gd name="T12" fmla="*/ 4 w 77"/>
                  <a:gd name="T13" fmla="*/ 108 h 160"/>
                  <a:gd name="T14" fmla="*/ 12 w 77"/>
                  <a:gd name="T15" fmla="*/ 98 h 160"/>
                  <a:gd name="T16" fmla="*/ 3 w 77"/>
                  <a:gd name="T17" fmla="*/ 89 h 160"/>
                  <a:gd name="T18" fmla="*/ 0 w 77"/>
                  <a:gd name="T19" fmla="*/ 66 h 160"/>
                  <a:gd name="T20" fmla="*/ 7 w 77"/>
                  <a:gd name="T21" fmla="*/ 62 h 160"/>
                  <a:gd name="T22" fmla="*/ 7 w 77"/>
                  <a:gd name="T23" fmla="*/ 43 h 160"/>
                  <a:gd name="T24" fmla="*/ 2 w 77"/>
                  <a:gd name="T25" fmla="*/ 38 h 160"/>
                  <a:gd name="T26" fmla="*/ 8 w 77"/>
                  <a:gd name="T27" fmla="*/ 33 h 160"/>
                  <a:gd name="T28" fmla="*/ 28 w 77"/>
                  <a:gd name="T29" fmla="*/ 33 h 160"/>
                  <a:gd name="T30" fmla="*/ 34 w 77"/>
                  <a:gd name="T31" fmla="*/ 26 h 160"/>
                  <a:gd name="T32" fmla="*/ 33 w 77"/>
                  <a:gd name="T33" fmla="*/ 1 h 160"/>
                  <a:gd name="T34" fmla="*/ 40 w 77"/>
                  <a:gd name="T35" fmla="*/ 0 h 160"/>
                  <a:gd name="T36" fmla="*/ 49 w 77"/>
                  <a:gd name="T37" fmla="*/ 10 h 160"/>
                  <a:gd name="T38" fmla="*/ 61 w 77"/>
                  <a:gd name="T39" fmla="*/ 0 h 160"/>
                  <a:gd name="T40" fmla="*/ 67 w 77"/>
                  <a:gd name="T41" fmla="*/ 18 h 160"/>
                  <a:gd name="T42" fmla="*/ 62 w 77"/>
                  <a:gd name="T43" fmla="*/ 35 h 160"/>
                  <a:gd name="T44" fmla="*/ 62 w 77"/>
                  <a:gd name="T45" fmla="*/ 48 h 160"/>
                  <a:gd name="T46" fmla="*/ 75 w 77"/>
                  <a:gd name="T47" fmla="*/ 48 h 160"/>
                  <a:gd name="T48" fmla="*/ 62 w 77"/>
                  <a:gd name="T49" fmla="*/ 59 h 160"/>
                  <a:gd name="T50" fmla="*/ 68 w 77"/>
                  <a:gd name="T51" fmla="*/ 67 h 160"/>
                  <a:gd name="T52" fmla="*/ 57 w 77"/>
                  <a:gd name="T53" fmla="*/ 80 h 160"/>
                  <a:gd name="T54" fmla="*/ 51 w 77"/>
                  <a:gd name="T55" fmla="*/ 85 h 160"/>
                  <a:gd name="T56" fmla="*/ 55 w 77"/>
                  <a:gd name="T57" fmla="*/ 102 h 160"/>
                  <a:gd name="T58" fmla="*/ 62 w 77"/>
                  <a:gd name="T59" fmla="*/ 104 h 160"/>
                  <a:gd name="T60" fmla="*/ 60 w 77"/>
                  <a:gd name="T61" fmla="*/ 114 h 160"/>
                  <a:gd name="T62" fmla="*/ 76 w 77"/>
                  <a:gd name="T63" fmla="*/ 115 h 160"/>
                  <a:gd name="T64" fmla="*/ 77 w 77"/>
                  <a:gd name="T65" fmla="*/ 137 h 160"/>
                  <a:gd name="T66" fmla="*/ 71 w 77"/>
                  <a:gd name="T67" fmla="*/ 145 h 160"/>
                  <a:gd name="T68" fmla="*/ 68 w 77"/>
                  <a:gd name="T69" fmla="*/ 136 h 160"/>
                  <a:gd name="T70" fmla="*/ 59 w 77"/>
                  <a:gd name="T71" fmla="*/ 139 h 160"/>
                  <a:gd name="T72" fmla="*/ 63 w 77"/>
                  <a:gd name="T73" fmla="*/ 148 h 160"/>
                  <a:gd name="T74" fmla="*/ 55 w 77"/>
                  <a:gd name="T75" fmla="*/ 160 h 1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7"/>
                  <a:gd name="T115" fmla="*/ 0 h 160"/>
                  <a:gd name="T116" fmla="*/ 77 w 77"/>
                  <a:gd name="T117" fmla="*/ 160 h 160"/>
                  <a:gd name="connsiteX0" fmla="*/ 7143 w 10000"/>
                  <a:gd name="connsiteY0" fmla="*/ 10000 h 10000"/>
                  <a:gd name="connsiteX1" fmla="*/ 3896 w 10000"/>
                  <a:gd name="connsiteY1" fmla="*/ 9563 h 10000"/>
                  <a:gd name="connsiteX2" fmla="*/ 1169 w 10000"/>
                  <a:gd name="connsiteY2" fmla="*/ 8875 h 10000"/>
                  <a:gd name="connsiteX3" fmla="*/ 1299 w 10000"/>
                  <a:gd name="connsiteY3" fmla="*/ 8125 h 10000"/>
                  <a:gd name="connsiteX4" fmla="*/ 1429 w 10000"/>
                  <a:gd name="connsiteY4" fmla="*/ 7625 h 10000"/>
                  <a:gd name="connsiteX5" fmla="*/ 779 w 10000"/>
                  <a:gd name="connsiteY5" fmla="*/ 7125 h 10000"/>
                  <a:gd name="connsiteX6" fmla="*/ 519 w 10000"/>
                  <a:gd name="connsiteY6" fmla="*/ 6750 h 10000"/>
                  <a:gd name="connsiteX7" fmla="*/ 1558 w 10000"/>
                  <a:gd name="connsiteY7" fmla="*/ 6125 h 10000"/>
                  <a:gd name="connsiteX8" fmla="*/ 390 w 10000"/>
                  <a:gd name="connsiteY8" fmla="*/ 5563 h 10000"/>
                  <a:gd name="connsiteX9" fmla="*/ 0 w 10000"/>
                  <a:gd name="connsiteY9" fmla="*/ 4125 h 10000"/>
                  <a:gd name="connsiteX10" fmla="*/ 909 w 10000"/>
                  <a:gd name="connsiteY10" fmla="*/ 3875 h 10000"/>
                  <a:gd name="connsiteX11" fmla="*/ 909 w 10000"/>
                  <a:gd name="connsiteY11" fmla="*/ 2688 h 10000"/>
                  <a:gd name="connsiteX12" fmla="*/ 260 w 10000"/>
                  <a:gd name="connsiteY12" fmla="*/ 2375 h 10000"/>
                  <a:gd name="connsiteX13" fmla="*/ 1039 w 10000"/>
                  <a:gd name="connsiteY13" fmla="*/ 2063 h 10000"/>
                  <a:gd name="connsiteX14" fmla="*/ 3636 w 10000"/>
                  <a:gd name="connsiteY14" fmla="*/ 2063 h 10000"/>
                  <a:gd name="connsiteX15" fmla="*/ 4416 w 10000"/>
                  <a:gd name="connsiteY15" fmla="*/ 1625 h 10000"/>
                  <a:gd name="connsiteX16" fmla="*/ 4286 w 10000"/>
                  <a:gd name="connsiteY16" fmla="*/ 63 h 10000"/>
                  <a:gd name="connsiteX17" fmla="*/ 5195 w 10000"/>
                  <a:gd name="connsiteY17" fmla="*/ 0 h 10000"/>
                  <a:gd name="connsiteX18" fmla="*/ 6364 w 10000"/>
                  <a:gd name="connsiteY18" fmla="*/ 625 h 10000"/>
                  <a:gd name="connsiteX19" fmla="*/ 7922 w 10000"/>
                  <a:gd name="connsiteY19" fmla="*/ 0 h 10000"/>
                  <a:gd name="connsiteX20" fmla="*/ 8701 w 10000"/>
                  <a:gd name="connsiteY20" fmla="*/ 1125 h 10000"/>
                  <a:gd name="connsiteX21" fmla="*/ 8052 w 10000"/>
                  <a:gd name="connsiteY21" fmla="*/ 2188 h 10000"/>
                  <a:gd name="connsiteX22" fmla="*/ 8052 w 10000"/>
                  <a:gd name="connsiteY22" fmla="*/ 3000 h 10000"/>
                  <a:gd name="connsiteX23" fmla="*/ 9740 w 10000"/>
                  <a:gd name="connsiteY23" fmla="*/ 3000 h 10000"/>
                  <a:gd name="connsiteX24" fmla="*/ 8052 w 10000"/>
                  <a:gd name="connsiteY24" fmla="*/ 3688 h 10000"/>
                  <a:gd name="connsiteX25" fmla="*/ 8831 w 10000"/>
                  <a:gd name="connsiteY25" fmla="*/ 4188 h 10000"/>
                  <a:gd name="connsiteX26" fmla="*/ 7403 w 10000"/>
                  <a:gd name="connsiteY26" fmla="*/ 5000 h 10000"/>
                  <a:gd name="connsiteX27" fmla="*/ 7740 w 10000"/>
                  <a:gd name="connsiteY27" fmla="*/ 6033 h 10000"/>
                  <a:gd name="connsiteX28" fmla="*/ 7143 w 10000"/>
                  <a:gd name="connsiteY28" fmla="*/ 6375 h 10000"/>
                  <a:gd name="connsiteX29" fmla="*/ 8052 w 10000"/>
                  <a:gd name="connsiteY29" fmla="*/ 6500 h 10000"/>
                  <a:gd name="connsiteX30" fmla="*/ 7792 w 10000"/>
                  <a:gd name="connsiteY30" fmla="*/ 7125 h 10000"/>
                  <a:gd name="connsiteX31" fmla="*/ 9870 w 10000"/>
                  <a:gd name="connsiteY31" fmla="*/ 7188 h 10000"/>
                  <a:gd name="connsiteX32" fmla="*/ 10000 w 10000"/>
                  <a:gd name="connsiteY32" fmla="*/ 8563 h 10000"/>
                  <a:gd name="connsiteX33" fmla="*/ 9221 w 10000"/>
                  <a:gd name="connsiteY33" fmla="*/ 9063 h 10000"/>
                  <a:gd name="connsiteX34" fmla="*/ 8831 w 10000"/>
                  <a:gd name="connsiteY34" fmla="*/ 8500 h 10000"/>
                  <a:gd name="connsiteX35" fmla="*/ 7662 w 10000"/>
                  <a:gd name="connsiteY35" fmla="*/ 8688 h 10000"/>
                  <a:gd name="connsiteX36" fmla="*/ 8182 w 10000"/>
                  <a:gd name="connsiteY36" fmla="*/ 9250 h 10000"/>
                  <a:gd name="connsiteX37" fmla="*/ 7143 w 10000"/>
                  <a:gd name="connsiteY37" fmla="*/ 10000 h 10000"/>
                  <a:gd name="connsiteX0" fmla="*/ 7143 w 10000"/>
                  <a:gd name="connsiteY0" fmla="*/ 10000 h 10000"/>
                  <a:gd name="connsiteX1" fmla="*/ 3896 w 10000"/>
                  <a:gd name="connsiteY1" fmla="*/ 9563 h 10000"/>
                  <a:gd name="connsiteX2" fmla="*/ 1169 w 10000"/>
                  <a:gd name="connsiteY2" fmla="*/ 8875 h 10000"/>
                  <a:gd name="connsiteX3" fmla="*/ 1299 w 10000"/>
                  <a:gd name="connsiteY3" fmla="*/ 8125 h 10000"/>
                  <a:gd name="connsiteX4" fmla="*/ 1429 w 10000"/>
                  <a:gd name="connsiteY4" fmla="*/ 7625 h 10000"/>
                  <a:gd name="connsiteX5" fmla="*/ 779 w 10000"/>
                  <a:gd name="connsiteY5" fmla="*/ 7125 h 10000"/>
                  <a:gd name="connsiteX6" fmla="*/ 519 w 10000"/>
                  <a:gd name="connsiteY6" fmla="*/ 6750 h 10000"/>
                  <a:gd name="connsiteX7" fmla="*/ 1558 w 10000"/>
                  <a:gd name="connsiteY7" fmla="*/ 6125 h 10000"/>
                  <a:gd name="connsiteX8" fmla="*/ 390 w 10000"/>
                  <a:gd name="connsiteY8" fmla="*/ 5563 h 10000"/>
                  <a:gd name="connsiteX9" fmla="*/ 0 w 10000"/>
                  <a:gd name="connsiteY9" fmla="*/ 4125 h 10000"/>
                  <a:gd name="connsiteX10" fmla="*/ 909 w 10000"/>
                  <a:gd name="connsiteY10" fmla="*/ 3875 h 10000"/>
                  <a:gd name="connsiteX11" fmla="*/ 909 w 10000"/>
                  <a:gd name="connsiteY11" fmla="*/ 2688 h 10000"/>
                  <a:gd name="connsiteX12" fmla="*/ 260 w 10000"/>
                  <a:gd name="connsiteY12" fmla="*/ 2375 h 10000"/>
                  <a:gd name="connsiteX13" fmla="*/ 1039 w 10000"/>
                  <a:gd name="connsiteY13" fmla="*/ 2063 h 10000"/>
                  <a:gd name="connsiteX14" fmla="*/ 3636 w 10000"/>
                  <a:gd name="connsiteY14" fmla="*/ 2063 h 10000"/>
                  <a:gd name="connsiteX15" fmla="*/ 4416 w 10000"/>
                  <a:gd name="connsiteY15" fmla="*/ 1625 h 10000"/>
                  <a:gd name="connsiteX16" fmla="*/ 4286 w 10000"/>
                  <a:gd name="connsiteY16" fmla="*/ 63 h 10000"/>
                  <a:gd name="connsiteX17" fmla="*/ 5195 w 10000"/>
                  <a:gd name="connsiteY17" fmla="*/ 0 h 10000"/>
                  <a:gd name="connsiteX18" fmla="*/ 6364 w 10000"/>
                  <a:gd name="connsiteY18" fmla="*/ 625 h 10000"/>
                  <a:gd name="connsiteX19" fmla="*/ 7922 w 10000"/>
                  <a:gd name="connsiteY19" fmla="*/ 0 h 10000"/>
                  <a:gd name="connsiteX20" fmla="*/ 8701 w 10000"/>
                  <a:gd name="connsiteY20" fmla="*/ 1125 h 10000"/>
                  <a:gd name="connsiteX21" fmla="*/ 8052 w 10000"/>
                  <a:gd name="connsiteY21" fmla="*/ 2188 h 10000"/>
                  <a:gd name="connsiteX22" fmla="*/ 8052 w 10000"/>
                  <a:gd name="connsiteY22" fmla="*/ 3000 h 10000"/>
                  <a:gd name="connsiteX23" fmla="*/ 9740 w 10000"/>
                  <a:gd name="connsiteY23" fmla="*/ 3000 h 10000"/>
                  <a:gd name="connsiteX24" fmla="*/ 8052 w 10000"/>
                  <a:gd name="connsiteY24" fmla="*/ 3688 h 10000"/>
                  <a:gd name="connsiteX25" fmla="*/ 8831 w 10000"/>
                  <a:gd name="connsiteY25" fmla="*/ 4188 h 10000"/>
                  <a:gd name="connsiteX26" fmla="*/ 8393 w 10000"/>
                  <a:gd name="connsiteY26" fmla="*/ 5505 h 10000"/>
                  <a:gd name="connsiteX27" fmla="*/ 7740 w 10000"/>
                  <a:gd name="connsiteY27" fmla="*/ 6033 h 10000"/>
                  <a:gd name="connsiteX28" fmla="*/ 7143 w 10000"/>
                  <a:gd name="connsiteY28" fmla="*/ 6375 h 10000"/>
                  <a:gd name="connsiteX29" fmla="*/ 8052 w 10000"/>
                  <a:gd name="connsiteY29" fmla="*/ 6500 h 10000"/>
                  <a:gd name="connsiteX30" fmla="*/ 7792 w 10000"/>
                  <a:gd name="connsiteY30" fmla="*/ 7125 h 10000"/>
                  <a:gd name="connsiteX31" fmla="*/ 9870 w 10000"/>
                  <a:gd name="connsiteY31" fmla="*/ 7188 h 10000"/>
                  <a:gd name="connsiteX32" fmla="*/ 10000 w 10000"/>
                  <a:gd name="connsiteY32" fmla="*/ 8563 h 10000"/>
                  <a:gd name="connsiteX33" fmla="*/ 9221 w 10000"/>
                  <a:gd name="connsiteY33" fmla="*/ 9063 h 10000"/>
                  <a:gd name="connsiteX34" fmla="*/ 8831 w 10000"/>
                  <a:gd name="connsiteY34" fmla="*/ 8500 h 10000"/>
                  <a:gd name="connsiteX35" fmla="*/ 7662 w 10000"/>
                  <a:gd name="connsiteY35" fmla="*/ 8688 h 10000"/>
                  <a:gd name="connsiteX36" fmla="*/ 8182 w 10000"/>
                  <a:gd name="connsiteY36" fmla="*/ 9250 h 10000"/>
                  <a:gd name="connsiteX37" fmla="*/ 7143 w 10000"/>
                  <a:gd name="connsiteY37" fmla="*/ 10000 h 10000"/>
                  <a:gd name="connsiteX0" fmla="*/ 7143 w 10000"/>
                  <a:gd name="connsiteY0" fmla="*/ 10000 h 10000"/>
                  <a:gd name="connsiteX1" fmla="*/ 3896 w 10000"/>
                  <a:gd name="connsiteY1" fmla="*/ 9563 h 10000"/>
                  <a:gd name="connsiteX2" fmla="*/ 1169 w 10000"/>
                  <a:gd name="connsiteY2" fmla="*/ 8875 h 10000"/>
                  <a:gd name="connsiteX3" fmla="*/ 1299 w 10000"/>
                  <a:gd name="connsiteY3" fmla="*/ 8125 h 10000"/>
                  <a:gd name="connsiteX4" fmla="*/ 1429 w 10000"/>
                  <a:gd name="connsiteY4" fmla="*/ 7625 h 10000"/>
                  <a:gd name="connsiteX5" fmla="*/ 779 w 10000"/>
                  <a:gd name="connsiteY5" fmla="*/ 7125 h 10000"/>
                  <a:gd name="connsiteX6" fmla="*/ 519 w 10000"/>
                  <a:gd name="connsiteY6" fmla="*/ 6750 h 10000"/>
                  <a:gd name="connsiteX7" fmla="*/ 1558 w 10000"/>
                  <a:gd name="connsiteY7" fmla="*/ 6125 h 10000"/>
                  <a:gd name="connsiteX8" fmla="*/ 390 w 10000"/>
                  <a:gd name="connsiteY8" fmla="*/ 5563 h 10000"/>
                  <a:gd name="connsiteX9" fmla="*/ 0 w 10000"/>
                  <a:gd name="connsiteY9" fmla="*/ 4125 h 10000"/>
                  <a:gd name="connsiteX10" fmla="*/ 909 w 10000"/>
                  <a:gd name="connsiteY10" fmla="*/ 3875 h 10000"/>
                  <a:gd name="connsiteX11" fmla="*/ 909 w 10000"/>
                  <a:gd name="connsiteY11" fmla="*/ 2688 h 10000"/>
                  <a:gd name="connsiteX12" fmla="*/ 260 w 10000"/>
                  <a:gd name="connsiteY12" fmla="*/ 2375 h 10000"/>
                  <a:gd name="connsiteX13" fmla="*/ 1039 w 10000"/>
                  <a:gd name="connsiteY13" fmla="*/ 2063 h 10000"/>
                  <a:gd name="connsiteX14" fmla="*/ 3636 w 10000"/>
                  <a:gd name="connsiteY14" fmla="*/ 2063 h 10000"/>
                  <a:gd name="connsiteX15" fmla="*/ 2711 w 10000"/>
                  <a:gd name="connsiteY15" fmla="*/ 666 h 10000"/>
                  <a:gd name="connsiteX16" fmla="*/ 4286 w 10000"/>
                  <a:gd name="connsiteY16" fmla="*/ 63 h 10000"/>
                  <a:gd name="connsiteX17" fmla="*/ 5195 w 10000"/>
                  <a:gd name="connsiteY17" fmla="*/ 0 h 10000"/>
                  <a:gd name="connsiteX18" fmla="*/ 6364 w 10000"/>
                  <a:gd name="connsiteY18" fmla="*/ 625 h 10000"/>
                  <a:gd name="connsiteX19" fmla="*/ 7922 w 10000"/>
                  <a:gd name="connsiteY19" fmla="*/ 0 h 10000"/>
                  <a:gd name="connsiteX20" fmla="*/ 8701 w 10000"/>
                  <a:gd name="connsiteY20" fmla="*/ 1125 h 10000"/>
                  <a:gd name="connsiteX21" fmla="*/ 8052 w 10000"/>
                  <a:gd name="connsiteY21" fmla="*/ 2188 h 10000"/>
                  <a:gd name="connsiteX22" fmla="*/ 8052 w 10000"/>
                  <a:gd name="connsiteY22" fmla="*/ 3000 h 10000"/>
                  <a:gd name="connsiteX23" fmla="*/ 9740 w 10000"/>
                  <a:gd name="connsiteY23" fmla="*/ 3000 h 10000"/>
                  <a:gd name="connsiteX24" fmla="*/ 8052 w 10000"/>
                  <a:gd name="connsiteY24" fmla="*/ 3688 h 10000"/>
                  <a:gd name="connsiteX25" fmla="*/ 8831 w 10000"/>
                  <a:gd name="connsiteY25" fmla="*/ 4188 h 10000"/>
                  <a:gd name="connsiteX26" fmla="*/ 8393 w 10000"/>
                  <a:gd name="connsiteY26" fmla="*/ 5505 h 10000"/>
                  <a:gd name="connsiteX27" fmla="*/ 7740 w 10000"/>
                  <a:gd name="connsiteY27" fmla="*/ 6033 h 10000"/>
                  <a:gd name="connsiteX28" fmla="*/ 7143 w 10000"/>
                  <a:gd name="connsiteY28" fmla="*/ 6375 h 10000"/>
                  <a:gd name="connsiteX29" fmla="*/ 8052 w 10000"/>
                  <a:gd name="connsiteY29" fmla="*/ 6500 h 10000"/>
                  <a:gd name="connsiteX30" fmla="*/ 7792 w 10000"/>
                  <a:gd name="connsiteY30" fmla="*/ 7125 h 10000"/>
                  <a:gd name="connsiteX31" fmla="*/ 9870 w 10000"/>
                  <a:gd name="connsiteY31" fmla="*/ 7188 h 10000"/>
                  <a:gd name="connsiteX32" fmla="*/ 10000 w 10000"/>
                  <a:gd name="connsiteY32" fmla="*/ 8563 h 10000"/>
                  <a:gd name="connsiteX33" fmla="*/ 9221 w 10000"/>
                  <a:gd name="connsiteY33" fmla="*/ 9063 h 10000"/>
                  <a:gd name="connsiteX34" fmla="*/ 8831 w 10000"/>
                  <a:gd name="connsiteY34" fmla="*/ 8500 h 10000"/>
                  <a:gd name="connsiteX35" fmla="*/ 7662 w 10000"/>
                  <a:gd name="connsiteY35" fmla="*/ 8688 h 10000"/>
                  <a:gd name="connsiteX36" fmla="*/ 8182 w 10000"/>
                  <a:gd name="connsiteY36" fmla="*/ 9250 h 10000"/>
                  <a:gd name="connsiteX37" fmla="*/ 7143 w 10000"/>
                  <a:gd name="connsiteY37" fmla="*/ 10000 h 10000"/>
                  <a:gd name="connsiteX0" fmla="*/ 7143 w 10000"/>
                  <a:gd name="connsiteY0" fmla="*/ 10000 h 10000"/>
                  <a:gd name="connsiteX1" fmla="*/ 3896 w 10000"/>
                  <a:gd name="connsiteY1" fmla="*/ 9563 h 10000"/>
                  <a:gd name="connsiteX2" fmla="*/ 1169 w 10000"/>
                  <a:gd name="connsiteY2" fmla="*/ 8875 h 10000"/>
                  <a:gd name="connsiteX3" fmla="*/ 1299 w 10000"/>
                  <a:gd name="connsiteY3" fmla="*/ 8125 h 10000"/>
                  <a:gd name="connsiteX4" fmla="*/ 1429 w 10000"/>
                  <a:gd name="connsiteY4" fmla="*/ 7625 h 10000"/>
                  <a:gd name="connsiteX5" fmla="*/ 779 w 10000"/>
                  <a:gd name="connsiteY5" fmla="*/ 7125 h 10000"/>
                  <a:gd name="connsiteX6" fmla="*/ 519 w 10000"/>
                  <a:gd name="connsiteY6" fmla="*/ 6750 h 10000"/>
                  <a:gd name="connsiteX7" fmla="*/ 1558 w 10000"/>
                  <a:gd name="connsiteY7" fmla="*/ 6125 h 10000"/>
                  <a:gd name="connsiteX8" fmla="*/ 390 w 10000"/>
                  <a:gd name="connsiteY8" fmla="*/ 5563 h 10000"/>
                  <a:gd name="connsiteX9" fmla="*/ 0 w 10000"/>
                  <a:gd name="connsiteY9" fmla="*/ 4125 h 10000"/>
                  <a:gd name="connsiteX10" fmla="*/ 909 w 10000"/>
                  <a:gd name="connsiteY10" fmla="*/ 3875 h 10000"/>
                  <a:gd name="connsiteX11" fmla="*/ 909 w 10000"/>
                  <a:gd name="connsiteY11" fmla="*/ 2688 h 10000"/>
                  <a:gd name="connsiteX12" fmla="*/ 260 w 10000"/>
                  <a:gd name="connsiteY12" fmla="*/ 2375 h 10000"/>
                  <a:gd name="connsiteX13" fmla="*/ 1039 w 10000"/>
                  <a:gd name="connsiteY13" fmla="*/ 2063 h 10000"/>
                  <a:gd name="connsiteX14" fmla="*/ 3110 w 10000"/>
                  <a:gd name="connsiteY14" fmla="*/ 1815 h 10000"/>
                  <a:gd name="connsiteX15" fmla="*/ 2711 w 10000"/>
                  <a:gd name="connsiteY15" fmla="*/ 666 h 10000"/>
                  <a:gd name="connsiteX16" fmla="*/ 4286 w 10000"/>
                  <a:gd name="connsiteY16" fmla="*/ 63 h 10000"/>
                  <a:gd name="connsiteX17" fmla="*/ 5195 w 10000"/>
                  <a:gd name="connsiteY17" fmla="*/ 0 h 10000"/>
                  <a:gd name="connsiteX18" fmla="*/ 6364 w 10000"/>
                  <a:gd name="connsiteY18" fmla="*/ 625 h 10000"/>
                  <a:gd name="connsiteX19" fmla="*/ 7922 w 10000"/>
                  <a:gd name="connsiteY19" fmla="*/ 0 h 10000"/>
                  <a:gd name="connsiteX20" fmla="*/ 8701 w 10000"/>
                  <a:gd name="connsiteY20" fmla="*/ 1125 h 10000"/>
                  <a:gd name="connsiteX21" fmla="*/ 8052 w 10000"/>
                  <a:gd name="connsiteY21" fmla="*/ 2188 h 10000"/>
                  <a:gd name="connsiteX22" fmla="*/ 8052 w 10000"/>
                  <a:gd name="connsiteY22" fmla="*/ 3000 h 10000"/>
                  <a:gd name="connsiteX23" fmla="*/ 9740 w 10000"/>
                  <a:gd name="connsiteY23" fmla="*/ 3000 h 10000"/>
                  <a:gd name="connsiteX24" fmla="*/ 8052 w 10000"/>
                  <a:gd name="connsiteY24" fmla="*/ 3688 h 10000"/>
                  <a:gd name="connsiteX25" fmla="*/ 8831 w 10000"/>
                  <a:gd name="connsiteY25" fmla="*/ 4188 h 10000"/>
                  <a:gd name="connsiteX26" fmla="*/ 8393 w 10000"/>
                  <a:gd name="connsiteY26" fmla="*/ 5505 h 10000"/>
                  <a:gd name="connsiteX27" fmla="*/ 7740 w 10000"/>
                  <a:gd name="connsiteY27" fmla="*/ 6033 h 10000"/>
                  <a:gd name="connsiteX28" fmla="*/ 7143 w 10000"/>
                  <a:gd name="connsiteY28" fmla="*/ 6375 h 10000"/>
                  <a:gd name="connsiteX29" fmla="*/ 8052 w 10000"/>
                  <a:gd name="connsiteY29" fmla="*/ 6500 h 10000"/>
                  <a:gd name="connsiteX30" fmla="*/ 7792 w 10000"/>
                  <a:gd name="connsiteY30" fmla="*/ 7125 h 10000"/>
                  <a:gd name="connsiteX31" fmla="*/ 9870 w 10000"/>
                  <a:gd name="connsiteY31" fmla="*/ 7188 h 10000"/>
                  <a:gd name="connsiteX32" fmla="*/ 10000 w 10000"/>
                  <a:gd name="connsiteY32" fmla="*/ 8563 h 10000"/>
                  <a:gd name="connsiteX33" fmla="*/ 9221 w 10000"/>
                  <a:gd name="connsiteY33" fmla="*/ 9063 h 10000"/>
                  <a:gd name="connsiteX34" fmla="*/ 8831 w 10000"/>
                  <a:gd name="connsiteY34" fmla="*/ 8500 h 10000"/>
                  <a:gd name="connsiteX35" fmla="*/ 7662 w 10000"/>
                  <a:gd name="connsiteY35" fmla="*/ 8688 h 10000"/>
                  <a:gd name="connsiteX36" fmla="*/ 8182 w 10000"/>
                  <a:gd name="connsiteY36" fmla="*/ 9250 h 10000"/>
                  <a:gd name="connsiteX37" fmla="*/ 7143 w 10000"/>
                  <a:gd name="connsiteY37" fmla="*/ 10000 h 10000"/>
                  <a:gd name="connsiteX0" fmla="*/ 7143 w 10000"/>
                  <a:gd name="connsiteY0" fmla="*/ 11300 h 11300"/>
                  <a:gd name="connsiteX1" fmla="*/ 3896 w 10000"/>
                  <a:gd name="connsiteY1" fmla="*/ 10863 h 11300"/>
                  <a:gd name="connsiteX2" fmla="*/ 1169 w 10000"/>
                  <a:gd name="connsiteY2" fmla="*/ 10175 h 11300"/>
                  <a:gd name="connsiteX3" fmla="*/ 1299 w 10000"/>
                  <a:gd name="connsiteY3" fmla="*/ 9425 h 11300"/>
                  <a:gd name="connsiteX4" fmla="*/ 1429 w 10000"/>
                  <a:gd name="connsiteY4" fmla="*/ 8925 h 11300"/>
                  <a:gd name="connsiteX5" fmla="*/ 779 w 10000"/>
                  <a:gd name="connsiteY5" fmla="*/ 8425 h 11300"/>
                  <a:gd name="connsiteX6" fmla="*/ 519 w 10000"/>
                  <a:gd name="connsiteY6" fmla="*/ 8050 h 11300"/>
                  <a:gd name="connsiteX7" fmla="*/ 1558 w 10000"/>
                  <a:gd name="connsiteY7" fmla="*/ 7425 h 11300"/>
                  <a:gd name="connsiteX8" fmla="*/ 390 w 10000"/>
                  <a:gd name="connsiteY8" fmla="*/ 6863 h 11300"/>
                  <a:gd name="connsiteX9" fmla="*/ 0 w 10000"/>
                  <a:gd name="connsiteY9" fmla="*/ 5425 h 11300"/>
                  <a:gd name="connsiteX10" fmla="*/ 909 w 10000"/>
                  <a:gd name="connsiteY10" fmla="*/ 5175 h 11300"/>
                  <a:gd name="connsiteX11" fmla="*/ 909 w 10000"/>
                  <a:gd name="connsiteY11" fmla="*/ 3988 h 11300"/>
                  <a:gd name="connsiteX12" fmla="*/ 260 w 10000"/>
                  <a:gd name="connsiteY12" fmla="*/ 3675 h 11300"/>
                  <a:gd name="connsiteX13" fmla="*/ 1039 w 10000"/>
                  <a:gd name="connsiteY13" fmla="*/ 3363 h 11300"/>
                  <a:gd name="connsiteX14" fmla="*/ 3110 w 10000"/>
                  <a:gd name="connsiteY14" fmla="*/ 3115 h 11300"/>
                  <a:gd name="connsiteX15" fmla="*/ 2711 w 10000"/>
                  <a:gd name="connsiteY15" fmla="*/ 1966 h 11300"/>
                  <a:gd name="connsiteX16" fmla="*/ 3695 w 10000"/>
                  <a:gd name="connsiteY16" fmla="*/ 0 h 11300"/>
                  <a:gd name="connsiteX17" fmla="*/ 5195 w 10000"/>
                  <a:gd name="connsiteY17" fmla="*/ 1300 h 11300"/>
                  <a:gd name="connsiteX18" fmla="*/ 6364 w 10000"/>
                  <a:gd name="connsiteY18" fmla="*/ 1925 h 11300"/>
                  <a:gd name="connsiteX19" fmla="*/ 7922 w 10000"/>
                  <a:gd name="connsiteY19" fmla="*/ 1300 h 11300"/>
                  <a:gd name="connsiteX20" fmla="*/ 8701 w 10000"/>
                  <a:gd name="connsiteY20" fmla="*/ 2425 h 11300"/>
                  <a:gd name="connsiteX21" fmla="*/ 8052 w 10000"/>
                  <a:gd name="connsiteY21" fmla="*/ 3488 h 11300"/>
                  <a:gd name="connsiteX22" fmla="*/ 8052 w 10000"/>
                  <a:gd name="connsiteY22" fmla="*/ 4300 h 11300"/>
                  <a:gd name="connsiteX23" fmla="*/ 9740 w 10000"/>
                  <a:gd name="connsiteY23" fmla="*/ 4300 h 11300"/>
                  <a:gd name="connsiteX24" fmla="*/ 8052 w 10000"/>
                  <a:gd name="connsiteY24" fmla="*/ 4988 h 11300"/>
                  <a:gd name="connsiteX25" fmla="*/ 8831 w 10000"/>
                  <a:gd name="connsiteY25" fmla="*/ 5488 h 11300"/>
                  <a:gd name="connsiteX26" fmla="*/ 8393 w 10000"/>
                  <a:gd name="connsiteY26" fmla="*/ 6805 h 11300"/>
                  <a:gd name="connsiteX27" fmla="*/ 7740 w 10000"/>
                  <a:gd name="connsiteY27" fmla="*/ 7333 h 11300"/>
                  <a:gd name="connsiteX28" fmla="*/ 7143 w 10000"/>
                  <a:gd name="connsiteY28" fmla="*/ 7675 h 11300"/>
                  <a:gd name="connsiteX29" fmla="*/ 8052 w 10000"/>
                  <a:gd name="connsiteY29" fmla="*/ 7800 h 11300"/>
                  <a:gd name="connsiteX30" fmla="*/ 7792 w 10000"/>
                  <a:gd name="connsiteY30" fmla="*/ 8425 h 11300"/>
                  <a:gd name="connsiteX31" fmla="*/ 9870 w 10000"/>
                  <a:gd name="connsiteY31" fmla="*/ 8488 h 11300"/>
                  <a:gd name="connsiteX32" fmla="*/ 10000 w 10000"/>
                  <a:gd name="connsiteY32" fmla="*/ 9863 h 11300"/>
                  <a:gd name="connsiteX33" fmla="*/ 9221 w 10000"/>
                  <a:gd name="connsiteY33" fmla="*/ 10363 h 11300"/>
                  <a:gd name="connsiteX34" fmla="*/ 8831 w 10000"/>
                  <a:gd name="connsiteY34" fmla="*/ 9800 h 11300"/>
                  <a:gd name="connsiteX35" fmla="*/ 7662 w 10000"/>
                  <a:gd name="connsiteY35" fmla="*/ 9988 h 11300"/>
                  <a:gd name="connsiteX36" fmla="*/ 8182 w 10000"/>
                  <a:gd name="connsiteY36" fmla="*/ 10550 h 11300"/>
                  <a:gd name="connsiteX37" fmla="*/ 7143 w 10000"/>
                  <a:gd name="connsiteY37" fmla="*/ 11300 h 11300"/>
                  <a:gd name="connsiteX0" fmla="*/ 7143 w 10000"/>
                  <a:gd name="connsiteY0" fmla="*/ 11300 h 11300"/>
                  <a:gd name="connsiteX1" fmla="*/ 3896 w 10000"/>
                  <a:gd name="connsiteY1" fmla="*/ 10863 h 11300"/>
                  <a:gd name="connsiteX2" fmla="*/ 1169 w 10000"/>
                  <a:gd name="connsiteY2" fmla="*/ 10175 h 11300"/>
                  <a:gd name="connsiteX3" fmla="*/ 1299 w 10000"/>
                  <a:gd name="connsiteY3" fmla="*/ 9425 h 11300"/>
                  <a:gd name="connsiteX4" fmla="*/ 1429 w 10000"/>
                  <a:gd name="connsiteY4" fmla="*/ 8925 h 11300"/>
                  <a:gd name="connsiteX5" fmla="*/ 779 w 10000"/>
                  <a:gd name="connsiteY5" fmla="*/ 8425 h 11300"/>
                  <a:gd name="connsiteX6" fmla="*/ 519 w 10000"/>
                  <a:gd name="connsiteY6" fmla="*/ 8050 h 11300"/>
                  <a:gd name="connsiteX7" fmla="*/ 1558 w 10000"/>
                  <a:gd name="connsiteY7" fmla="*/ 7425 h 11300"/>
                  <a:gd name="connsiteX8" fmla="*/ 390 w 10000"/>
                  <a:gd name="connsiteY8" fmla="*/ 6863 h 11300"/>
                  <a:gd name="connsiteX9" fmla="*/ 0 w 10000"/>
                  <a:gd name="connsiteY9" fmla="*/ 5425 h 11300"/>
                  <a:gd name="connsiteX10" fmla="*/ 909 w 10000"/>
                  <a:gd name="connsiteY10" fmla="*/ 5175 h 11300"/>
                  <a:gd name="connsiteX11" fmla="*/ 909 w 10000"/>
                  <a:gd name="connsiteY11" fmla="*/ 3988 h 11300"/>
                  <a:gd name="connsiteX12" fmla="*/ 260 w 10000"/>
                  <a:gd name="connsiteY12" fmla="*/ 3675 h 11300"/>
                  <a:gd name="connsiteX13" fmla="*/ 1039 w 10000"/>
                  <a:gd name="connsiteY13" fmla="*/ 3363 h 11300"/>
                  <a:gd name="connsiteX14" fmla="*/ 3110 w 10000"/>
                  <a:gd name="connsiteY14" fmla="*/ 3115 h 11300"/>
                  <a:gd name="connsiteX15" fmla="*/ 2711 w 10000"/>
                  <a:gd name="connsiteY15" fmla="*/ 1966 h 11300"/>
                  <a:gd name="connsiteX16" fmla="*/ 3695 w 10000"/>
                  <a:gd name="connsiteY16" fmla="*/ 0 h 11300"/>
                  <a:gd name="connsiteX17" fmla="*/ 5195 w 10000"/>
                  <a:gd name="connsiteY17" fmla="*/ 1300 h 11300"/>
                  <a:gd name="connsiteX18" fmla="*/ 6364 w 10000"/>
                  <a:gd name="connsiteY18" fmla="*/ 1925 h 11300"/>
                  <a:gd name="connsiteX19" fmla="*/ 7922 w 10000"/>
                  <a:gd name="connsiteY19" fmla="*/ 1300 h 11300"/>
                  <a:gd name="connsiteX20" fmla="*/ 8701 w 10000"/>
                  <a:gd name="connsiteY20" fmla="*/ 2425 h 11300"/>
                  <a:gd name="connsiteX21" fmla="*/ 8052 w 10000"/>
                  <a:gd name="connsiteY21" fmla="*/ 3488 h 11300"/>
                  <a:gd name="connsiteX22" fmla="*/ 8052 w 10000"/>
                  <a:gd name="connsiteY22" fmla="*/ 4300 h 11300"/>
                  <a:gd name="connsiteX23" fmla="*/ 9740 w 10000"/>
                  <a:gd name="connsiteY23" fmla="*/ 4300 h 11300"/>
                  <a:gd name="connsiteX24" fmla="*/ 8052 w 10000"/>
                  <a:gd name="connsiteY24" fmla="*/ 4988 h 11300"/>
                  <a:gd name="connsiteX25" fmla="*/ 8831 w 10000"/>
                  <a:gd name="connsiteY25" fmla="*/ 5488 h 11300"/>
                  <a:gd name="connsiteX26" fmla="*/ 8393 w 10000"/>
                  <a:gd name="connsiteY26" fmla="*/ 6805 h 11300"/>
                  <a:gd name="connsiteX27" fmla="*/ 7740 w 10000"/>
                  <a:gd name="connsiteY27" fmla="*/ 7333 h 11300"/>
                  <a:gd name="connsiteX28" fmla="*/ 7143 w 10000"/>
                  <a:gd name="connsiteY28" fmla="*/ 7675 h 11300"/>
                  <a:gd name="connsiteX29" fmla="*/ 8052 w 10000"/>
                  <a:gd name="connsiteY29" fmla="*/ 7800 h 11300"/>
                  <a:gd name="connsiteX30" fmla="*/ 7792 w 10000"/>
                  <a:gd name="connsiteY30" fmla="*/ 8425 h 11300"/>
                  <a:gd name="connsiteX31" fmla="*/ 9870 w 10000"/>
                  <a:gd name="connsiteY31" fmla="*/ 8488 h 11300"/>
                  <a:gd name="connsiteX32" fmla="*/ 10000 w 10000"/>
                  <a:gd name="connsiteY32" fmla="*/ 9863 h 11300"/>
                  <a:gd name="connsiteX33" fmla="*/ 9221 w 10000"/>
                  <a:gd name="connsiteY33" fmla="*/ 10363 h 11300"/>
                  <a:gd name="connsiteX34" fmla="*/ 8831 w 10000"/>
                  <a:gd name="connsiteY34" fmla="*/ 9800 h 11300"/>
                  <a:gd name="connsiteX35" fmla="*/ 7662 w 10000"/>
                  <a:gd name="connsiteY35" fmla="*/ 9988 h 11300"/>
                  <a:gd name="connsiteX36" fmla="*/ 8182 w 10000"/>
                  <a:gd name="connsiteY36" fmla="*/ 10550 h 11300"/>
                  <a:gd name="connsiteX37" fmla="*/ 7143 w 10000"/>
                  <a:gd name="connsiteY37" fmla="*/ 11300 h 11300"/>
                  <a:gd name="connsiteX0" fmla="*/ 7143 w 10000"/>
                  <a:gd name="connsiteY0" fmla="*/ 10127 h 10127"/>
                  <a:gd name="connsiteX1" fmla="*/ 3896 w 10000"/>
                  <a:gd name="connsiteY1" fmla="*/ 9690 h 10127"/>
                  <a:gd name="connsiteX2" fmla="*/ 1169 w 10000"/>
                  <a:gd name="connsiteY2" fmla="*/ 9002 h 10127"/>
                  <a:gd name="connsiteX3" fmla="*/ 1299 w 10000"/>
                  <a:gd name="connsiteY3" fmla="*/ 8252 h 10127"/>
                  <a:gd name="connsiteX4" fmla="*/ 1429 w 10000"/>
                  <a:gd name="connsiteY4" fmla="*/ 7752 h 10127"/>
                  <a:gd name="connsiteX5" fmla="*/ 779 w 10000"/>
                  <a:gd name="connsiteY5" fmla="*/ 7252 h 10127"/>
                  <a:gd name="connsiteX6" fmla="*/ 519 w 10000"/>
                  <a:gd name="connsiteY6" fmla="*/ 6877 h 10127"/>
                  <a:gd name="connsiteX7" fmla="*/ 1558 w 10000"/>
                  <a:gd name="connsiteY7" fmla="*/ 6252 h 10127"/>
                  <a:gd name="connsiteX8" fmla="*/ 390 w 10000"/>
                  <a:gd name="connsiteY8" fmla="*/ 5690 h 10127"/>
                  <a:gd name="connsiteX9" fmla="*/ 0 w 10000"/>
                  <a:gd name="connsiteY9" fmla="*/ 4252 h 10127"/>
                  <a:gd name="connsiteX10" fmla="*/ 909 w 10000"/>
                  <a:gd name="connsiteY10" fmla="*/ 4002 h 10127"/>
                  <a:gd name="connsiteX11" fmla="*/ 909 w 10000"/>
                  <a:gd name="connsiteY11" fmla="*/ 2815 h 10127"/>
                  <a:gd name="connsiteX12" fmla="*/ 260 w 10000"/>
                  <a:gd name="connsiteY12" fmla="*/ 2502 h 10127"/>
                  <a:gd name="connsiteX13" fmla="*/ 1039 w 10000"/>
                  <a:gd name="connsiteY13" fmla="*/ 2190 h 10127"/>
                  <a:gd name="connsiteX14" fmla="*/ 3110 w 10000"/>
                  <a:gd name="connsiteY14" fmla="*/ 1942 h 10127"/>
                  <a:gd name="connsiteX15" fmla="*/ 2711 w 10000"/>
                  <a:gd name="connsiteY15" fmla="*/ 793 h 10127"/>
                  <a:gd name="connsiteX16" fmla="*/ 3972 w 10000"/>
                  <a:gd name="connsiteY16" fmla="*/ 0 h 10127"/>
                  <a:gd name="connsiteX17" fmla="*/ 5195 w 10000"/>
                  <a:gd name="connsiteY17" fmla="*/ 127 h 10127"/>
                  <a:gd name="connsiteX18" fmla="*/ 6364 w 10000"/>
                  <a:gd name="connsiteY18" fmla="*/ 752 h 10127"/>
                  <a:gd name="connsiteX19" fmla="*/ 7922 w 10000"/>
                  <a:gd name="connsiteY19" fmla="*/ 127 h 10127"/>
                  <a:gd name="connsiteX20" fmla="*/ 8701 w 10000"/>
                  <a:gd name="connsiteY20" fmla="*/ 1252 h 10127"/>
                  <a:gd name="connsiteX21" fmla="*/ 8052 w 10000"/>
                  <a:gd name="connsiteY21" fmla="*/ 2315 h 10127"/>
                  <a:gd name="connsiteX22" fmla="*/ 8052 w 10000"/>
                  <a:gd name="connsiteY22" fmla="*/ 3127 h 10127"/>
                  <a:gd name="connsiteX23" fmla="*/ 9740 w 10000"/>
                  <a:gd name="connsiteY23" fmla="*/ 3127 h 10127"/>
                  <a:gd name="connsiteX24" fmla="*/ 8052 w 10000"/>
                  <a:gd name="connsiteY24" fmla="*/ 3815 h 10127"/>
                  <a:gd name="connsiteX25" fmla="*/ 8831 w 10000"/>
                  <a:gd name="connsiteY25" fmla="*/ 4315 h 10127"/>
                  <a:gd name="connsiteX26" fmla="*/ 8393 w 10000"/>
                  <a:gd name="connsiteY26" fmla="*/ 5632 h 10127"/>
                  <a:gd name="connsiteX27" fmla="*/ 7740 w 10000"/>
                  <a:gd name="connsiteY27" fmla="*/ 6160 h 10127"/>
                  <a:gd name="connsiteX28" fmla="*/ 7143 w 10000"/>
                  <a:gd name="connsiteY28" fmla="*/ 6502 h 10127"/>
                  <a:gd name="connsiteX29" fmla="*/ 8052 w 10000"/>
                  <a:gd name="connsiteY29" fmla="*/ 6627 h 10127"/>
                  <a:gd name="connsiteX30" fmla="*/ 7792 w 10000"/>
                  <a:gd name="connsiteY30" fmla="*/ 7252 h 10127"/>
                  <a:gd name="connsiteX31" fmla="*/ 9870 w 10000"/>
                  <a:gd name="connsiteY31" fmla="*/ 7315 h 10127"/>
                  <a:gd name="connsiteX32" fmla="*/ 10000 w 10000"/>
                  <a:gd name="connsiteY32" fmla="*/ 8690 h 10127"/>
                  <a:gd name="connsiteX33" fmla="*/ 9221 w 10000"/>
                  <a:gd name="connsiteY33" fmla="*/ 9190 h 10127"/>
                  <a:gd name="connsiteX34" fmla="*/ 8831 w 10000"/>
                  <a:gd name="connsiteY34" fmla="*/ 8627 h 10127"/>
                  <a:gd name="connsiteX35" fmla="*/ 7662 w 10000"/>
                  <a:gd name="connsiteY35" fmla="*/ 8815 h 10127"/>
                  <a:gd name="connsiteX36" fmla="*/ 8182 w 10000"/>
                  <a:gd name="connsiteY36" fmla="*/ 9377 h 10127"/>
                  <a:gd name="connsiteX37" fmla="*/ 7143 w 10000"/>
                  <a:gd name="connsiteY37" fmla="*/ 10127 h 10127"/>
                  <a:gd name="connsiteX0" fmla="*/ 7143 w 10000"/>
                  <a:gd name="connsiteY0" fmla="*/ 10127 h 10127"/>
                  <a:gd name="connsiteX1" fmla="*/ 3896 w 10000"/>
                  <a:gd name="connsiteY1" fmla="*/ 9690 h 10127"/>
                  <a:gd name="connsiteX2" fmla="*/ 1169 w 10000"/>
                  <a:gd name="connsiteY2" fmla="*/ 9002 h 10127"/>
                  <a:gd name="connsiteX3" fmla="*/ 1299 w 10000"/>
                  <a:gd name="connsiteY3" fmla="*/ 8252 h 10127"/>
                  <a:gd name="connsiteX4" fmla="*/ 1429 w 10000"/>
                  <a:gd name="connsiteY4" fmla="*/ 7752 h 10127"/>
                  <a:gd name="connsiteX5" fmla="*/ 779 w 10000"/>
                  <a:gd name="connsiteY5" fmla="*/ 7252 h 10127"/>
                  <a:gd name="connsiteX6" fmla="*/ 519 w 10000"/>
                  <a:gd name="connsiteY6" fmla="*/ 6877 h 10127"/>
                  <a:gd name="connsiteX7" fmla="*/ 1558 w 10000"/>
                  <a:gd name="connsiteY7" fmla="*/ 6252 h 10127"/>
                  <a:gd name="connsiteX8" fmla="*/ 390 w 10000"/>
                  <a:gd name="connsiteY8" fmla="*/ 5690 h 10127"/>
                  <a:gd name="connsiteX9" fmla="*/ 0 w 10000"/>
                  <a:gd name="connsiteY9" fmla="*/ 4252 h 10127"/>
                  <a:gd name="connsiteX10" fmla="*/ 909 w 10000"/>
                  <a:gd name="connsiteY10" fmla="*/ 4002 h 10127"/>
                  <a:gd name="connsiteX11" fmla="*/ 909 w 10000"/>
                  <a:gd name="connsiteY11" fmla="*/ 2815 h 10127"/>
                  <a:gd name="connsiteX12" fmla="*/ 260 w 10000"/>
                  <a:gd name="connsiteY12" fmla="*/ 2502 h 10127"/>
                  <a:gd name="connsiteX13" fmla="*/ 1039 w 10000"/>
                  <a:gd name="connsiteY13" fmla="*/ 2190 h 10127"/>
                  <a:gd name="connsiteX14" fmla="*/ 3110 w 10000"/>
                  <a:gd name="connsiteY14" fmla="*/ 1942 h 10127"/>
                  <a:gd name="connsiteX15" fmla="*/ 2711 w 10000"/>
                  <a:gd name="connsiteY15" fmla="*/ 793 h 10127"/>
                  <a:gd name="connsiteX16" fmla="*/ 3972 w 10000"/>
                  <a:gd name="connsiteY16" fmla="*/ 0 h 10127"/>
                  <a:gd name="connsiteX17" fmla="*/ 5195 w 10000"/>
                  <a:gd name="connsiteY17" fmla="*/ 127 h 10127"/>
                  <a:gd name="connsiteX18" fmla="*/ 6364 w 10000"/>
                  <a:gd name="connsiteY18" fmla="*/ 752 h 10127"/>
                  <a:gd name="connsiteX19" fmla="*/ 7922 w 10000"/>
                  <a:gd name="connsiteY19" fmla="*/ 127 h 10127"/>
                  <a:gd name="connsiteX20" fmla="*/ 8701 w 10000"/>
                  <a:gd name="connsiteY20" fmla="*/ 1252 h 10127"/>
                  <a:gd name="connsiteX21" fmla="*/ 8052 w 10000"/>
                  <a:gd name="connsiteY21" fmla="*/ 2315 h 10127"/>
                  <a:gd name="connsiteX22" fmla="*/ 8052 w 10000"/>
                  <a:gd name="connsiteY22" fmla="*/ 3127 h 10127"/>
                  <a:gd name="connsiteX23" fmla="*/ 9740 w 10000"/>
                  <a:gd name="connsiteY23" fmla="*/ 3127 h 10127"/>
                  <a:gd name="connsiteX24" fmla="*/ 8052 w 10000"/>
                  <a:gd name="connsiteY24" fmla="*/ 3815 h 10127"/>
                  <a:gd name="connsiteX25" fmla="*/ 8831 w 10000"/>
                  <a:gd name="connsiteY25" fmla="*/ 4315 h 10127"/>
                  <a:gd name="connsiteX26" fmla="*/ 8393 w 10000"/>
                  <a:gd name="connsiteY26" fmla="*/ 5632 h 10127"/>
                  <a:gd name="connsiteX27" fmla="*/ 7740 w 10000"/>
                  <a:gd name="connsiteY27" fmla="*/ 6160 h 10127"/>
                  <a:gd name="connsiteX28" fmla="*/ 7143 w 10000"/>
                  <a:gd name="connsiteY28" fmla="*/ 6502 h 10127"/>
                  <a:gd name="connsiteX29" fmla="*/ 8052 w 10000"/>
                  <a:gd name="connsiteY29" fmla="*/ 6627 h 10127"/>
                  <a:gd name="connsiteX30" fmla="*/ 7792 w 10000"/>
                  <a:gd name="connsiteY30" fmla="*/ 7252 h 10127"/>
                  <a:gd name="connsiteX31" fmla="*/ 9870 w 10000"/>
                  <a:gd name="connsiteY31" fmla="*/ 7315 h 10127"/>
                  <a:gd name="connsiteX32" fmla="*/ 10000 w 10000"/>
                  <a:gd name="connsiteY32" fmla="*/ 8690 h 10127"/>
                  <a:gd name="connsiteX33" fmla="*/ 9221 w 10000"/>
                  <a:gd name="connsiteY33" fmla="*/ 9190 h 10127"/>
                  <a:gd name="connsiteX34" fmla="*/ 8831 w 10000"/>
                  <a:gd name="connsiteY34" fmla="*/ 8627 h 10127"/>
                  <a:gd name="connsiteX35" fmla="*/ 7662 w 10000"/>
                  <a:gd name="connsiteY35" fmla="*/ 8815 h 10127"/>
                  <a:gd name="connsiteX36" fmla="*/ 8182 w 10000"/>
                  <a:gd name="connsiteY36" fmla="*/ 9377 h 10127"/>
                  <a:gd name="connsiteX37" fmla="*/ 7143 w 10000"/>
                  <a:gd name="connsiteY37" fmla="*/ 10127 h 10127"/>
                  <a:gd name="connsiteX0" fmla="*/ 7143 w 10000"/>
                  <a:gd name="connsiteY0" fmla="*/ 10127 h 10127"/>
                  <a:gd name="connsiteX1" fmla="*/ 2752 w 10000"/>
                  <a:gd name="connsiteY1" fmla="*/ 9770 h 10127"/>
                  <a:gd name="connsiteX2" fmla="*/ 1169 w 10000"/>
                  <a:gd name="connsiteY2" fmla="*/ 9002 h 10127"/>
                  <a:gd name="connsiteX3" fmla="*/ 1299 w 10000"/>
                  <a:gd name="connsiteY3" fmla="*/ 8252 h 10127"/>
                  <a:gd name="connsiteX4" fmla="*/ 1429 w 10000"/>
                  <a:gd name="connsiteY4" fmla="*/ 7752 h 10127"/>
                  <a:gd name="connsiteX5" fmla="*/ 779 w 10000"/>
                  <a:gd name="connsiteY5" fmla="*/ 7252 h 10127"/>
                  <a:gd name="connsiteX6" fmla="*/ 519 w 10000"/>
                  <a:gd name="connsiteY6" fmla="*/ 6877 h 10127"/>
                  <a:gd name="connsiteX7" fmla="*/ 1558 w 10000"/>
                  <a:gd name="connsiteY7" fmla="*/ 6252 h 10127"/>
                  <a:gd name="connsiteX8" fmla="*/ 390 w 10000"/>
                  <a:gd name="connsiteY8" fmla="*/ 5690 h 10127"/>
                  <a:gd name="connsiteX9" fmla="*/ 0 w 10000"/>
                  <a:gd name="connsiteY9" fmla="*/ 4252 h 10127"/>
                  <a:gd name="connsiteX10" fmla="*/ 909 w 10000"/>
                  <a:gd name="connsiteY10" fmla="*/ 4002 h 10127"/>
                  <a:gd name="connsiteX11" fmla="*/ 909 w 10000"/>
                  <a:gd name="connsiteY11" fmla="*/ 2815 h 10127"/>
                  <a:gd name="connsiteX12" fmla="*/ 260 w 10000"/>
                  <a:gd name="connsiteY12" fmla="*/ 2502 h 10127"/>
                  <a:gd name="connsiteX13" fmla="*/ 1039 w 10000"/>
                  <a:gd name="connsiteY13" fmla="*/ 2190 h 10127"/>
                  <a:gd name="connsiteX14" fmla="*/ 3110 w 10000"/>
                  <a:gd name="connsiteY14" fmla="*/ 1942 h 10127"/>
                  <a:gd name="connsiteX15" fmla="*/ 2711 w 10000"/>
                  <a:gd name="connsiteY15" fmla="*/ 793 h 10127"/>
                  <a:gd name="connsiteX16" fmla="*/ 3972 w 10000"/>
                  <a:gd name="connsiteY16" fmla="*/ 0 h 10127"/>
                  <a:gd name="connsiteX17" fmla="*/ 5195 w 10000"/>
                  <a:gd name="connsiteY17" fmla="*/ 127 h 10127"/>
                  <a:gd name="connsiteX18" fmla="*/ 6364 w 10000"/>
                  <a:gd name="connsiteY18" fmla="*/ 752 h 10127"/>
                  <a:gd name="connsiteX19" fmla="*/ 7922 w 10000"/>
                  <a:gd name="connsiteY19" fmla="*/ 127 h 10127"/>
                  <a:gd name="connsiteX20" fmla="*/ 8701 w 10000"/>
                  <a:gd name="connsiteY20" fmla="*/ 1252 h 10127"/>
                  <a:gd name="connsiteX21" fmla="*/ 8052 w 10000"/>
                  <a:gd name="connsiteY21" fmla="*/ 2315 h 10127"/>
                  <a:gd name="connsiteX22" fmla="*/ 8052 w 10000"/>
                  <a:gd name="connsiteY22" fmla="*/ 3127 h 10127"/>
                  <a:gd name="connsiteX23" fmla="*/ 9740 w 10000"/>
                  <a:gd name="connsiteY23" fmla="*/ 3127 h 10127"/>
                  <a:gd name="connsiteX24" fmla="*/ 8052 w 10000"/>
                  <a:gd name="connsiteY24" fmla="*/ 3815 h 10127"/>
                  <a:gd name="connsiteX25" fmla="*/ 8831 w 10000"/>
                  <a:gd name="connsiteY25" fmla="*/ 4315 h 10127"/>
                  <a:gd name="connsiteX26" fmla="*/ 8393 w 10000"/>
                  <a:gd name="connsiteY26" fmla="*/ 5632 h 10127"/>
                  <a:gd name="connsiteX27" fmla="*/ 7740 w 10000"/>
                  <a:gd name="connsiteY27" fmla="*/ 6160 h 10127"/>
                  <a:gd name="connsiteX28" fmla="*/ 7143 w 10000"/>
                  <a:gd name="connsiteY28" fmla="*/ 6502 h 10127"/>
                  <a:gd name="connsiteX29" fmla="*/ 8052 w 10000"/>
                  <a:gd name="connsiteY29" fmla="*/ 6627 h 10127"/>
                  <a:gd name="connsiteX30" fmla="*/ 7792 w 10000"/>
                  <a:gd name="connsiteY30" fmla="*/ 7252 h 10127"/>
                  <a:gd name="connsiteX31" fmla="*/ 9870 w 10000"/>
                  <a:gd name="connsiteY31" fmla="*/ 7315 h 10127"/>
                  <a:gd name="connsiteX32" fmla="*/ 10000 w 10000"/>
                  <a:gd name="connsiteY32" fmla="*/ 8690 h 10127"/>
                  <a:gd name="connsiteX33" fmla="*/ 9221 w 10000"/>
                  <a:gd name="connsiteY33" fmla="*/ 9190 h 10127"/>
                  <a:gd name="connsiteX34" fmla="*/ 8831 w 10000"/>
                  <a:gd name="connsiteY34" fmla="*/ 8627 h 10127"/>
                  <a:gd name="connsiteX35" fmla="*/ 7662 w 10000"/>
                  <a:gd name="connsiteY35" fmla="*/ 8815 h 10127"/>
                  <a:gd name="connsiteX36" fmla="*/ 8182 w 10000"/>
                  <a:gd name="connsiteY36" fmla="*/ 9377 h 10127"/>
                  <a:gd name="connsiteX37" fmla="*/ 7143 w 10000"/>
                  <a:gd name="connsiteY37" fmla="*/ 10127 h 10127"/>
                  <a:gd name="connsiteX0" fmla="*/ 7143 w 10000"/>
                  <a:gd name="connsiteY0" fmla="*/ 10127 h 10127"/>
                  <a:gd name="connsiteX1" fmla="*/ 2752 w 10000"/>
                  <a:gd name="connsiteY1" fmla="*/ 9770 h 10127"/>
                  <a:gd name="connsiteX2" fmla="*/ 1169 w 10000"/>
                  <a:gd name="connsiteY2" fmla="*/ 9002 h 10127"/>
                  <a:gd name="connsiteX3" fmla="*/ 1299 w 10000"/>
                  <a:gd name="connsiteY3" fmla="*/ 8252 h 10127"/>
                  <a:gd name="connsiteX4" fmla="*/ 1429 w 10000"/>
                  <a:gd name="connsiteY4" fmla="*/ 7752 h 10127"/>
                  <a:gd name="connsiteX5" fmla="*/ 779 w 10000"/>
                  <a:gd name="connsiteY5" fmla="*/ 7252 h 10127"/>
                  <a:gd name="connsiteX6" fmla="*/ 519 w 10000"/>
                  <a:gd name="connsiteY6" fmla="*/ 6877 h 10127"/>
                  <a:gd name="connsiteX7" fmla="*/ 1558 w 10000"/>
                  <a:gd name="connsiteY7" fmla="*/ 6252 h 10127"/>
                  <a:gd name="connsiteX8" fmla="*/ 390 w 10000"/>
                  <a:gd name="connsiteY8" fmla="*/ 5690 h 10127"/>
                  <a:gd name="connsiteX9" fmla="*/ 0 w 10000"/>
                  <a:gd name="connsiteY9" fmla="*/ 4252 h 10127"/>
                  <a:gd name="connsiteX10" fmla="*/ 909 w 10000"/>
                  <a:gd name="connsiteY10" fmla="*/ 4002 h 10127"/>
                  <a:gd name="connsiteX11" fmla="*/ 909 w 10000"/>
                  <a:gd name="connsiteY11" fmla="*/ 2815 h 10127"/>
                  <a:gd name="connsiteX12" fmla="*/ 260 w 10000"/>
                  <a:gd name="connsiteY12" fmla="*/ 2502 h 10127"/>
                  <a:gd name="connsiteX13" fmla="*/ 1039 w 10000"/>
                  <a:gd name="connsiteY13" fmla="*/ 2190 h 10127"/>
                  <a:gd name="connsiteX14" fmla="*/ 3110 w 10000"/>
                  <a:gd name="connsiteY14" fmla="*/ 1942 h 10127"/>
                  <a:gd name="connsiteX15" fmla="*/ 2711 w 10000"/>
                  <a:gd name="connsiteY15" fmla="*/ 793 h 10127"/>
                  <a:gd name="connsiteX16" fmla="*/ 3972 w 10000"/>
                  <a:gd name="connsiteY16" fmla="*/ 0 h 10127"/>
                  <a:gd name="connsiteX17" fmla="*/ 5195 w 10000"/>
                  <a:gd name="connsiteY17" fmla="*/ 127 h 10127"/>
                  <a:gd name="connsiteX18" fmla="*/ 6364 w 10000"/>
                  <a:gd name="connsiteY18" fmla="*/ 752 h 10127"/>
                  <a:gd name="connsiteX19" fmla="*/ 7922 w 10000"/>
                  <a:gd name="connsiteY19" fmla="*/ 127 h 10127"/>
                  <a:gd name="connsiteX20" fmla="*/ 8701 w 10000"/>
                  <a:gd name="connsiteY20" fmla="*/ 1252 h 10127"/>
                  <a:gd name="connsiteX21" fmla="*/ 8052 w 10000"/>
                  <a:gd name="connsiteY21" fmla="*/ 2315 h 10127"/>
                  <a:gd name="connsiteX22" fmla="*/ 8052 w 10000"/>
                  <a:gd name="connsiteY22" fmla="*/ 3127 h 10127"/>
                  <a:gd name="connsiteX23" fmla="*/ 9740 w 10000"/>
                  <a:gd name="connsiteY23" fmla="*/ 3127 h 10127"/>
                  <a:gd name="connsiteX24" fmla="*/ 8052 w 10000"/>
                  <a:gd name="connsiteY24" fmla="*/ 3815 h 10127"/>
                  <a:gd name="connsiteX25" fmla="*/ 8831 w 10000"/>
                  <a:gd name="connsiteY25" fmla="*/ 4315 h 10127"/>
                  <a:gd name="connsiteX26" fmla="*/ 8393 w 10000"/>
                  <a:gd name="connsiteY26" fmla="*/ 5632 h 10127"/>
                  <a:gd name="connsiteX27" fmla="*/ 7740 w 10000"/>
                  <a:gd name="connsiteY27" fmla="*/ 6160 h 10127"/>
                  <a:gd name="connsiteX28" fmla="*/ 7143 w 10000"/>
                  <a:gd name="connsiteY28" fmla="*/ 6502 h 10127"/>
                  <a:gd name="connsiteX29" fmla="*/ 8052 w 10000"/>
                  <a:gd name="connsiteY29" fmla="*/ 6627 h 10127"/>
                  <a:gd name="connsiteX30" fmla="*/ 7792 w 10000"/>
                  <a:gd name="connsiteY30" fmla="*/ 7252 h 10127"/>
                  <a:gd name="connsiteX31" fmla="*/ 9870 w 10000"/>
                  <a:gd name="connsiteY31" fmla="*/ 7315 h 10127"/>
                  <a:gd name="connsiteX32" fmla="*/ 10000 w 10000"/>
                  <a:gd name="connsiteY32" fmla="*/ 8690 h 10127"/>
                  <a:gd name="connsiteX33" fmla="*/ 9221 w 10000"/>
                  <a:gd name="connsiteY33" fmla="*/ 9190 h 10127"/>
                  <a:gd name="connsiteX34" fmla="*/ 8831 w 10000"/>
                  <a:gd name="connsiteY34" fmla="*/ 8627 h 10127"/>
                  <a:gd name="connsiteX35" fmla="*/ 7662 w 10000"/>
                  <a:gd name="connsiteY35" fmla="*/ 8815 h 10127"/>
                  <a:gd name="connsiteX36" fmla="*/ 8182 w 10000"/>
                  <a:gd name="connsiteY36" fmla="*/ 9377 h 10127"/>
                  <a:gd name="connsiteX37" fmla="*/ 7143 w 10000"/>
                  <a:gd name="connsiteY37" fmla="*/ 10127 h 10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000" h="10127">
                    <a:moveTo>
                      <a:pt x="7143" y="10127"/>
                    </a:moveTo>
                    <a:cubicBezTo>
                      <a:pt x="5679" y="10008"/>
                      <a:pt x="4723" y="9624"/>
                      <a:pt x="2752" y="9770"/>
                    </a:cubicBezTo>
                    <a:lnTo>
                      <a:pt x="1169" y="9002"/>
                    </a:lnTo>
                    <a:cubicBezTo>
                      <a:pt x="1212" y="8752"/>
                      <a:pt x="1256" y="8502"/>
                      <a:pt x="1299" y="8252"/>
                    </a:cubicBezTo>
                    <a:cubicBezTo>
                      <a:pt x="1342" y="8085"/>
                      <a:pt x="1386" y="7919"/>
                      <a:pt x="1429" y="7752"/>
                    </a:cubicBezTo>
                    <a:lnTo>
                      <a:pt x="779" y="7252"/>
                    </a:lnTo>
                    <a:lnTo>
                      <a:pt x="519" y="6877"/>
                    </a:lnTo>
                    <a:lnTo>
                      <a:pt x="1558" y="6252"/>
                    </a:lnTo>
                    <a:lnTo>
                      <a:pt x="390" y="5690"/>
                    </a:lnTo>
                    <a:lnTo>
                      <a:pt x="0" y="4252"/>
                    </a:lnTo>
                    <a:lnTo>
                      <a:pt x="909" y="4002"/>
                    </a:lnTo>
                    <a:lnTo>
                      <a:pt x="909" y="2815"/>
                    </a:lnTo>
                    <a:lnTo>
                      <a:pt x="260" y="2502"/>
                    </a:lnTo>
                    <a:lnTo>
                      <a:pt x="1039" y="2190"/>
                    </a:lnTo>
                    <a:lnTo>
                      <a:pt x="3110" y="1942"/>
                    </a:lnTo>
                    <a:lnTo>
                      <a:pt x="2711" y="793"/>
                    </a:lnTo>
                    <a:cubicBezTo>
                      <a:pt x="2668" y="272"/>
                      <a:pt x="3600" y="206"/>
                      <a:pt x="3972" y="0"/>
                    </a:cubicBezTo>
                    <a:lnTo>
                      <a:pt x="5195" y="127"/>
                    </a:lnTo>
                    <a:lnTo>
                      <a:pt x="6364" y="752"/>
                    </a:lnTo>
                    <a:lnTo>
                      <a:pt x="7922" y="127"/>
                    </a:lnTo>
                    <a:lnTo>
                      <a:pt x="8701" y="1252"/>
                    </a:lnTo>
                    <a:lnTo>
                      <a:pt x="8052" y="2315"/>
                    </a:lnTo>
                    <a:lnTo>
                      <a:pt x="8052" y="3127"/>
                    </a:lnTo>
                    <a:lnTo>
                      <a:pt x="9740" y="3127"/>
                    </a:lnTo>
                    <a:lnTo>
                      <a:pt x="8052" y="3815"/>
                    </a:lnTo>
                    <a:lnTo>
                      <a:pt x="8831" y="4315"/>
                    </a:lnTo>
                    <a:lnTo>
                      <a:pt x="8393" y="5632"/>
                    </a:lnTo>
                    <a:lnTo>
                      <a:pt x="7740" y="6160"/>
                    </a:lnTo>
                    <a:lnTo>
                      <a:pt x="7143" y="6502"/>
                    </a:lnTo>
                    <a:lnTo>
                      <a:pt x="8052" y="6627"/>
                    </a:lnTo>
                    <a:cubicBezTo>
                      <a:pt x="7965" y="6835"/>
                      <a:pt x="7879" y="7044"/>
                      <a:pt x="7792" y="7252"/>
                    </a:cubicBezTo>
                    <a:lnTo>
                      <a:pt x="9870" y="7315"/>
                    </a:lnTo>
                    <a:cubicBezTo>
                      <a:pt x="9913" y="7773"/>
                      <a:pt x="9957" y="8232"/>
                      <a:pt x="10000" y="8690"/>
                    </a:cubicBezTo>
                    <a:lnTo>
                      <a:pt x="9221" y="9190"/>
                    </a:lnTo>
                    <a:lnTo>
                      <a:pt x="8831" y="8627"/>
                    </a:lnTo>
                    <a:lnTo>
                      <a:pt x="7662" y="8815"/>
                    </a:lnTo>
                    <a:lnTo>
                      <a:pt x="8182" y="9377"/>
                    </a:lnTo>
                    <a:lnTo>
                      <a:pt x="7143" y="10127"/>
                    </a:lnTo>
                    <a:close/>
                  </a:path>
                </a:pathLst>
              </a:custGeom>
              <a:solidFill>
                <a:srgbClr val="DBEEF4"/>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GB" dirty="0"/>
              </a:p>
            </p:txBody>
          </p:sp>
          <p:sp>
            <p:nvSpPr>
              <p:cNvPr id="55" name="2bD"/>
              <p:cNvSpPr>
                <a:spLocks/>
              </p:cNvSpPr>
              <p:nvPr/>
            </p:nvSpPr>
            <p:spPr bwMode="auto">
              <a:xfrm>
                <a:off x="2288038" y="3796492"/>
                <a:ext cx="41" cy="61"/>
              </a:xfrm>
              <a:custGeom>
                <a:avLst/>
                <a:gdLst>
                  <a:gd name="T0" fmla="*/ 6 w 41"/>
                  <a:gd name="T1" fmla="*/ 61 h 61"/>
                  <a:gd name="T2" fmla="*/ 18 w 41"/>
                  <a:gd name="T3" fmla="*/ 61 h 61"/>
                  <a:gd name="T4" fmla="*/ 22 w 41"/>
                  <a:gd name="T5" fmla="*/ 58 h 61"/>
                  <a:gd name="T6" fmla="*/ 28 w 41"/>
                  <a:gd name="T7" fmla="*/ 59 h 61"/>
                  <a:gd name="T8" fmla="*/ 34 w 41"/>
                  <a:gd name="T9" fmla="*/ 61 h 61"/>
                  <a:gd name="T10" fmla="*/ 35 w 41"/>
                  <a:gd name="T11" fmla="*/ 34 h 61"/>
                  <a:gd name="T12" fmla="*/ 41 w 41"/>
                  <a:gd name="T13" fmla="*/ 6 h 61"/>
                  <a:gd name="T14" fmla="*/ 25 w 41"/>
                  <a:gd name="T15" fmla="*/ 0 h 61"/>
                  <a:gd name="T16" fmla="*/ 25 w 41"/>
                  <a:gd name="T17" fmla="*/ 4 h 61"/>
                  <a:gd name="T18" fmla="*/ 7 w 41"/>
                  <a:gd name="T19" fmla="*/ 21 h 61"/>
                  <a:gd name="T20" fmla="*/ 0 w 41"/>
                  <a:gd name="T21" fmla="*/ 22 h 61"/>
                  <a:gd name="T22" fmla="*/ 1 w 41"/>
                  <a:gd name="T23" fmla="*/ 29 h 61"/>
                  <a:gd name="T24" fmla="*/ 6 w 41"/>
                  <a:gd name="T25" fmla="*/ 30 h 61"/>
                  <a:gd name="T26" fmla="*/ 5 w 41"/>
                  <a:gd name="T27" fmla="*/ 53 h 61"/>
                  <a:gd name="T28" fmla="*/ 0 w 41"/>
                  <a:gd name="T29" fmla="*/ 52 h 61"/>
                  <a:gd name="T30" fmla="*/ 6 w 41"/>
                  <a:gd name="T31" fmla="*/ 61 h 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1"/>
                  <a:gd name="T49" fmla="*/ 0 h 61"/>
                  <a:gd name="T50" fmla="*/ 41 w 41"/>
                  <a:gd name="T51" fmla="*/ 61 h 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1" h="61">
                    <a:moveTo>
                      <a:pt x="6" y="61"/>
                    </a:moveTo>
                    <a:lnTo>
                      <a:pt x="18" y="61"/>
                    </a:lnTo>
                    <a:lnTo>
                      <a:pt x="22" y="58"/>
                    </a:lnTo>
                    <a:lnTo>
                      <a:pt x="28" y="59"/>
                    </a:lnTo>
                    <a:lnTo>
                      <a:pt x="34" y="61"/>
                    </a:lnTo>
                    <a:lnTo>
                      <a:pt x="35" y="34"/>
                    </a:lnTo>
                    <a:lnTo>
                      <a:pt x="41" y="6"/>
                    </a:lnTo>
                    <a:lnTo>
                      <a:pt x="25" y="0"/>
                    </a:lnTo>
                    <a:lnTo>
                      <a:pt x="25" y="4"/>
                    </a:lnTo>
                    <a:lnTo>
                      <a:pt x="7" y="21"/>
                    </a:lnTo>
                    <a:lnTo>
                      <a:pt x="0" y="22"/>
                    </a:lnTo>
                    <a:lnTo>
                      <a:pt x="1" y="29"/>
                    </a:lnTo>
                    <a:lnTo>
                      <a:pt x="6" y="30"/>
                    </a:lnTo>
                    <a:lnTo>
                      <a:pt x="5" y="53"/>
                    </a:lnTo>
                    <a:lnTo>
                      <a:pt x="0" y="52"/>
                    </a:lnTo>
                    <a:lnTo>
                      <a:pt x="6" y="61"/>
                    </a:lnTo>
                    <a:close/>
                  </a:path>
                </a:pathLst>
              </a:custGeom>
              <a:solidFill>
                <a:srgbClr val="DBEEF4"/>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GB" dirty="0"/>
              </a:p>
            </p:txBody>
          </p:sp>
        </p:grpSp>
        <p:sp>
          <p:nvSpPr>
            <p:cNvPr id="50" name="MT"/>
            <p:cNvSpPr>
              <a:spLocks noChangeAspect="1"/>
            </p:cNvSpPr>
            <p:nvPr/>
          </p:nvSpPr>
          <p:spPr bwMode="auto">
            <a:xfrm rot="13083780">
              <a:off x="5983288" y="6127750"/>
              <a:ext cx="142875" cy="46038"/>
            </a:xfrm>
            <a:custGeom>
              <a:avLst/>
              <a:gdLst>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412 w 10000"/>
                <a:gd name="connsiteY21" fmla="*/ 6808 h 14586"/>
                <a:gd name="connsiteX22" fmla="*/ 1897 w 10000"/>
                <a:gd name="connsiteY22" fmla="*/ 5697 h 14586"/>
                <a:gd name="connsiteX23" fmla="*/ 1897 w 10000"/>
                <a:gd name="connsiteY23" fmla="*/ 7919 h 14586"/>
                <a:gd name="connsiteX24" fmla="*/ 1061 w 10000"/>
                <a:gd name="connsiteY24" fmla="*/ 7919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412 w 10000"/>
                <a:gd name="connsiteY21" fmla="*/ 6808 h 14586"/>
                <a:gd name="connsiteX22" fmla="*/ 1176 w 10000"/>
                <a:gd name="connsiteY22" fmla="*/ 0 h 14586"/>
                <a:gd name="connsiteX23" fmla="*/ 1897 w 10000"/>
                <a:gd name="connsiteY23" fmla="*/ 7919 h 14586"/>
                <a:gd name="connsiteX24" fmla="*/ 1061 w 10000"/>
                <a:gd name="connsiteY24" fmla="*/ 7919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353 w 10000"/>
                <a:gd name="connsiteY21" fmla="*/ 1111 h 14586"/>
                <a:gd name="connsiteX22" fmla="*/ 1176 w 10000"/>
                <a:gd name="connsiteY22" fmla="*/ 0 h 14586"/>
                <a:gd name="connsiteX23" fmla="*/ 1897 w 10000"/>
                <a:gd name="connsiteY23" fmla="*/ 7919 h 14586"/>
                <a:gd name="connsiteX24" fmla="*/ 1061 w 10000"/>
                <a:gd name="connsiteY24" fmla="*/ 7919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353 w 10000"/>
                <a:gd name="connsiteY21" fmla="*/ 1111 h 14586"/>
                <a:gd name="connsiteX22" fmla="*/ 1176 w 10000"/>
                <a:gd name="connsiteY22" fmla="*/ 0 h 14586"/>
                <a:gd name="connsiteX23" fmla="*/ 1765 w 10000"/>
                <a:gd name="connsiteY23" fmla="*/ 5281 h 14586"/>
                <a:gd name="connsiteX24" fmla="*/ 1061 w 10000"/>
                <a:gd name="connsiteY24" fmla="*/ 7919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353 w 10000"/>
                <a:gd name="connsiteY21" fmla="*/ 1111 h 14586"/>
                <a:gd name="connsiteX22" fmla="*/ 1176 w 10000"/>
                <a:gd name="connsiteY22" fmla="*/ 0 h 14586"/>
                <a:gd name="connsiteX23" fmla="*/ 1765 w 10000"/>
                <a:gd name="connsiteY23" fmla="*/ 5281 h 14586"/>
                <a:gd name="connsiteX24" fmla="*/ 882 w 10000"/>
                <a:gd name="connsiteY24" fmla="*/ 5976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353 w 10000"/>
                <a:gd name="connsiteY21" fmla="*/ 1111 h 14586"/>
                <a:gd name="connsiteX22" fmla="*/ 1176 w 10000"/>
                <a:gd name="connsiteY22" fmla="*/ 0 h 14586"/>
                <a:gd name="connsiteX23" fmla="*/ 1765 w 10000"/>
                <a:gd name="connsiteY23" fmla="*/ 5281 h 14586"/>
                <a:gd name="connsiteX24" fmla="*/ 882 w 10000"/>
                <a:gd name="connsiteY24" fmla="*/ 5976 h 14586"/>
                <a:gd name="connsiteX25" fmla="*/ 514 w 10000"/>
                <a:gd name="connsiteY25" fmla="*/ 4586 h 14586"/>
                <a:gd name="connsiteX26" fmla="*/ 0 w 10000"/>
                <a:gd name="connsiteY26" fmla="*/ 5281 h 14586"/>
                <a:gd name="connsiteX27" fmla="*/ 0 w 10000"/>
                <a:gd name="connsiteY27" fmla="*/ 7919 h 14586"/>
                <a:gd name="connsiteX0" fmla="*/ 0 w 11176"/>
                <a:gd name="connsiteY0" fmla="*/ 5976 h 14586"/>
                <a:gd name="connsiteX1" fmla="*/ 1433 w 11176"/>
                <a:gd name="connsiteY1" fmla="*/ 12364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2058 w 11176"/>
                <a:gd name="connsiteY24" fmla="*/ 5976 h 14586"/>
                <a:gd name="connsiteX25" fmla="*/ 1690 w 11176"/>
                <a:gd name="connsiteY25" fmla="*/ 4586 h 14586"/>
                <a:gd name="connsiteX26" fmla="*/ 1176 w 11176"/>
                <a:gd name="connsiteY26" fmla="*/ 5281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2058 w 11176"/>
                <a:gd name="connsiteY24" fmla="*/ 5976 h 14586"/>
                <a:gd name="connsiteX25" fmla="*/ 1690 w 11176"/>
                <a:gd name="connsiteY25" fmla="*/ 4586 h 14586"/>
                <a:gd name="connsiteX26" fmla="*/ 1176 w 11176"/>
                <a:gd name="connsiteY26" fmla="*/ 5281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2058 w 11176"/>
                <a:gd name="connsiteY24" fmla="*/ 5976 h 14586"/>
                <a:gd name="connsiteX25" fmla="*/ 1690 w 11176"/>
                <a:gd name="connsiteY25" fmla="*/ 4586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2058 w 11176"/>
                <a:gd name="connsiteY24" fmla="*/ 5976 h 14586"/>
                <a:gd name="connsiteX25" fmla="*/ 1176 w 11176"/>
                <a:gd name="connsiteY25" fmla="*/ 3891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1764 w 11176"/>
                <a:gd name="connsiteY24" fmla="*/ 5281 h 14586"/>
                <a:gd name="connsiteX25" fmla="*/ 1176 w 11176"/>
                <a:gd name="connsiteY25" fmla="*/ 3891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9117 w 11176"/>
                <a:gd name="connsiteY18" fmla="*/ 0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1764 w 11176"/>
                <a:gd name="connsiteY24" fmla="*/ 5281 h 14586"/>
                <a:gd name="connsiteX25" fmla="*/ 1176 w 11176"/>
                <a:gd name="connsiteY25" fmla="*/ 3891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9117 w 11176"/>
                <a:gd name="connsiteY18" fmla="*/ 0 h 14586"/>
                <a:gd name="connsiteX19" fmla="*/ 6764 w 11176"/>
                <a:gd name="connsiteY19" fmla="*/ 1806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1764 w 11176"/>
                <a:gd name="connsiteY24" fmla="*/ 5281 h 14586"/>
                <a:gd name="connsiteX25" fmla="*/ 1176 w 11176"/>
                <a:gd name="connsiteY25" fmla="*/ 3891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8218 w 11176"/>
                <a:gd name="connsiteY16" fmla="*/ 6808 h 14586"/>
                <a:gd name="connsiteX17" fmla="*/ 9117 w 11176"/>
                <a:gd name="connsiteY17" fmla="*/ 0 h 14586"/>
                <a:gd name="connsiteX18" fmla="*/ 6764 w 11176"/>
                <a:gd name="connsiteY18" fmla="*/ 1806 h 14586"/>
                <a:gd name="connsiteX19" fmla="*/ 4705 w 11176"/>
                <a:gd name="connsiteY19" fmla="*/ 1111 h 14586"/>
                <a:gd name="connsiteX20" fmla="*/ 3529 w 11176"/>
                <a:gd name="connsiteY20" fmla="*/ 1111 h 14586"/>
                <a:gd name="connsiteX21" fmla="*/ 2352 w 11176"/>
                <a:gd name="connsiteY21" fmla="*/ 0 h 14586"/>
                <a:gd name="connsiteX22" fmla="*/ 2941 w 11176"/>
                <a:gd name="connsiteY22" fmla="*/ 5281 h 14586"/>
                <a:gd name="connsiteX23" fmla="*/ 1764 w 11176"/>
                <a:gd name="connsiteY23" fmla="*/ 5281 h 14586"/>
                <a:gd name="connsiteX24" fmla="*/ 1176 w 11176"/>
                <a:gd name="connsiteY24" fmla="*/ 3891 h 14586"/>
                <a:gd name="connsiteX25" fmla="*/ 882 w 11176"/>
                <a:gd name="connsiteY25" fmla="*/ 5976 h 14586"/>
                <a:gd name="connsiteX26" fmla="*/ 0 w 11176"/>
                <a:gd name="connsiteY26"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117 w 11176"/>
                <a:gd name="connsiteY16" fmla="*/ 0 h 14586"/>
                <a:gd name="connsiteX17" fmla="*/ 6764 w 11176"/>
                <a:gd name="connsiteY17" fmla="*/ 1806 h 14586"/>
                <a:gd name="connsiteX18" fmla="*/ 4705 w 11176"/>
                <a:gd name="connsiteY18" fmla="*/ 1111 h 14586"/>
                <a:gd name="connsiteX19" fmla="*/ 3529 w 11176"/>
                <a:gd name="connsiteY19" fmla="*/ 1111 h 14586"/>
                <a:gd name="connsiteX20" fmla="*/ 2352 w 11176"/>
                <a:gd name="connsiteY20" fmla="*/ 0 h 14586"/>
                <a:gd name="connsiteX21" fmla="*/ 2941 w 11176"/>
                <a:gd name="connsiteY21" fmla="*/ 5281 h 14586"/>
                <a:gd name="connsiteX22" fmla="*/ 1764 w 11176"/>
                <a:gd name="connsiteY22" fmla="*/ 5281 h 14586"/>
                <a:gd name="connsiteX23" fmla="*/ 1176 w 11176"/>
                <a:gd name="connsiteY23" fmla="*/ 3891 h 14586"/>
                <a:gd name="connsiteX24" fmla="*/ 882 w 11176"/>
                <a:gd name="connsiteY24" fmla="*/ 5976 h 14586"/>
                <a:gd name="connsiteX25" fmla="*/ 0 w 11176"/>
                <a:gd name="connsiteY25"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117 w 11176"/>
                <a:gd name="connsiteY15" fmla="*/ 0 h 14586"/>
                <a:gd name="connsiteX16" fmla="*/ 6764 w 11176"/>
                <a:gd name="connsiteY16" fmla="*/ 1806 h 14586"/>
                <a:gd name="connsiteX17" fmla="*/ 4705 w 11176"/>
                <a:gd name="connsiteY17" fmla="*/ 1111 h 14586"/>
                <a:gd name="connsiteX18" fmla="*/ 3529 w 11176"/>
                <a:gd name="connsiteY18" fmla="*/ 1111 h 14586"/>
                <a:gd name="connsiteX19" fmla="*/ 2352 w 11176"/>
                <a:gd name="connsiteY19" fmla="*/ 0 h 14586"/>
                <a:gd name="connsiteX20" fmla="*/ 2941 w 11176"/>
                <a:gd name="connsiteY20" fmla="*/ 5281 h 14586"/>
                <a:gd name="connsiteX21" fmla="*/ 1764 w 11176"/>
                <a:gd name="connsiteY21" fmla="*/ 5281 h 14586"/>
                <a:gd name="connsiteX22" fmla="*/ 1176 w 11176"/>
                <a:gd name="connsiteY22" fmla="*/ 3891 h 14586"/>
                <a:gd name="connsiteX23" fmla="*/ 882 w 11176"/>
                <a:gd name="connsiteY23" fmla="*/ 5976 h 14586"/>
                <a:gd name="connsiteX24" fmla="*/ 0 w 11176"/>
                <a:gd name="connsiteY24" fmla="*/ 5976 h 14586"/>
                <a:gd name="connsiteX0" fmla="*/ 0 w 13823"/>
                <a:gd name="connsiteY0" fmla="*/ 10981 h 19591"/>
                <a:gd name="connsiteX1" fmla="*/ 588 w 13823"/>
                <a:gd name="connsiteY1" fmla="*/ 17932 h 19591"/>
                <a:gd name="connsiteX2" fmla="*/ 2237 w 13823"/>
                <a:gd name="connsiteY2" fmla="*/ 18480 h 19591"/>
                <a:gd name="connsiteX3" fmla="*/ 3330 w 13823"/>
                <a:gd name="connsiteY3" fmla="*/ 18480 h 19591"/>
                <a:gd name="connsiteX4" fmla="*/ 5227 w 13823"/>
                <a:gd name="connsiteY4" fmla="*/ 17369 h 19591"/>
                <a:gd name="connsiteX5" fmla="*/ 5774 w 13823"/>
                <a:gd name="connsiteY5" fmla="*/ 17369 h 19591"/>
                <a:gd name="connsiteX6" fmla="*/ 5774 w 13823"/>
                <a:gd name="connsiteY6" fmla="*/ 19591 h 19591"/>
                <a:gd name="connsiteX7" fmla="*/ 7382 w 13823"/>
                <a:gd name="connsiteY7" fmla="*/ 19591 h 19591"/>
                <a:gd name="connsiteX8" fmla="*/ 8218 w 13823"/>
                <a:gd name="connsiteY8" fmla="*/ 17369 h 19591"/>
                <a:gd name="connsiteX9" fmla="*/ 9279 w 13823"/>
                <a:gd name="connsiteY9" fmla="*/ 17369 h 19591"/>
                <a:gd name="connsiteX10" fmla="*/ 10115 w 13823"/>
                <a:gd name="connsiteY10" fmla="*/ 15147 h 19591"/>
                <a:gd name="connsiteX11" fmla="*/ 11176 w 13823"/>
                <a:gd name="connsiteY11" fmla="*/ 14035 h 19591"/>
                <a:gd name="connsiteX12" fmla="*/ 11176 w 13823"/>
                <a:gd name="connsiteY12" fmla="*/ 9591 h 19591"/>
                <a:gd name="connsiteX13" fmla="*/ 10372 w 13823"/>
                <a:gd name="connsiteY13" fmla="*/ 11813 h 19591"/>
                <a:gd name="connsiteX14" fmla="*/ 13823 w 13823"/>
                <a:gd name="connsiteY14" fmla="*/ 2640 h 19591"/>
                <a:gd name="connsiteX15" fmla="*/ 9117 w 13823"/>
                <a:gd name="connsiteY15" fmla="*/ 5005 h 19591"/>
                <a:gd name="connsiteX16" fmla="*/ 6764 w 13823"/>
                <a:gd name="connsiteY16" fmla="*/ 6811 h 19591"/>
                <a:gd name="connsiteX17" fmla="*/ 4705 w 13823"/>
                <a:gd name="connsiteY17" fmla="*/ 6116 h 19591"/>
                <a:gd name="connsiteX18" fmla="*/ 3529 w 13823"/>
                <a:gd name="connsiteY18" fmla="*/ 6116 h 19591"/>
                <a:gd name="connsiteX19" fmla="*/ 2352 w 13823"/>
                <a:gd name="connsiteY19" fmla="*/ 5005 h 19591"/>
                <a:gd name="connsiteX20" fmla="*/ 2941 w 13823"/>
                <a:gd name="connsiteY20" fmla="*/ 10286 h 19591"/>
                <a:gd name="connsiteX21" fmla="*/ 1764 w 13823"/>
                <a:gd name="connsiteY21" fmla="*/ 10286 h 19591"/>
                <a:gd name="connsiteX22" fmla="*/ 1176 w 13823"/>
                <a:gd name="connsiteY22" fmla="*/ 8896 h 19591"/>
                <a:gd name="connsiteX23" fmla="*/ 882 w 13823"/>
                <a:gd name="connsiteY23" fmla="*/ 10981 h 19591"/>
                <a:gd name="connsiteX24" fmla="*/ 0 w 13823"/>
                <a:gd name="connsiteY24" fmla="*/ 10981 h 19591"/>
                <a:gd name="connsiteX0" fmla="*/ 0 w 14705"/>
                <a:gd name="connsiteY0" fmla="*/ 10981 h 19591"/>
                <a:gd name="connsiteX1" fmla="*/ 588 w 14705"/>
                <a:gd name="connsiteY1" fmla="*/ 17932 h 19591"/>
                <a:gd name="connsiteX2" fmla="*/ 2237 w 14705"/>
                <a:gd name="connsiteY2" fmla="*/ 18480 h 19591"/>
                <a:gd name="connsiteX3" fmla="*/ 3330 w 14705"/>
                <a:gd name="connsiteY3" fmla="*/ 18480 h 19591"/>
                <a:gd name="connsiteX4" fmla="*/ 5227 w 14705"/>
                <a:gd name="connsiteY4" fmla="*/ 17369 h 19591"/>
                <a:gd name="connsiteX5" fmla="*/ 5774 w 14705"/>
                <a:gd name="connsiteY5" fmla="*/ 17369 h 19591"/>
                <a:gd name="connsiteX6" fmla="*/ 5774 w 14705"/>
                <a:gd name="connsiteY6" fmla="*/ 19591 h 19591"/>
                <a:gd name="connsiteX7" fmla="*/ 7382 w 14705"/>
                <a:gd name="connsiteY7" fmla="*/ 19591 h 19591"/>
                <a:gd name="connsiteX8" fmla="*/ 8218 w 14705"/>
                <a:gd name="connsiteY8" fmla="*/ 17369 h 19591"/>
                <a:gd name="connsiteX9" fmla="*/ 9279 w 14705"/>
                <a:gd name="connsiteY9" fmla="*/ 17369 h 19591"/>
                <a:gd name="connsiteX10" fmla="*/ 10115 w 14705"/>
                <a:gd name="connsiteY10" fmla="*/ 15147 h 19591"/>
                <a:gd name="connsiteX11" fmla="*/ 11176 w 14705"/>
                <a:gd name="connsiteY11" fmla="*/ 14035 h 19591"/>
                <a:gd name="connsiteX12" fmla="*/ 11176 w 14705"/>
                <a:gd name="connsiteY12" fmla="*/ 9591 h 19591"/>
                <a:gd name="connsiteX13" fmla="*/ 14705 w 14705"/>
                <a:gd name="connsiteY13" fmla="*/ 1945 h 19591"/>
                <a:gd name="connsiteX14" fmla="*/ 13823 w 14705"/>
                <a:gd name="connsiteY14" fmla="*/ 2640 h 19591"/>
                <a:gd name="connsiteX15" fmla="*/ 9117 w 14705"/>
                <a:gd name="connsiteY15" fmla="*/ 5005 h 19591"/>
                <a:gd name="connsiteX16" fmla="*/ 6764 w 14705"/>
                <a:gd name="connsiteY16" fmla="*/ 6811 h 19591"/>
                <a:gd name="connsiteX17" fmla="*/ 4705 w 14705"/>
                <a:gd name="connsiteY17" fmla="*/ 6116 h 19591"/>
                <a:gd name="connsiteX18" fmla="*/ 3529 w 14705"/>
                <a:gd name="connsiteY18" fmla="*/ 6116 h 19591"/>
                <a:gd name="connsiteX19" fmla="*/ 2352 w 14705"/>
                <a:gd name="connsiteY19" fmla="*/ 5005 h 19591"/>
                <a:gd name="connsiteX20" fmla="*/ 2941 w 14705"/>
                <a:gd name="connsiteY20" fmla="*/ 10286 h 19591"/>
                <a:gd name="connsiteX21" fmla="*/ 1764 w 14705"/>
                <a:gd name="connsiteY21" fmla="*/ 10286 h 19591"/>
                <a:gd name="connsiteX22" fmla="*/ 1176 w 14705"/>
                <a:gd name="connsiteY22" fmla="*/ 8896 h 19591"/>
                <a:gd name="connsiteX23" fmla="*/ 882 w 14705"/>
                <a:gd name="connsiteY23" fmla="*/ 10981 h 19591"/>
                <a:gd name="connsiteX24" fmla="*/ 0 w 14705"/>
                <a:gd name="connsiteY24" fmla="*/ 10981 h 19591"/>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8218 w 14705"/>
                <a:gd name="connsiteY8" fmla="*/ 15424 h 17646"/>
                <a:gd name="connsiteX9" fmla="*/ 9279 w 14705"/>
                <a:gd name="connsiteY9" fmla="*/ 15424 h 17646"/>
                <a:gd name="connsiteX10" fmla="*/ 10115 w 14705"/>
                <a:gd name="connsiteY10" fmla="*/ 13202 h 17646"/>
                <a:gd name="connsiteX11" fmla="*/ 11176 w 14705"/>
                <a:gd name="connsiteY11" fmla="*/ 12090 h 17646"/>
                <a:gd name="connsiteX12" fmla="*/ 11176 w 14705"/>
                <a:gd name="connsiteY12" fmla="*/ 7646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8218 w 14705"/>
                <a:gd name="connsiteY8" fmla="*/ 15424 h 17646"/>
                <a:gd name="connsiteX9" fmla="*/ 9279 w 14705"/>
                <a:gd name="connsiteY9" fmla="*/ 15424 h 17646"/>
                <a:gd name="connsiteX10" fmla="*/ 10115 w 14705"/>
                <a:gd name="connsiteY10" fmla="*/ 13202 h 17646"/>
                <a:gd name="connsiteX11" fmla="*/ 11176 w 14705"/>
                <a:gd name="connsiteY11" fmla="*/ 12090 h 17646"/>
                <a:gd name="connsiteX12" fmla="*/ 11176 w 14705"/>
                <a:gd name="connsiteY12" fmla="*/ 7646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8218 w 14705"/>
                <a:gd name="connsiteY8" fmla="*/ 15424 h 17646"/>
                <a:gd name="connsiteX9" fmla="*/ 9279 w 14705"/>
                <a:gd name="connsiteY9" fmla="*/ 15424 h 17646"/>
                <a:gd name="connsiteX10" fmla="*/ 10115 w 14705"/>
                <a:gd name="connsiteY10" fmla="*/ 13202 h 17646"/>
                <a:gd name="connsiteX11" fmla="*/ 11176 w 14705"/>
                <a:gd name="connsiteY11" fmla="*/ 12090 h 17646"/>
                <a:gd name="connsiteX12" fmla="*/ 14705 w 14705"/>
                <a:gd name="connsiteY12" fmla="*/ 1390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8218 w 14705"/>
                <a:gd name="connsiteY8" fmla="*/ 15424 h 17646"/>
                <a:gd name="connsiteX9" fmla="*/ 9279 w 14705"/>
                <a:gd name="connsiteY9" fmla="*/ 15424 h 17646"/>
                <a:gd name="connsiteX10" fmla="*/ 10115 w 14705"/>
                <a:gd name="connsiteY10" fmla="*/ 13202 h 17646"/>
                <a:gd name="connsiteX11" fmla="*/ 9411 w 14705"/>
                <a:gd name="connsiteY11" fmla="*/ 6256 h 17646"/>
                <a:gd name="connsiteX12" fmla="*/ 14705 w 14705"/>
                <a:gd name="connsiteY12" fmla="*/ 1390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7058 w 14705"/>
                <a:gd name="connsiteY8" fmla="*/ 14680 h 17646"/>
                <a:gd name="connsiteX9" fmla="*/ 9279 w 14705"/>
                <a:gd name="connsiteY9" fmla="*/ 15424 h 17646"/>
                <a:gd name="connsiteX10" fmla="*/ 10115 w 14705"/>
                <a:gd name="connsiteY10" fmla="*/ 13202 h 17646"/>
                <a:gd name="connsiteX11" fmla="*/ 9411 w 14705"/>
                <a:gd name="connsiteY11" fmla="*/ 6256 h 17646"/>
                <a:gd name="connsiteX12" fmla="*/ 14705 w 14705"/>
                <a:gd name="connsiteY12" fmla="*/ 1390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5227 w 14705"/>
                <a:gd name="connsiteY4" fmla="*/ 15424 h 18767"/>
                <a:gd name="connsiteX5" fmla="*/ 5774 w 14705"/>
                <a:gd name="connsiteY5" fmla="*/ 15424 h 18767"/>
                <a:gd name="connsiteX6" fmla="*/ 5774 w 14705"/>
                <a:gd name="connsiteY6" fmla="*/ 17646 h 18767"/>
                <a:gd name="connsiteX7" fmla="*/ 7382 w 14705"/>
                <a:gd name="connsiteY7" fmla="*/ 17646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5774 w 14705"/>
                <a:gd name="connsiteY5" fmla="*/ 15424 h 18767"/>
                <a:gd name="connsiteX6" fmla="*/ 5774 w 14705"/>
                <a:gd name="connsiteY6" fmla="*/ 17646 h 18767"/>
                <a:gd name="connsiteX7" fmla="*/ 7382 w 14705"/>
                <a:gd name="connsiteY7" fmla="*/ 17646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3823 w 14705"/>
                <a:gd name="connsiteY5" fmla="*/ 15987 h 18767"/>
                <a:gd name="connsiteX6" fmla="*/ 5774 w 14705"/>
                <a:gd name="connsiteY6" fmla="*/ 17646 h 18767"/>
                <a:gd name="connsiteX7" fmla="*/ 7382 w 14705"/>
                <a:gd name="connsiteY7" fmla="*/ 17646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3823 w 14705"/>
                <a:gd name="connsiteY5" fmla="*/ 15987 h 18767"/>
                <a:gd name="connsiteX6" fmla="*/ 5588 w 14705"/>
                <a:gd name="connsiteY6" fmla="*/ 16682 h 18767"/>
                <a:gd name="connsiteX7" fmla="*/ 7382 w 14705"/>
                <a:gd name="connsiteY7" fmla="*/ 17646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3823 w 14705"/>
                <a:gd name="connsiteY5" fmla="*/ 15987 h 18767"/>
                <a:gd name="connsiteX6" fmla="*/ 5588 w 14705"/>
                <a:gd name="connsiteY6" fmla="*/ 16682 h 18767"/>
                <a:gd name="connsiteX7" fmla="*/ 6764 w 14705"/>
                <a:gd name="connsiteY7" fmla="*/ 15987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3823 w 14705"/>
                <a:gd name="connsiteY5" fmla="*/ 15987 h 18767"/>
                <a:gd name="connsiteX6" fmla="*/ 5588 w 14705"/>
                <a:gd name="connsiteY6" fmla="*/ 16682 h 18767"/>
                <a:gd name="connsiteX7" fmla="*/ 6764 w 14705"/>
                <a:gd name="connsiteY7" fmla="*/ 15987 h 18767"/>
                <a:gd name="connsiteX8" fmla="*/ 7647 w 14705"/>
                <a:gd name="connsiteY8" fmla="*/ 13207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7646 h 17377"/>
                <a:gd name="connsiteX1" fmla="*/ 588 w 14705"/>
                <a:gd name="connsiteY1" fmla="*/ 14597 h 17377"/>
                <a:gd name="connsiteX2" fmla="*/ 2237 w 14705"/>
                <a:gd name="connsiteY2" fmla="*/ 15145 h 17377"/>
                <a:gd name="connsiteX3" fmla="*/ 2058 w 14705"/>
                <a:gd name="connsiteY3" fmla="*/ 17377 h 17377"/>
                <a:gd name="connsiteX4" fmla="*/ 3529 w 14705"/>
                <a:gd name="connsiteY4" fmla="*/ 17377 h 17377"/>
                <a:gd name="connsiteX5" fmla="*/ 3823 w 14705"/>
                <a:gd name="connsiteY5" fmla="*/ 14597 h 17377"/>
                <a:gd name="connsiteX6" fmla="*/ 5588 w 14705"/>
                <a:gd name="connsiteY6" fmla="*/ 15292 h 17377"/>
                <a:gd name="connsiteX7" fmla="*/ 6764 w 14705"/>
                <a:gd name="connsiteY7" fmla="*/ 14597 h 17377"/>
                <a:gd name="connsiteX8" fmla="*/ 7647 w 14705"/>
                <a:gd name="connsiteY8" fmla="*/ 11817 h 17377"/>
                <a:gd name="connsiteX9" fmla="*/ 9279 w 14705"/>
                <a:gd name="connsiteY9" fmla="*/ 14034 h 17377"/>
                <a:gd name="connsiteX10" fmla="*/ 10115 w 14705"/>
                <a:gd name="connsiteY10" fmla="*/ 11812 h 17377"/>
                <a:gd name="connsiteX11" fmla="*/ 9411 w 14705"/>
                <a:gd name="connsiteY11" fmla="*/ 4866 h 17377"/>
                <a:gd name="connsiteX12" fmla="*/ 14705 w 14705"/>
                <a:gd name="connsiteY12" fmla="*/ 0 h 17377"/>
                <a:gd name="connsiteX13" fmla="*/ 7865 w 14705"/>
                <a:gd name="connsiteY13" fmla="*/ 9989 h 17377"/>
                <a:gd name="connsiteX14" fmla="*/ 9117 w 14705"/>
                <a:gd name="connsiteY14" fmla="*/ 1670 h 17377"/>
                <a:gd name="connsiteX15" fmla="*/ 6764 w 14705"/>
                <a:gd name="connsiteY15" fmla="*/ 3476 h 17377"/>
                <a:gd name="connsiteX16" fmla="*/ 4705 w 14705"/>
                <a:gd name="connsiteY16" fmla="*/ 2781 h 17377"/>
                <a:gd name="connsiteX17" fmla="*/ 3529 w 14705"/>
                <a:gd name="connsiteY17" fmla="*/ 2781 h 17377"/>
                <a:gd name="connsiteX18" fmla="*/ 2352 w 14705"/>
                <a:gd name="connsiteY18" fmla="*/ 1670 h 17377"/>
                <a:gd name="connsiteX19" fmla="*/ 2941 w 14705"/>
                <a:gd name="connsiteY19" fmla="*/ 6951 h 17377"/>
                <a:gd name="connsiteX20" fmla="*/ 1764 w 14705"/>
                <a:gd name="connsiteY20" fmla="*/ 6951 h 17377"/>
                <a:gd name="connsiteX21" fmla="*/ 1176 w 14705"/>
                <a:gd name="connsiteY21" fmla="*/ 5561 h 17377"/>
                <a:gd name="connsiteX22" fmla="*/ 882 w 14705"/>
                <a:gd name="connsiteY22" fmla="*/ 7646 h 17377"/>
                <a:gd name="connsiteX23" fmla="*/ 0 w 14705"/>
                <a:gd name="connsiteY23" fmla="*/ 7646 h 17377"/>
                <a:gd name="connsiteX0" fmla="*/ 0 w 10115"/>
                <a:gd name="connsiteY0" fmla="*/ 5976 h 15707"/>
                <a:gd name="connsiteX1" fmla="*/ 588 w 10115"/>
                <a:gd name="connsiteY1" fmla="*/ 12927 h 15707"/>
                <a:gd name="connsiteX2" fmla="*/ 2237 w 10115"/>
                <a:gd name="connsiteY2" fmla="*/ 13475 h 15707"/>
                <a:gd name="connsiteX3" fmla="*/ 2058 w 10115"/>
                <a:gd name="connsiteY3" fmla="*/ 15707 h 15707"/>
                <a:gd name="connsiteX4" fmla="*/ 3529 w 10115"/>
                <a:gd name="connsiteY4" fmla="*/ 15707 h 15707"/>
                <a:gd name="connsiteX5" fmla="*/ 3823 w 10115"/>
                <a:gd name="connsiteY5" fmla="*/ 12927 h 15707"/>
                <a:gd name="connsiteX6" fmla="*/ 5588 w 10115"/>
                <a:gd name="connsiteY6" fmla="*/ 13622 h 15707"/>
                <a:gd name="connsiteX7" fmla="*/ 6764 w 10115"/>
                <a:gd name="connsiteY7" fmla="*/ 12927 h 15707"/>
                <a:gd name="connsiteX8" fmla="*/ 7647 w 10115"/>
                <a:gd name="connsiteY8" fmla="*/ 10147 h 15707"/>
                <a:gd name="connsiteX9" fmla="*/ 9279 w 10115"/>
                <a:gd name="connsiteY9" fmla="*/ 12364 h 15707"/>
                <a:gd name="connsiteX10" fmla="*/ 10115 w 10115"/>
                <a:gd name="connsiteY10" fmla="*/ 10142 h 15707"/>
                <a:gd name="connsiteX11" fmla="*/ 9411 w 10115"/>
                <a:gd name="connsiteY11" fmla="*/ 3196 h 15707"/>
                <a:gd name="connsiteX12" fmla="*/ 7512 w 10115"/>
                <a:gd name="connsiteY12" fmla="*/ 7519 h 15707"/>
                <a:gd name="connsiteX13" fmla="*/ 7865 w 10115"/>
                <a:gd name="connsiteY13" fmla="*/ 8319 h 15707"/>
                <a:gd name="connsiteX14" fmla="*/ 9117 w 10115"/>
                <a:gd name="connsiteY14" fmla="*/ 0 h 15707"/>
                <a:gd name="connsiteX15" fmla="*/ 6764 w 10115"/>
                <a:gd name="connsiteY15" fmla="*/ 1806 h 15707"/>
                <a:gd name="connsiteX16" fmla="*/ 4705 w 10115"/>
                <a:gd name="connsiteY16" fmla="*/ 1111 h 15707"/>
                <a:gd name="connsiteX17" fmla="*/ 3529 w 10115"/>
                <a:gd name="connsiteY17" fmla="*/ 1111 h 15707"/>
                <a:gd name="connsiteX18" fmla="*/ 2352 w 10115"/>
                <a:gd name="connsiteY18" fmla="*/ 0 h 15707"/>
                <a:gd name="connsiteX19" fmla="*/ 2941 w 10115"/>
                <a:gd name="connsiteY19" fmla="*/ 5281 h 15707"/>
                <a:gd name="connsiteX20" fmla="*/ 1764 w 10115"/>
                <a:gd name="connsiteY20" fmla="*/ 5281 h 15707"/>
                <a:gd name="connsiteX21" fmla="*/ 1176 w 10115"/>
                <a:gd name="connsiteY21" fmla="*/ 3891 h 15707"/>
                <a:gd name="connsiteX22" fmla="*/ 882 w 10115"/>
                <a:gd name="connsiteY22" fmla="*/ 5976 h 15707"/>
                <a:gd name="connsiteX23" fmla="*/ 0 w 10115"/>
                <a:gd name="connsiteY23" fmla="*/ 5976 h 15707"/>
                <a:gd name="connsiteX0" fmla="*/ 0 w 10115"/>
                <a:gd name="connsiteY0" fmla="*/ 5976 h 15707"/>
                <a:gd name="connsiteX1" fmla="*/ 588 w 10115"/>
                <a:gd name="connsiteY1" fmla="*/ 12927 h 15707"/>
                <a:gd name="connsiteX2" fmla="*/ 2237 w 10115"/>
                <a:gd name="connsiteY2" fmla="*/ 13475 h 15707"/>
                <a:gd name="connsiteX3" fmla="*/ 2058 w 10115"/>
                <a:gd name="connsiteY3" fmla="*/ 15707 h 15707"/>
                <a:gd name="connsiteX4" fmla="*/ 3529 w 10115"/>
                <a:gd name="connsiteY4" fmla="*/ 15707 h 15707"/>
                <a:gd name="connsiteX5" fmla="*/ 3823 w 10115"/>
                <a:gd name="connsiteY5" fmla="*/ 12927 h 15707"/>
                <a:gd name="connsiteX6" fmla="*/ 5588 w 10115"/>
                <a:gd name="connsiteY6" fmla="*/ 13622 h 15707"/>
                <a:gd name="connsiteX7" fmla="*/ 6764 w 10115"/>
                <a:gd name="connsiteY7" fmla="*/ 12927 h 15707"/>
                <a:gd name="connsiteX8" fmla="*/ 7647 w 10115"/>
                <a:gd name="connsiteY8" fmla="*/ 10147 h 15707"/>
                <a:gd name="connsiteX9" fmla="*/ 9279 w 10115"/>
                <a:gd name="connsiteY9" fmla="*/ 12364 h 15707"/>
                <a:gd name="connsiteX10" fmla="*/ 10115 w 10115"/>
                <a:gd name="connsiteY10" fmla="*/ 10142 h 15707"/>
                <a:gd name="connsiteX11" fmla="*/ 9411 w 10115"/>
                <a:gd name="connsiteY11" fmla="*/ 3196 h 15707"/>
                <a:gd name="connsiteX12" fmla="*/ 7512 w 10115"/>
                <a:gd name="connsiteY12" fmla="*/ 7519 h 15707"/>
                <a:gd name="connsiteX13" fmla="*/ 7865 w 10115"/>
                <a:gd name="connsiteY13" fmla="*/ 8319 h 15707"/>
                <a:gd name="connsiteX14" fmla="*/ 7141 w 10115"/>
                <a:gd name="connsiteY14" fmla="*/ 5261 h 15707"/>
                <a:gd name="connsiteX15" fmla="*/ 6764 w 10115"/>
                <a:gd name="connsiteY15" fmla="*/ 1806 h 15707"/>
                <a:gd name="connsiteX16" fmla="*/ 4705 w 10115"/>
                <a:gd name="connsiteY16" fmla="*/ 1111 h 15707"/>
                <a:gd name="connsiteX17" fmla="*/ 3529 w 10115"/>
                <a:gd name="connsiteY17" fmla="*/ 1111 h 15707"/>
                <a:gd name="connsiteX18" fmla="*/ 2352 w 10115"/>
                <a:gd name="connsiteY18" fmla="*/ 0 h 15707"/>
                <a:gd name="connsiteX19" fmla="*/ 2941 w 10115"/>
                <a:gd name="connsiteY19" fmla="*/ 5281 h 15707"/>
                <a:gd name="connsiteX20" fmla="*/ 1764 w 10115"/>
                <a:gd name="connsiteY20" fmla="*/ 5281 h 15707"/>
                <a:gd name="connsiteX21" fmla="*/ 1176 w 10115"/>
                <a:gd name="connsiteY21" fmla="*/ 3891 h 15707"/>
                <a:gd name="connsiteX22" fmla="*/ 882 w 10115"/>
                <a:gd name="connsiteY22" fmla="*/ 5976 h 15707"/>
                <a:gd name="connsiteX23" fmla="*/ 0 w 10115"/>
                <a:gd name="connsiteY23" fmla="*/ 5976 h 15707"/>
                <a:gd name="connsiteX0" fmla="*/ 0 w 10115"/>
                <a:gd name="connsiteY0" fmla="*/ 5976 h 15707"/>
                <a:gd name="connsiteX1" fmla="*/ 588 w 10115"/>
                <a:gd name="connsiteY1" fmla="*/ 12927 h 15707"/>
                <a:gd name="connsiteX2" fmla="*/ 2237 w 10115"/>
                <a:gd name="connsiteY2" fmla="*/ 13475 h 15707"/>
                <a:gd name="connsiteX3" fmla="*/ 2058 w 10115"/>
                <a:gd name="connsiteY3" fmla="*/ 15707 h 15707"/>
                <a:gd name="connsiteX4" fmla="*/ 3529 w 10115"/>
                <a:gd name="connsiteY4" fmla="*/ 15707 h 15707"/>
                <a:gd name="connsiteX5" fmla="*/ 3823 w 10115"/>
                <a:gd name="connsiteY5" fmla="*/ 12927 h 15707"/>
                <a:gd name="connsiteX6" fmla="*/ 5588 w 10115"/>
                <a:gd name="connsiteY6" fmla="*/ 13622 h 15707"/>
                <a:gd name="connsiteX7" fmla="*/ 6764 w 10115"/>
                <a:gd name="connsiteY7" fmla="*/ 12927 h 15707"/>
                <a:gd name="connsiteX8" fmla="*/ 7647 w 10115"/>
                <a:gd name="connsiteY8" fmla="*/ 10147 h 15707"/>
                <a:gd name="connsiteX9" fmla="*/ 9279 w 10115"/>
                <a:gd name="connsiteY9" fmla="*/ 12364 h 15707"/>
                <a:gd name="connsiteX10" fmla="*/ 10115 w 10115"/>
                <a:gd name="connsiteY10" fmla="*/ 10142 h 15707"/>
                <a:gd name="connsiteX11" fmla="*/ 9411 w 10115"/>
                <a:gd name="connsiteY11" fmla="*/ 3196 h 15707"/>
                <a:gd name="connsiteX12" fmla="*/ 7512 w 10115"/>
                <a:gd name="connsiteY12" fmla="*/ 7519 h 15707"/>
                <a:gd name="connsiteX13" fmla="*/ 7865 w 10115"/>
                <a:gd name="connsiteY13" fmla="*/ 8319 h 15707"/>
                <a:gd name="connsiteX14" fmla="*/ 7141 w 10115"/>
                <a:gd name="connsiteY14" fmla="*/ 5261 h 15707"/>
                <a:gd name="connsiteX15" fmla="*/ 6764 w 10115"/>
                <a:gd name="connsiteY15" fmla="*/ 1806 h 15707"/>
                <a:gd name="connsiteX16" fmla="*/ 5649 w 10115"/>
                <a:gd name="connsiteY16" fmla="*/ 4011 h 15707"/>
                <a:gd name="connsiteX17" fmla="*/ 4705 w 10115"/>
                <a:gd name="connsiteY17" fmla="*/ 1111 h 15707"/>
                <a:gd name="connsiteX18" fmla="*/ 3529 w 10115"/>
                <a:gd name="connsiteY18" fmla="*/ 1111 h 15707"/>
                <a:gd name="connsiteX19" fmla="*/ 2352 w 10115"/>
                <a:gd name="connsiteY19" fmla="*/ 0 h 15707"/>
                <a:gd name="connsiteX20" fmla="*/ 2941 w 10115"/>
                <a:gd name="connsiteY20" fmla="*/ 5281 h 15707"/>
                <a:gd name="connsiteX21" fmla="*/ 1764 w 10115"/>
                <a:gd name="connsiteY21" fmla="*/ 5281 h 15707"/>
                <a:gd name="connsiteX22" fmla="*/ 1176 w 10115"/>
                <a:gd name="connsiteY22" fmla="*/ 3891 h 15707"/>
                <a:gd name="connsiteX23" fmla="*/ 882 w 10115"/>
                <a:gd name="connsiteY23" fmla="*/ 5976 h 15707"/>
                <a:gd name="connsiteX24" fmla="*/ 0 w 10115"/>
                <a:gd name="connsiteY24" fmla="*/ 5976 h 15707"/>
                <a:gd name="connsiteX0" fmla="*/ 0 w 10115"/>
                <a:gd name="connsiteY0" fmla="*/ 5976 h 15707"/>
                <a:gd name="connsiteX1" fmla="*/ 2554 w 10115"/>
                <a:gd name="connsiteY1" fmla="*/ 13317 h 15707"/>
                <a:gd name="connsiteX2" fmla="*/ 2237 w 10115"/>
                <a:gd name="connsiteY2" fmla="*/ 13475 h 15707"/>
                <a:gd name="connsiteX3" fmla="*/ 2058 w 10115"/>
                <a:gd name="connsiteY3" fmla="*/ 15707 h 15707"/>
                <a:gd name="connsiteX4" fmla="*/ 3529 w 10115"/>
                <a:gd name="connsiteY4" fmla="*/ 15707 h 15707"/>
                <a:gd name="connsiteX5" fmla="*/ 3823 w 10115"/>
                <a:gd name="connsiteY5" fmla="*/ 12927 h 15707"/>
                <a:gd name="connsiteX6" fmla="*/ 5588 w 10115"/>
                <a:gd name="connsiteY6" fmla="*/ 13622 h 15707"/>
                <a:gd name="connsiteX7" fmla="*/ 6764 w 10115"/>
                <a:gd name="connsiteY7" fmla="*/ 12927 h 15707"/>
                <a:gd name="connsiteX8" fmla="*/ 7647 w 10115"/>
                <a:gd name="connsiteY8" fmla="*/ 10147 h 15707"/>
                <a:gd name="connsiteX9" fmla="*/ 9279 w 10115"/>
                <a:gd name="connsiteY9" fmla="*/ 12364 h 15707"/>
                <a:gd name="connsiteX10" fmla="*/ 10115 w 10115"/>
                <a:gd name="connsiteY10" fmla="*/ 10142 h 15707"/>
                <a:gd name="connsiteX11" fmla="*/ 9411 w 10115"/>
                <a:gd name="connsiteY11" fmla="*/ 3196 h 15707"/>
                <a:gd name="connsiteX12" fmla="*/ 7512 w 10115"/>
                <a:gd name="connsiteY12" fmla="*/ 7519 h 15707"/>
                <a:gd name="connsiteX13" fmla="*/ 7865 w 10115"/>
                <a:gd name="connsiteY13" fmla="*/ 8319 h 15707"/>
                <a:gd name="connsiteX14" fmla="*/ 7141 w 10115"/>
                <a:gd name="connsiteY14" fmla="*/ 5261 h 15707"/>
                <a:gd name="connsiteX15" fmla="*/ 6764 w 10115"/>
                <a:gd name="connsiteY15" fmla="*/ 1806 h 15707"/>
                <a:gd name="connsiteX16" fmla="*/ 5649 w 10115"/>
                <a:gd name="connsiteY16" fmla="*/ 4011 h 15707"/>
                <a:gd name="connsiteX17" fmla="*/ 4705 w 10115"/>
                <a:gd name="connsiteY17" fmla="*/ 1111 h 15707"/>
                <a:gd name="connsiteX18" fmla="*/ 3529 w 10115"/>
                <a:gd name="connsiteY18" fmla="*/ 1111 h 15707"/>
                <a:gd name="connsiteX19" fmla="*/ 2352 w 10115"/>
                <a:gd name="connsiteY19" fmla="*/ 0 h 15707"/>
                <a:gd name="connsiteX20" fmla="*/ 2941 w 10115"/>
                <a:gd name="connsiteY20" fmla="*/ 5281 h 15707"/>
                <a:gd name="connsiteX21" fmla="*/ 1764 w 10115"/>
                <a:gd name="connsiteY21" fmla="*/ 5281 h 15707"/>
                <a:gd name="connsiteX22" fmla="*/ 1176 w 10115"/>
                <a:gd name="connsiteY22" fmla="*/ 3891 h 15707"/>
                <a:gd name="connsiteX23" fmla="*/ 882 w 10115"/>
                <a:gd name="connsiteY23" fmla="*/ 5976 h 15707"/>
                <a:gd name="connsiteX24" fmla="*/ 0 w 10115"/>
                <a:gd name="connsiteY24" fmla="*/ 5976 h 15707"/>
                <a:gd name="connsiteX0" fmla="*/ 918 w 9233"/>
                <a:gd name="connsiteY0" fmla="*/ 8769 h 15707"/>
                <a:gd name="connsiteX1" fmla="*/ 1672 w 9233"/>
                <a:gd name="connsiteY1" fmla="*/ 13317 h 15707"/>
                <a:gd name="connsiteX2" fmla="*/ 1355 w 9233"/>
                <a:gd name="connsiteY2" fmla="*/ 13475 h 15707"/>
                <a:gd name="connsiteX3" fmla="*/ 1176 w 9233"/>
                <a:gd name="connsiteY3" fmla="*/ 15707 h 15707"/>
                <a:gd name="connsiteX4" fmla="*/ 2647 w 9233"/>
                <a:gd name="connsiteY4" fmla="*/ 15707 h 15707"/>
                <a:gd name="connsiteX5" fmla="*/ 2941 w 9233"/>
                <a:gd name="connsiteY5" fmla="*/ 12927 h 15707"/>
                <a:gd name="connsiteX6" fmla="*/ 4706 w 9233"/>
                <a:gd name="connsiteY6" fmla="*/ 13622 h 15707"/>
                <a:gd name="connsiteX7" fmla="*/ 5882 w 9233"/>
                <a:gd name="connsiteY7" fmla="*/ 12927 h 15707"/>
                <a:gd name="connsiteX8" fmla="*/ 6765 w 9233"/>
                <a:gd name="connsiteY8" fmla="*/ 10147 h 15707"/>
                <a:gd name="connsiteX9" fmla="*/ 8397 w 9233"/>
                <a:gd name="connsiteY9" fmla="*/ 12364 h 15707"/>
                <a:gd name="connsiteX10" fmla="*/ 9233 w 9233"/>
                <a:gd name="connsiteY10" fmla="*/ 10142 h 15707"/>
                <a:gd name="connsiteX11" fmla="*/ 8529 w 9233"/>
                <a:gd name="connsiteY11" fmla="*/ 3196 h 15707"/>
                <a:gd name="connsiteX12" fmla="*/ 6630 w 9233"/>
                <a:gd name="connsiteY12" fmla="*/ 7519 h 15707"/>
                <a:gd name="connsiteX13" fmla="*/ 6983 w 9233"/>
                <a:gd name="connsiteY13" fmla="*/ 8319 h 15707"/>
                <a:gd name="connsiteX14" fmla="*/ 6259 w 9233"/>
                <a:gd name="connsiteY14" fmla="*/ 5261 h 15707"/>
                <a:gd name="connsiteX15" fmla="*/ 5882 w 9233"/>
                <a:gd name="connsiteY15" fmla="*/ 1806 h 15707"/>
                <a:gd name="connsiteX16" fmla="*/ 4767 w 9233"/>
                <a:gd name="connsiteY16" fmla="*/ 4011 h 15707"/>
                <a:gd name="connsiteX17" fmla="*/ 3823 w 9233"/>
                <a:gd name="connsiteY17" fmla="*/ 1111 h 15707"/>
                <a:gd name="connsiteX18" fmla="*/ 2647 w 9233"/>
                <a:gd name="connsiteY18" fmla="*/ 1111 h 15707"/>
                <a:gd name="connsiteX19" fmla="*/ 1470 w 9233"/>
                <a:gd name="connsiteY19" fmla="*/ 0 h 15707"/>
                <a:gd name="connsiteX20" fmla="*/ 2059 w 9233"/>
                <a:gd name="connsiteY20" fmla="*/ 5281 h 15707"/>
                <a:gd name="connsiteX21" fmla="*/ 882 w 9233"/>
                <a:gd name="connsiteY21" fmla="*/ 5281 h 15707"/>
                <a:gd name="connsiteX22" fmla="*/ 294 w 9233"/>
                <a:gd name="connsiteY22" fmla="*/ 3891 h 15707"/>
                <a:gd name="connsiteX23" fmla="*/ 0 w 9233"/>
                <a:gd name="connsiteY23" fmla="*/ 5976 h 15707"/>
                <a:gd name="connsiteX24" fmla="*/ 918 w 9233"/>
                <a:gd name="connsiteY24" fmla="*/ 8769 h 15707"/>
                <a:gd name="connsiteX0" fmla="*/ 994 w 10000"/>
                <a:gd name="connsiteY0" fmla="*/ 5080 h 9497"/>
                <a:gd name="connsiteX1" fmla="*/ 1811 w 10000"/>
                <a:gd name="connsiteY1" fmla="*/ 7975 h 9497"/>
                <a:gd name="connsiteX2" fmla="*/ 1468 w 10000"/>
                <a:gd name="connsiteY2" fmla="*/ 8076 h 9497"/>
                <a:gd name="connsiteX3" fmla="*/ 1274 w 10000"/>
                <a:gd name="connsiteY3" fmla="*/ 9497 h 9497"/>
                <a:gd name="connsiteX4" fmla="*/ 2867 w 10000"/>
                <a:gd name="connsiteY4" fmla="*/ 9497 h 9497"/>
                <a:gd name="connsiteX5" fmla="*/ 3185 w 10000"/>
                <a:gd name="connsiteY5" fmla="*/ 7727 h 9497"/>
                <a:gd name="connsiteX6" fmla="*/ 5097 w 10000"/>
                <a:gd name="connsiteY6" fmla="*/ 8170 h 9497"/>
                <a:gd name="connsiteX7" fmla="*/ 6371 w 10000"/>
                <a:gd name="connsiteY7" fmla="*/ 7727 h 9497"/>
                <a:gd name="connsiteX8" fmla="*/ 7327 w 10000"/>
                <a:gd name="connsiteY8" fmla="*/ 5957 h 9497"/>
                <a:gd name="connsiteX9" fmla="*/ 9095 w 10000"/>
                <a:gd name="connsiteY9" fmla="*/ 7369 h 9497"/>
                <a:gd name="connsiteX10" fmla="*/ 10000 w 10000"/>
                <a:gd name="connsiteY10" fmla="*/ 5954 h 9497"/>
                <a:gd name="connsiteX11" fmla="*/ 9238 w 10000"/>
                <a:gd name="connsiteY11" fmla="*/ 1532 h 9497"/>
                <a:gd name="connsiteX12" fmla="*/ 7181 w 10000"/>
                <a:gd name="connsiteY12" fmla="*/ 4284 h 9497"/>
                <a:gd name="connsiteX13" fmla="*/ 7563 w 10000"/>
                <a:gd name="connsiteY13" fmla="*/ 4793 h 9497"/>
                <a:gd name="connsiteX14" fmla="*/ 6779 w 10000"/>
                <a:gd name="connsiteY14" fmla="*/ 2846 h 9497"/>
                <a:gd name="connsiteX15" fmla="*/ 6371 w 10000"/>
                <a:gd name="connsiteY15" fmla="*/ 647 h 9497"/>
                <a:gd name="connsiteX16" fmla="*/ 5163 w 10000"/>
                <a:gd name="connsiteY16" fmla="*/ 2051 h 9497"/>
                <a:gd name="connsiteX17" fmla="*/ 4141 w 10000"/>
                <a:gd name="connsiteY17" fmla="*/ 204 h 9497"/>
                <a:gd name="connsiteX18" fmla="*/ 2867 w 10000"/>
                <a:gd name="connsiteY18" fmla="*/ 204 h 9497"/>
                <a:gd name="connsiteX19" fmla="*/ 2347 w 10000"/>
                <a:gd name="connsiteY19" fmla="*/ 2200 h 9497"/>
                <a:gd name="connsiteX20" fmla="*/ 2230 w 10000"/>
                <a:gd name="connsiteY20" fmla="*/ 2859 h 9497"/>
                <a:gd name="connsiteX21" fmla="*/ 955 w 10000"/>
                <a:gd name="connsiteY21" fmla="*/ 2859 h 9497"/>
                <a:gd name="connsiteX22" fmla="*/ 318 w 10000"/>
                <a:gd name="connsiteY22" fmla="*/ 1974 h 9497"/>
                <a:gd name="connsiteX23" fmla="*/ 0 w 10000"/>
                <a:gd name="connsiteY23" fmla="*/ 3302 h 9497"/>
                <a:gd name="connsiteX24" fmla="*/ 994 w 10000"/>
                <a:gd name="connsiteY24" fmla="*/ 5080 h 9497"/>
                <a:gd name="connsiteX0" fmla="*/ 994 w 10000"/>
                <a:gd name="connsiteY0" fmla="*/ 5349 h 10000"/>
                <a:gd name="connsiteX1" fmla="*/ 1811 w 10000"/>
                <a:gd name="connsiteY1" fmla="*/ 8397 h 10000"/>
                <a:gd name="connsiteX2" fmla="*/ 1468 w 10000"/>
                <a:gd name="connsiteY2" fmla="*/ 8504 h 10000"/>
                <a:gd name="connsiteX3" fmla="*/ 1274 w 10000"/>
                <a:gd name="connsiteY3" fmla="*/ 10000 h 10000"/>
                <a:gd name="connsiteX4" fmla="*/ 2867 w 10000"/>
                <a:gd name="connsiteY4" fmla="*/ 10000 h 10000"/>
                <a:gd name="connsiteX5" fmla="*/ 3185 w 10000"/>
                <a:gd name="connsiteY5" fmla="*/ 8136 h 10000"/>
                <a:gd name="connsiteX6" fmla="*/ 5097 w 10000"/>
                <a:gd name="connsiteY6" fmla="*/ 8603 h 10000"/>
                <a:gd name="connsiteX7" fmla="*/ 6371 w 10000"/>
                <a:gd name="connsiteY7" fmla="*/ 8136 h 10000"/>
                <a:gd name="connsiteX8" fmla="*/ 7327 w 10000"/>
                <a:gd name="connsiteY8" fmla="*/ 6273 h 10000"/>
                <a:gd name="connsiteX9" fmla="*/ 9095 w 10000"/>
                <a:gd name="connsiteY9" fmla="*/ 7759 h 10000"/>
                <a:gd name="connsiteX10" fmla="*/ 10000 w 10000"/>
                <a:gd name="connsiteY10" fmla="*/ 6269 h 10000"/>
                <a:gd name="connsiteX11" fmla="*/ 9238 w 10000"/>
                <a:gd name="connsiteY11" fmla="*/ 1613 h 10000"/>
                <a:gd name="connsiteX12" fmla="*/ 7181 w 10000"/>
                <a:gd name="connsiteY12" fmla="*/ 4511 h 10000"/>
                <a:gd name="connsiteX13" fmla="*/ 7563 w 10000"/>
                <a:gd name="connsiteY13" fmla="*/ 5047 h 10000"/>
                <a:gd name="connsiteX14" fmla="*/ 6779 w 10000"/>
                <a:gd name="connsiteY14" fmla="*/ 2997 h 10000"/>
                <a:gd name="connsiteX15" fmla="*/ 6371 w 10000"/>
                <a:gd name="connsiteY15" fmla="*/ 681 h 10000"/>
                <a:gd name="connsiteX16" fmla="*/ 5163 w 10000"/>
                <a:gd name="connsiteY16" fmla="*/ 2160 h 10000"/>
                <a:gd name="connsiteX17" fmla="*/ 4141 w 10000"/>
                <a:gd name="connsiteY17" fmla="*/ 215 h 10000"/>
                <a:gd name="connsiteX18" fmla="*/ 2867 w 10000"/>
                <a:gd name="connsiteY18" fmla="*/ 215 h 10000"/>
                <a:gd name="connsiteX19" fmla="*/ 2347 w 10000"/>
                <a:gd name="connsiteY19" fmla="*/ 2317 h 10000"/>
                <a:gd name="connsiteX20" fmla="*/ 2230 w 10000"/>
                <a:gd name="connsiteY20" fmla="*/ 3010 h 10000"/>
                <a:gd name="connsiteX21" fmla="*/ 955 w 10000"/>
                <a:gd name="connsiteY21" fmla="*/ 3010 h 10000"/>
                <a:gd name="connsiteX22" fmla="*/ 1237 w 10000"/>
                <a:gd name="connsiteY22" fmla="*/ 3729 h 10000"/>
                <a:gd name="connsiteX23" fmla="*/ 0 w 10000"/>
                <a:gd name="connsiteY23" fmla="*/ 3477 h 10000"/>
                <a:gd name="connsiteX24" fmla="*/ 994 w 10000"/>
                <a:gd name="connsiteY24" fmla="*/ 5349 h 10000"/>
                <a:gd name="connsiteX0" fmla="*/ 76 w 9082"/>
                <a:gd name="connsiteY0" fmla="*/ 5349 h 10000"/>
                <a:gd name="connsiteX1" fmla="*/ 893 w 9082"/>
                <a:gd name="connsiteY1" fmla="*/ 8397 h 10000"/>
                <a:gd name="connsiteX2" fmla="*/ 550 w 9082"/>
                <a:gd name="connsiteY2" fmla="*/ 8504 h 10000"/>
                <a:gd name="connsiteX3" fmla="*/ 356 w 9082"/>
                <a:gd name="connsiteY3" fmla="*/ 10000 h 10000"/>
                <a:gd name="connsiteX4" fmla="*/ 1949 w 9082"/>
                <a:gd name="connsiteY4" fmla="*/ 10000 h 10000"/>
                <a:gd name="connsiteX5" fmla="*/ 2267 w 9082"/>
                <a:gd name="connsiteY5" fmla="*/ 8136 h 10000"/>
                <a:gd name="connsiteX6" fmla="*/ 4179 w 9082"/>
                <a:gd name="connsiteY6" fmla="*/ 8603 h 10000"/>
                <a:gd name="connsiteX7" fmla="*/ 5453 w 9082"/>
                <a:gd name="connsiteY7" fmla="*/ 8136 h 10000"/>
                <a:gd name="connsiteX8" fmla="*/ 6409 w 9082"/>
                <a:gd name="connsiteY8" fmla="*/ 6273 h 10000"/>
                <a:gd name="connsiteX9" fmla="*/ 8177 w 9082"/>
                <a:gd name="connsiteY9" fmla="*/ 7759 h 10000"/>
                <a:gd name="connsiteX10" fmla="*/ 9082 w 9082"/>
                <a:gd name="connsiteY10" fmla="*/ 6269 h 10000"/>
                <a:gd name="connsiteX11" fmla="*/ 8320 w 9082"/>
                <a:gd name="connsiteY11" fmla="*/ 1613 h 10000"/>
                <a:gd name="connsiteX12" fmla="*/ 6263 w 9082"/>
                <a:gd name="connsiteY12" fmla="*/ 4511 h 10000"/>
                <a:gd name="connsiteX13" fmla="*/ 6645 w 9082"/>
                <a:gd name="connsiteY13" fmla="*/ 5047 h 10000"/>
                <a:gd name="connsiteX14" fmla="*/ 5861 w 9082"/>
                <a:gd name="connsiteY14" fmla="*/ 2997 h 10000"/>
                <a:gd name="connsiteX15" fmla="*/ 5453 w 9082"/>
                <a:gd name="connsiteY15" fmla="*/ 681 h 10000"/>
                <a:gd name="connsiteX16" fmla="*/ 4245 w 9082"/>
                <a:gd name="connsiteY16" fmla="*/ 2160 h 10000"/>
                <a:gd name="connsiteX17" fmla="*/ 3223 w 9082"/>
                <a:gd name="connsiteY17" fmla="*/ 215 h 10000"/>
                <a:gd name="connsiteX18" fmla="*/ 1949 w 9082"/>
                <a:gd name="connsiteY18" fmla="*/ 215 h 10000"/>
                <a:gd name="connsiteX19" fmla="*/ 1429 w 9082"/>
                <a:gd name="connsiteY19" fmla="*/ 2317 h 10000"/>
                <a:gd name="connsiteX20" fmla="*/ 1312 w 9082"/>
                <a:gd name="connsiteY20" fmla="*/ 3010 h 10000"/>
                <a:gd name="connsiteX21" fmla="*/ 37 w 9082"/>
                <a:gd name="connsiteY21" fmla="*/ 3010 h 10000"/>
                <a:gd name="connsiteX22" fmla="*/ 319 w 9082"/>
                <a:gd name="connsiteY22" fmla="*/ 3729 h 10000"/>
                <a:gd name="connsiteX23" fmla="*/ 310 w 9082"/>
                <a:gd name="connsiteY23" fmla="*/ 5046 h 10000"/>
                <a:gd name="connsiteX24" fmla="*/ 76 w 9082"/>
                <a:gd name="connsiteY24" fmla="*/ 5349 h 10000"/>
                <a:gd name="connsiteX0" fmla="*/ 84 w 10000"/>
                <a:gd name="connsiteY0" fmla="*/ 5349 h 10000"/>
                <a:gd name="connsiteX1" fmla="*/ 983 w 10000"/>
                <a:gd name="connsiteY1" fmla="*/ 8397 h 10000"/>
                <a:gd name="connsiteX2" fmla="*/ 606 w 10000"/>
                <a:gd name="connsiteY2" fmla="*/ 8504 h 10000"/>
                <a:gd name="connsiteX3" fmla="*/ 392 w 10000"/>
                <a:gd name="connsiteY3" fmla="*/ 10000 h 10000"/>
                <a:gd name="connsiteX4" fmla="*/ 2146 w 10000"/>
                <a:gd name="connsiteY4" fmla="*/ 10000 h 10000"/>
                <a:gd name="connsiteX5" fmla="*/ 2496 w 10000"/>
                <a:gd name="connsiteY5" fmla="*/ 8136 h 10000"/>
                <a:gd name="connsiteX6" fmla="*/ 4601 w 10000"/>
                <a:gd name="connsiteY6" fmla="*/ 8603 h 10000"/>
                <a:gd name="connsiteX7" fmla="*/ 6004 w 10000"/>
                <a:gd name="connsiteY7" fmla="*/ 8136 h 10000"/>
                <a:gd name="connsiteX8" fmla="*/ 7057 w 10000"/>
                <a:gd name="connsiteY8" fmla="*/ 6273 h 10000"/>
                <a:gd name="connsiteX9" fmla="*/ 9004 w 10000"/>
                <a:gd name="connsiteY9" fmla="*/ 7759 h 10000"/>
                <a:gd name="connsiteX10" fmla="*/ 10000 w 10000"/>
                <a:gd name="connsiteY10" fmla="*/ 6269 h 10000"/>
                <a:gd name="connsiteX11" fmla="*/ 9161 w 10000"/>
                <a:gd name="connsiteY11" fmla="*/ 1613 h 10000"/>
                <a:gd name="connsiteX12" fmla="*/ 6896 w 10000"/>
                <a:gd name="connsiteY12" fmla="*/ 4511 h 10000"/>
                <a:gd name="connsiteX13" fmla="*/ 7317 w 10000"/>
                <a:gd name="connsiteY13" fmla="*/ 5047 h 10000"/>
                <a:gd name="connsiteX14" fmla="*/ 5683 w 10000"/>
                <a:gd name="connsiteY14" fmla="*/ 3757 h 10000"/>
                <a:gd name="connsiteX15" fmla="*/ 6004 w 10000"/>
                <a:gd name="connsiteY15" fmla="*/ 681 h 10000"/>
                <a:gd name="connsiteX16" fmla="*/ 4674 w 10000"/>
                <a:gd name="connsiteY16" fmla="*/ 2160 h 10000"/>
                <a:gd name="connsiteX17" fmla="*/ 3549 w 10000"/>
                <a:gd name="connsiteY17" fmla="*/ 215 h 10000"/>
                <a:gd name="connsiteX18" fmla="*/ 2146 w 10000"/>
                <a:gd name="connsiteY18" fmla="*/ 215 h 10000"/>
                <a:gd name="connsiteX19" fmla="*/ 1573 w 10000"/>
                <a:gd name="connsiteY19" fmla="*/ 2317 h 10000"/>
                <a:gd name="connsiteX20" fmla="*/ 1445 w 10000"/>
                <a:gd name="connsiteY20" fmla="*/ 3010 h 10000"/>
                <a:gd name="connsiteX21" fmla="*/ 41 w 10000"/>
                <a:gd name="connsiteY21" fmla="*/ 3010 h 10000"/>
                <a:gd name="connsiteX22" fmla="*/ 351 w 10000"/>
                <a:gd name="connsiteY22" fmla="*/ 3729 h 10000"/>
                <a:gd name="connsiteX23" fmla="*/ 341 w 10000"/>
                <a:gd name="connsiteY23" fmla="*/ 5046 h 10000"/>
                <a:gd name="connsiteX24" fmla="*/ 84 w 10000"/>
                <a:gd name="connsiteY24" fmla="*/ 5349 h 10000"/>
                <a:gd name="connsiteX0" fmla="*/ 84 w 10000"/>
                <a:gd name="connsiteY0" fmla="*/ 5349 h 10000"/>
                <a:gd name="connsiteX1" fmla="*/ 983 w 10000"/>
                <a:gd name="connsiteY1" fmla="*/ 8397 h 10000"/>
                <a:gd name="connsiteX2" fmla="*/ 606 w 10000"/>
                <a:gd name="connsiteY2" fmla="*/ 8504 h 10000"/>
                <a:gd name="connsiteX3" fmla="*/ 392 w 10000"/>
                <a:gd name="connsiteY3" fmla="*/ 10000 h 10000"/>
                <a:gd name="connsiteX4" fmla="*/ 2146 w 10000"/>
                <a:gd name="connsiteY4" fmla="*/ 10000 h 10000"/>
                <a:gd name="connsiteX5" fmla="*/ 2496 w 10000"/>
                <a:gd name="connsiteY5" fmla="*/ 8136 h 10000"/>
                <a:gd name="connsiteX6" fmla="*/ 4601 w 10000"/>
                <a:gd name="connsiteY6" fmla="*/ 8603 h 10000"/>
                <a:gd name="connsiteX7" fmla="*/ 6004 w 10000"/>
                <a:gd name="connsiteY7" fmla="*/ 8136 h 10000"/>
                <a:gd name="connsiteX8" fmla="*/ 7057 w 10000"/>
                <a:gd name="connsiteY8" fmla="*/ 6273 h 10000"/>
                <a:gd name="connsiteX9" fmla="*/ 9004 w 10000"/>
                <a:gd name="connsiteY9" fmla="*/ 7759 h 10000"/>
                <a:gd name="connsiteX10" fmla="*/ 10000 w 10000"/>
                <a:gd name="connsiteY10" fmla="*/ 6269 h 10000"/>
                <a:gd name="connsiteX11" fmla="*/ 9161 w 10000"/>
                <a:gd name="connsiteY11" fmla="*/ 1613 h 10000"/>
                <a:gd name="connsiteX12" fmla="*/ 6896 w 10000"/>
                <a:gd name="connsiteY12" fmla="*/ 4511 h 10000"/>
                <a:gd name="connsiteX13" fmla="*/ 7317 w 10000"/>
                <a:gd name="connsiteY13" fmla="*/ 5047 h 10000"/>
                <a:gd name="connsiteX14" fmla="*/ 5683 w 10000"/>
                <a:gd name="connsiteY14" fmla="*/ 3757 h 10000"/>
                <a:gd name="connsiteX15" fmla="*/ 5128 w 10000"/>
                <a:gd name="connsiteY15" fmla="*/ 2454 h 10000"/>
                <a:gd name="connsiteX16" fmla="*/ 4674 w 10000"/>
                <a:gd name="connsiteY16" fmla="*/ 2160 h 10000"/>
                <a:gd name="connsiteX17" fmla="*/ 3549 w 10000"/>
                <a:gd name="connsiteY17" fmla="*/ 215 h 10000"/>
                <a:gd name="connsiteX18" fmla="*/ 2146 w 10000"/>
                <a:gd name="connsiteY18" fmla="*/ 215 h 10000"/>
                <a:gd name="connsiteX19" fmla="*/ 1573 w 10000"/>
                <a:gd name="connsiteY19" fmla="*/ 2317 h 10000"/>
                <a:gd name="connsiteX20" fmla="*/ 1445 w 10000"/>
                <a:gd name="connsiteY20" fmla="*/ 3010 h 10000"/>
                <a:gd name="connsiteX21" fmla="*/ 41 w 10000"/>
                <a:gd name="connsiteY21" fmla="*/ 3010 h 10000"/>
                <a:gd name="connsiteX22" fmla="*/ 351 w 10000"/>
                <a:gd name="connsiteY22" fmla="*/ 3729 h 10000"/>
                <a:gd name="connsiteX23" fmla="*/ 341 w 10000"/>
                <a:gd name="connsiteY23" fmla="*/ 5046 h 10000"/>
                <a:gd name="connsiteX24" fmla="*/ 84 w 10000"/>
                <a:gd name="connsiteY24" fmla="*/ 5349 h 10000"/>
                <a:gd name="connsiteX0" fmla="*/ 84 w 10000"/>
                <a:gd name="connsiteY0" fmla="*/ 5349 h 10000"/>
                <a:gd name="connsiteX1" fmla="*/ 983 w 10000"/>
                <a:gd name="connsiteY1" fmla="*/ 8397 h 10000"/>
                <a:gd name="connsiteX2" fmla="*/ 606 w 10000"/>
                <a:gd name="connsiteY2" fmla="*/ 8504 h 10000"/>
                <a:gd name="connsiteX3" fmla="*/ 392 w 10000"/>
                <a:gd name="connsiteY3" fmla="*/ 10000 h 10000"/>
                <a:gd name="connsiteX4" fmla="*/ 2146 w 10000"/>
                <a:gd name="connsiteY4" fmla="*/ 10000 h 10000"/>
                <a:gd name="connsiteX5" fmla="*/ 2496 w 10000"/>
                <a:gd name="connsiteY5" fmla="*/ 8136 h 10000"/>
                <a:gd name="connsiteX6" fmla="*/ 4601 w 10000"/>
                <a:gd name="connsiteY6" fmla="*/ 8603 h 10000"/>
                <a:gd name="connsiteX7" fmla="*/ 6004 w 10000"/>
                <a:gd name="connsiteY7" fmla="*/ 8136 h 10000"/>
                <a:gd name="connsiteX8" fmla="*/ 7057 w 10000"/>
                <a:gd name="connsiteY8" fmla="*/ 6273 h 10000"/>
                <a:gd name="connsiteX9" fmla="*/ 9004 w 10000"/>
                <a:gd name="connsiteY9" fmla="*/ 7759 h 10000"/>
                <a:gd name="connsiteX10" fmla="*/ 10000 w 10000"/>
                <a:gd name="connsiteY10" fmla="*/ 6269 h 10000"/>
                <a:gd name="connsiteX11" fmla="*/ 9161 w 10000"/>
                <a:gd name="connsiteY11" fmla="*/ 1613 h 10000"/>
                <a:gd name="connsiteX12" fmla="*/ 6896 w 10000"/>
                <a:gd name="connsiteY12" fmla="*/ 4511 h 10000"/>
                <a:gd name="connsiteX13" fmla="*/ 7317 w 10000"/>
                <a:gd name="connsiteY13" fmla="*/ 5047 h 10000"/>
                <a:gd name="connsiteX14" fmla="*/ 5683 w 10000"/>
                <a:gd name="connsiteY14" fmla="*/ 3757 h 10000"/>
                <a:gd name="connsiteX15" fmla="*/ 5128 w 10000"/>
                <a:gd name="connsiteY15" fmla="*/ 2454 h 10000"/>
                <a:gd name="connsiteX16" fmla="*/ 5062 w 10000"/>
                <a:gd name="connsiteY16" fmla="*/ 833 h 10000"/>
                <a:gd name="connsiteX17" fmla="*/ 3549 w 10000"/>
                <a:gd name="connsiteY17" fmla="*/ 215 h 10000"/>
                <a:gd name="connsiteX18" fmla="*/ 2146 w 10000"/>
                <a:gd name="connsiteY18" fmla="*/ 215 h 10000"/>
                <a:gd name="connsiteX19" fmla="*/ 1573 w 10000"/>
                <a:gd name="connsiteY19" fmla="*/ 2317 h 10000"/>
                <a:gd name="connsiteX20" fmla="*/ 1445 w 10000"/>
                <a:gd name="connsiteY20" fmla="*/ 3010 h 10000"/>
                <a:gd name="connsiteX21" fmla="*/ 41 w 10000"/>
                <a:gd name="connsiteY21" fmla="*/ 3010 h 10000"/>
                <a:gd name="connsiteX22" fmla="*/ 351 w 10000"/>
                <a:gd name="connsiteY22" fmla="*/ 3729 h 10000"/>
                <a:gd name="connsiteX23" fmla="*/ 341 w 10000"/>
                <a:gd name="connsiteY23" fmla="*/ 5046 h 10000"/>
                <a:gd name="connsiteX24" fmla="*/ 84 w 10000"/>
                <a:gd name="connsiteY24" fmla="*/ 5349 h 10000"/>
                <a:gd name="connsiteX0" fmla="*/ 84 w 10000"/>
                <a:gd name="connsiteY0" fmla="*/ 5349 h 10000"/>
                <a:gd name="connsiteX1" fmla="*/ 983 w 10000"/>
                <a:gd name="connsiteY1" fmla="*/ 8397 h 10000"/>
                <a:gd name="connsiteX2" fmla="*/ 606 w 10000"/>
                <a:gd name="connsiteY2" fmla="*/ 8504 h 10000"/>
                <a:gd name="connsiteX3" fmla="*/ 1061 w 10000"/>
                <a:gd name="connsiteY3" fmla="*/ 8358 h 10000"/>
                <a:gd name="connsiteX4" fmla="*/ 2146 w 10000"/>
                <a:gd name="connsiteY4" fmla="*/ 10000 h 10000"/>
                <a:gd name="connsiteX5" fmla="*/ 2496 w 10000"/>
                <a:gd name="connsiteY5" fmla="*/ 8136 h 10000"/>
                <a:gd name="connsiteX6" fmla="*/ 4601 w 10000"/>
                <a:gd name="connsiteY6" fmla="*/ 8603 h 10000"/>
                <a:gd name="connsiteX7" fmla="*/ 6004 w 10000"/>
                <a:gd name="connsiteY7" fmla="*/ 8136 h 10000"/>
                <a:gd name="connsiteX8" fmla="*/ 7057 w 10000"/>
                <a:gd name="connsiteY8" fmla="*/ 6273 h 10000"/>
                <a:gd name="connsiteX9" fmla="*/ 9004 w 10000"/>
                <a:gd name="connsiteY9" fmla="*/ 7759 h 10000"/>
                <a:gd name="connsiteX10" fmla="*/ 10000 w 10000"/>
                <a:gd name="connsiteY10" fmla="*/ 6269 h 10000"/>
                <a:gd name="connsiteX11" fmla="*/ 9161 w 10000"/>
                <a:gd name="connsiteY11" fmla="*/ 1613 h 10000"/>
                <a:gd name="connsiteX12" fmla="*/ 6896 w 10000"/>
                <a:gd name="connsiteY12" fmla="*/ 4511 h 10000"/>
                <a:gd name="connsiteX13" fmla="*/ 7317 w 10000"/>
                <a:gd name="connsiteY13" fmla="*/ 5047 h 10000"/>
                <a:gd name="connsiteX14" fmla="*/ 5683 w 10000"/>
                <a:gd name="connsiteY14" fmla="*/ 3757 h 10000"/>
                <a:gd name="connsiteX15" fmla="*/ 5128 w 10000"/>
                <a:gd name="connsiteY15" fmla="*/ 2454 h 10000"/>
                <a:gd name="connsiteX16" fmla="*/ 5062 w 10000"/>
                <a:gd name="connsiteY16" fmla="*/ 833 h 10000"/>
                <a:gd name="connsiteX17" fmla="*/ 3549 w 10000"/>
                <a:gd name="connsiteY17" fmla="*/ 215 h 10000"/>
                <a:gd name="connsiteX18" fmla="*/ 2146 w 10000"/>
                <a:gd name="connsiteY18" fmla="*/ 215 h 10000"/>
                <a:gd name="connsiteX19" fmla="*/ 1573 w 10000"/>
                <a:gd name="connsiteY19" fmla="*/ 2317 h 10000"/>
                <a:gd name="connsiteX20" fmla="*/ 1445 w 10000"/>
                <a:gd name="connsiteY20" fmla="*/ 3010 h 10000"/>
                <a:gd name="connsiteX21" fmla="*/ 41 w 10000"/>
                <a:gd name="connsiteY21" fmla="*/ 3010 h 10000"/>
                <a:gd name="connsiteX22" fmla="*/ 351 w 10000"/>
                <a:gd name="connsiteY22" fmla="*/ 3729 h 10000"/>
                <a:gd name="connsiteX23" fmla="*/ 341 w 10000"/>
                <a:gd name="connsiteY23" fmla="*/ 5046 h 10000"/>
                <a:gd name="connsiteX24" fmla="*/ 84 w 10000"/>
                <a:gd name="connsiteY24" fmla="*/ 5349 h 10000"/>
                <a:gd name="connsiteX0" fmla="*/ 84 w 10000"/>
                <a:gd name="connsiteY0" fmla="*/ 5349 h 8633"/>
                <a:gd name="connsiteX1" fmla="*/ 983 w 10000"/>
                <a:gd name="connsiteY1" fmla="*/ 8397 h 8633"/>
                <a:gd name="connsiteX2" fmla="*/ 606 w 10000"/>
                <a:gd name="connsiteY2" fmla="*/ 8504 h 8633"/>
                <a:gd name="connsiteX3" fmla="*/ 1061 w 10000"/>
                <a:gd name="connsiteY3" fmla="*/ 8358 h 8633"/>
                <a:gd name="connsiteX4" fmla="*/ 2401 w 10000"/>
                <a:gd name="connsiteY4" fmla="*/ 8622 h 8633"/>
                <a:gd name="connsiteX5" fmla="*/ 2496 w 10000"/>
                <a:gd name="connsiteY5" fmla="*/ 8136 h 8633"/>
                <a:gd name="connsiteX6" fmla="*/ 4601 w 10000"/>
                <a:gd name="connsiteY6" fmla="*/ 8603 h 8633"/>
                <a:gd name="connsiteX7" fmla="*/ 6004 w 10000"/>
                <a:gd name="connsiteY7" fmla="*/ 8136 h 8633"/>
                <a:gd name="connsiteX8" fmla="*/ 7057 w 10000"/>
                <a:gd name="connsiteY8" fmla="*/ 6273 h 8633"/>
                <a:gd name="connsiteX9" fmla="*/ 9004 w 10000"/>
                <a:gd name="connsiteY9" fmla="*/ 7759 h 8633"/>
                <a:gd name="connsiteX10" fmla="*/ 10000 w 10000"/>
                <a:gd name="connsiteY10" fmla="*/ 6269 h 8633"/>
                <a:gd name="connsiteX11" fmla="*/ 9161 w 10000"/>
                <a:gd name="connsiteY11" fmla="*/ 1613 h 8633"/>
                <a:gd name="connsiteX12" fmla="*/ 6896 w 10000"/>
                <a:gd name="connsiteY12" fmla="*/ 4511 h 8633"/>
                <a:gd name="connsiteX13" fmla="*/ 7317 w 10000"/>
                <a:gd name="connsiteY13" fmla="*/ 5047 h 8633"/>
                <a:gd name="connsiteX14" fmla="*/ 5683 w 10000"/>
                <a:gd name="connsiteY14" fmla="*/ 3757 h 8633"/>
                <a:gd name="connsiteX15" fmla="*/ 5128 w 10000"/>
                <a:gd name="connsiteY15" fmla="*/ 2454 h 8633"/>
                <a:gd name="connsiteX16" fmla="*/ 5062 w 10000"/>
                <a:gd name="connsiteY16" fmla="*/ 833 h 8633"/>
                <a:gd name="connsiteX17" fmla="*/ 3549 w 10000"/>
                <a:gd name="connsiteY17" fmla="*/ 215 h 8633"/>
                <a:gd name="connsiteX18" fmla="*/ 2146 w 10000"/>
                <a:gd name="connsiteY18" fmla="*/ 215 h 8633"/>
                <a:gd name="connsiteX19" fmla="*/ 1573 w 10000"/>
                <a:gd name="connsiteY19" fmla="*/ 2317 h 8633"/>
                <a:gd name="connsiteX20" fmla="*/ 1445 w 10000"/>
                <a:gd name="connsiteY20" fmla="*/ 3010 h 8633"/>
                <a:gd name="connsiteX21" fmla="*/ 41 w 10000"/>
                <a:gd name="connsiteY21" fmla="*/ 3010 h 8633"/>
                <a:gd name="connsiteX22" fmla="*/ 351 w 10000"/>
                <a:gd name="connsiteY22" fmla="*/ 3729 h 8633"/>
                <a:gd name="connsiteX23" fmla="*/ 341 w 10000"/>
                <a:gd name="connsiteY23" fmla="*/ 5046 h 8633"/>
                <a:gd name="connsiteX24" fmla="*/ 84 w 10000"/>
                <a:gd name="connsiteY24" fmla="*/ 5349 h 8633"/>
                <a:gd name="connsiteX0" fmla="*/ 59 w 9975"/>
                <a:gd name="connsiteY0" fmla="*/ 6196 h 10000"/>
                <a:gd name="connsiteX1" fmla="*/ 958 w 9975"/>
                <a:gd name="connsiteY1" fmla="*/ 9727 h 10000"/>
                <a:gd name="connsiteX2" fmla="*/ 581 w 9975"/>
                <a:gd name="connsiteY2" fmla="*/ 9851 h 10000"/>
                <a:gd name="connsiteX3" fmla="*/ 1036 w 9975"/>
                <a:gd name="connsiteY3" fmla="*/ 9681 h 10000"/>
                <a:gd name="connsiteX4" fmla="*/ 2376 w 9975"/>
                <a:gd name="connsiteY4" fmla="*/ 9987 h 10000"/>
                <a:gd name="connsiteX5" fmla="*/ 2471 w 9975"/>
                <a:gd name="connsiteY5" fmla="*/ 9424 h 10000"/>
                <a:gd name="connsiteX6" fmla="*/ 4576 w 9975"/>
                <a:gd name="connsiteY6" fmla="*/ 9965 h 10000"/>
                <a:gd name="connsiteX7" fmla="*/ 5979 w 9975"/>
                <a:gd name="connsiteY7" fmla="*/ 9424 h 10000"/>
                <a:gd name="connsiteX8" fmla="*/ 7032 w 9975"/>
                <a:gd name="connsiteY8" fmla="*/ 7266 h 10000"/>
                <a:gd name="connsiteX9" fmla="*/ 8979 w 9975"/>
                <a:gd name="connsiteY9" fmla="*/ 8988 h 10000"/>
                <a:gd name="connsiteX10" fmla="*/ 9975 w 9975"/>
                <a:gd name="connsiteY10" fmla="*/ 7262 h 10000"/>
                <a:gd name="connsiteX11" fmla="*/ 9136 w 9975"/>
                <a:gd name="connsiteY11" fmla="*/ 1868 h 10000"/>
                <a:gd name="connsiteX12" fmla="*/ 6871 w 9975"/>
                <a:gd name="connsiteY12" fmla="*/ 5225 h 10000"/>
                <a:gd name="connsiteX13" fmla="*/ 7292 w 9975"/>
                <a:gd name="connsiteY13" fmla="*/ 5846 h 10000"/>
                <a:gd name="connsiteX14" fmla="*/ 5658 w 9975"/>
                <a:gd name="connsiteY14" fmla="*/ 4352 h 10000"/>
                <a:gd name="connsiteX15" fmla="*/ 5103 w 9975"/>
                <a:gd name="connsiteY15" fmla="*/ 2843 h 10000"/>
                <a:gd name="connsiteX16" fmla="*/ 5037 w 9975"/>
                <a:gd name="connsiteY16" fmla="*/ 965 h 10000"/>
                <a:gd name="connsiteX17" fmla="*/ 3524 w 9975"/>
                <a:gd name="connsiteY17" fmla="*/ 249 h 10000"/>
                <a:gd name="connsiteX18" fmla="*/ 2121 w 9975"/>
                <a:gd name="connsiteY18" fmla="*/ 249 h 10000"/>
                <a:gd name="connsiteX19" fmla="*/ 1548 w 9975"/>
                <a:gd name="connsiteY19" fmla="*/ 2684 h 10000"/>
                <a:gd name="connsiteX20" fmla="*/ 1420 w 9975"/>
                <a:gd name="connsiteY20" fmla="*/ 3487 h 10000"/>
                <a:gd name="connsiteX21" fmla="*/ 16 w 9975"/>
                <a:gd name="connsiteY21" fmla="*/ 3487 h 10000"/>
                <a:gd name="connsiteX22" fmla="*/ 1668 w 9975"/>
                <a:gd name="connsiteY22" fmla="*/ 4423 h 10000"/>
                <a:gd name="connsiteX23" fmla="*/ 316 w 9975"/>
                <a:gd name="connsiteY23" fmla="*/ 5845 h 10000"/>
                <a:gd name="connsiteX24" fmla="*/ 59 w 9975"/>
                <a:gd name="connsiteY24" fmla="*/ 6196 h 10000"/>
                <a:gd name="connsiteX0" fmla="*/ 1197 w 10000"/>
                <a:gd name="connsiteY0" fmla="*/ 6453 h 10000"/>
                <a:gd name="connsiteX1" fmla="*/ 960 w 10000"/>
                <a:gd name="connsiteY1" fmla="*/ 9727 h 10000"/>
                <a:gd name="connsiteX2" fmla="*/ 582 w 10000"/>
                <a:gd name="connsiteY2" fmla="*/ 9851 h 10000"/>
                <a:gd name="connsiteX3" fmla="*/ 1039 w 10000"/>
                <a:gd name="connsiteY3" fmla="*/ 9681 h 10000"/>
                <a:gd name="connsiteX4" fmla="*/ 2382 w 10000"/>
                <a:gd name="connsiteY4" fmla="*/ 9987 h 10000"/>
                <a:gd name="connsiteX5" fmla="*/ 2477 w 10000"/>
                <a:gd name="connsiteY5" fmla="*/ 9424 h 10000"/>
                <a:gd name="connsiteX6" fmla="*/ 4587 w 10000"/>
                <a:gd name="connsiteY6" fmla="*/ 9965 h 10000"/>
                <a:gd name="connsiteX7" fmla="*/ 5994 w 10000"/>
                <a:gd name="connsiteY7" fmla="*/ 9424 h 10000"/>
                <a:gd name="connsiteX8" fmla="*/ 7050 w 10000"/>
                <a:gd name="connsiteY8" fmla="*/ 7266 h 10000"/>
                <a:gd name="connsiteX9" fmla="*/ 9002 w 10000"/>
                <a:gd name="connsiteY9" fmla="*/ 8988 h 10000"/>
                <a:gd name="connsiteX10" fmla="*/ 10000 w 10000"/>
                <a:gd name="connsiteY10" fmla="*/ 7262 h 10000"/>
                <a:gd name="connsiteX11" fmla="*/ 9159 w 10000"/>
                <a:gd name="connsiteY11" fmla="*/ 1868 h 10000"/>
                <a:gd name="connsiteX12" fmla="*/ 6888 w 10000"/>
                <a:gd name="connsiteY12" fmla="*/ 5225 h 10000"/>
                <a:gd name="connsiteX13" fmla="*/ 7310 w 10000"/>
                <a:gd name="connsiteY13" fmla="*/ 5846 h 10000"/>
                <a:gd name="connsiteX14" fmla="*/ 5672 w 10000"/>
                <a:gd name="connsiteY14" fmla="*/ 4352 h 10000"/>
                <a:gd name="connsiteX15" fmla="*/ 5116 w 10000"/>
                <a:gd name="connsiteY15" fmla="*/ 2843 h 10000"/>
                <a:gd name="connsiteX16" fmla="*/ 5050 w 10000"/>
                <a:gd name="connsiteY16" fmla="*/ 965 h 10000"/>
                <a:gd name="connsiteX17" fmla="*/ 3533 w 10000"/>
                <a:gd name="connsiteY17" fmla="*/ 249 h 10000"/>
                <a:gd name="connsiteX18" fmla="*/ 2126 w 10000"/>
                <a:gd name="connsiteY18" fmla="*/ 249 h 10000"/>
                <a:gd name="connsiteX19" fmla="*/ 1552 w 10000"/>
                <a:gd name="connsiteY19" fmla="*/ 2684 h 10000"/>
                <a:gd name="connsiteX20" fmla="*/ 1424 w 10000"/>
                <a:gd name="connsiteY20" fmla="*/ 3487 h 10000"/>
                <a:gd name="connsiteX21" fmla="*/ 16 w 10000"/>
                <a:gd name="connsiteY21" fmla="*/ 3487 h 10000"/>
                <a:gd name="connsiteX22" fmla="*/ 1672 w 10000"/>
                <a:gd name="connsiteY22" fmla="*/ 4423 h 10000"/>
                <a:gd name="connsiteX23" fmla="*/ 317 w 10000"/>
                <a:gd name="connsiteY23" fmla="*/ 5845 h 10000"/>
                <a:gd name="connsiteX24" fmla="*/ 1197 w 10000"/>
                <a:gd name="connsiteY24" fmla="*/ 6453 h 10000"/>
                <a:gd name="connsiteX0" fmla="*/ 880 w 9683"/>
                <a:gd name="connsiteY0" fmla="*/ 6453 h 10000"/>
                <a:gd name="connsiteX1" fmla="*/ 643 w 9683"/>
                <a:gd name="connsiteY1" fmla="*/ 9727 h 10000"/>
                <a:gd name="connsiteX2" fmla="*/ 265 w 9683"/>
                <a:gd name="connsiteY2" fmla="*/ 9851 h 10000"/>
                <a:gd name="connsiteX3" fmla="*/ 722 w 9683"/>
                <a:gd name="connsiteY3" fmla="*/ 9681 h 10000"/>
                <a:gd name="connsiteX4" fmla="*/ 2065 w 9683"/>
                <a:gd name="connsiteY4" fmla="*/ 9987 h 10000"/>
                <a:gd name="connsiteX5" fmla="*/ 2160 w 9683"/>
                <a:gd name="connsiteY5" fmla="*/ 9424 h 10000"/>
                <a:gd name="connsiteX6" fmla="*/ 4270 w 9683"/>
                <a:gd name="connsiteY6" fmla="*/ 9965 h 10000"/>
                <a:gd name="connsiteX7" fmla="*/ 5677 w 9683"/>
                <a:gd name="connsiteY7" fmla="*/ 9424 h 10000"/>
                <a:gd name="connsiteX8" fmla="*/ 6733 w 9683"/>
                <a:gd name="connsiteY8" fmla="*/ 7266 h 10000"/>
                <a:gd name="connsiteX9" fmla="*/ 8685 w 9683"/>
                <a:gd name="connsiteY9" fmla="*/ 8988 h 10000"/>
                <a:gd name="connsiteX10" fmla="*/ 9683 w 9683"/>
                <a:gd name="connsiteY10" fmla="*/ 7262 h 10000"/>
                <a:gd name="connsiteX11" fmla="*/ 8842 w 9683"/>
                <a:gd name="connsiteY11" fmla="*/ 1868 h 10000"/>
                <a:gd name="connsiteX12" fmla="*/ 6571 w 9683"/>
                <a:gd name="connsiteY12" fmla="*/ 5225 h 10000"/>
                <a:gd name="connsiteX13" fmla="*/ 6993 w 9683"/>
                <a:gd name="connsiteY13" fmla="*/ 5846 h 10000"/>
                <a:gd name="connsiteX14" fmla="*/ 5355 w 9683"/>
                <a:gd name="connsiteY14" fmla="*/ 4352 h 10000"/>
                <a:gd name="connsiteX15" fmla="*/ 4799 w 9683"/>
                <a:gd name="connsiteY15" fmla="*/ 2843 h 10000"/>
                <a:gd name="connsiteX16" fmla="*/ 4733 w 9683"/>
                <a:gd name="connsiteY16" fmla="*/ 965 h 10000"/>
                <a:gd name="connsiteX17" fmla="*/ 3216 w 9683"/>
                <a:gd name="connsiteY17" fmla="*/ 249 h 10000"/>
                <a:gd name="connsiteX18" fmla="*/ 1809 w 9683"/>
                <a:gd name="connsiteY18" fmla="*/ 249 h 10000"/>
                <a:gd name="connsiteX19" fmla="*/ 1235 w 9683"/>
                <a:gd name="connsiteY19" fmla="*/ 2684 h 10000"/>
                <a:gd name="connsiteX20" fmla="*/ 1107 w 9683"/>
                <a:gd name="connsiteY20" fmla="*/ 3487 h 10000"/>
                <a:gd name="connsiteX21" fmla="*/ 954 w 9683"/>
                <a:gd name="connsiteY21" fmla="*/ 4284 h 10000"/>
                <a:gd name="connsiteX22" fmla="*/ 1355 w 9683"/>
                <a:gd name="connsiteY22" fmla="*/ 4423 h 10000"/>
                <a:gd name="connsiteX23" fmla="*/ 0 w 9683"/>
                <a:gd name="connsiteY23" fmla="*/ 5845 h 10000"/>
                <a:gd name="connsiteX24" fmla="*/ 880 w 9683"/>
                <a:gd name="connsiteY24" fmla="*/ 6453 h 10000"/>
                <a:gd name="connsiteX0" fmla="*/ 909 w 10000"/>
                <a:gd name="connsiteY0" fmla="*/ 6453 h 10000"/>
                <a:gd name="connsiteX1" fmla="*/ 664 w 10000"/>
                <a:gd name="connsiteY1" fmla="*/ 9727 h 10000"/>
                <a:gd name="connsiteX2" fmla="*/ 274 w 10000"/>
                <a:gd name="connsiteY2" fmla="*/ 9851 h 10000"/>
                <a:gd name="connsiteX3" fmla="*/ 746 w 10000"/>
                <a:gd name="connsiteY3" fmla="*/ 9681 h 10000"/>
                <a:gd name="connsiteX4" fmla="*/ 2133 w 10000"/>
                <a:gd name="connsiteY4" fmla="*/ 9987 h 10000"/>
                <a:gd name="connsiteX5" fmla="*/ 2231 w 10000"/>
                <a:gd name="connsiteY5" fmla="*/ 9424 h 10000"/>
                <a:gd name="connsiteX6" fmla="*/ 4410 w 10000"/>
                <a:gd name="connsiteY6" fmla="*/ 9965 h 10000"/>
                <a:gd name="connsiteX7" fmla="*/ 5863 w 10000"/>
                <a:gd name="connsiteY7" fmla="*/ 9424 h 10000"/>
                <a:gd name="connsiteX8" fmla="*/ 6953 w 10000"/>
                <a:gd name="connsiteY8" fmla="*/ 7266 h 10000"/>
                <a:gd name="connsiteX9" fmla="*/ 8612 w 10000"/>
                <a:gd name="connsiteY9" fmla="*/ 8836 h 10000"/>
                <a:gd name="connsiteX10" fmla="*/ 10000 w 10000"/>
                <a:gd name="connsiteY10" fmla="*/ 7262 h 10000"/>
                <a:gd name="connsiteX11" fmla="*/ 9131 w 10000"/>
                <a:gd name="connsiteY11" fmla="*/ 1868 h 10000"/>
                <a:gd name="connsiteX12" fmla="*/ 6786 w 10000"/>
                <a:gd name="connsiteY12" fmla="*/ 5225 h 10000"/>
                <a:gd name="connsiteX13" fmla="*/ 7222 w 10000"/>
                <a:gd name="connsiteY13" fmla="*/ 5846 h 10000"/>
                <a:gd name="connsiteX14" fmla="*/ 5530 w 10000"/>
                <a:gd name="connsiteY14" fmla="*/ 4352 h 10000"/>
                <a:gd name="connsiteX15" fmla="*/ 4956 w 10000"/>
                <a:gd name="connsiteY15" fmla="*/ 2843 h 10000"/>
                <a:gd name="connsiteX16" fmla="*/ 4888 w 10000"/>
                <a:gd name="connsiteY16" fmla="*/ 965 h 10000"/>
                <a:gd name="connsiteX17" fmla="*/ 3321 w 10000"/>
                <a:gd name="connsiteY17" fmla="*/ 249 h 10000"/>
                <a:gd name="connsiteX18" fmla="*/ 1868 w 10000"/>
                <a:gd name="connsiteY18" fmla="*/ 249 h 10000"/>
                <a:gd name="connsiteX19" fmla="*/ 1275 w 10000"/>
                <a:gd name="connsiteY19" fmla="*/ 2684 h 10000"/>
                <a:gd name="connsiteX20" fmla="*/ 1143 w 10000"/>
                <a:gd name="connsiteY20" fmla="*/ 3487 h 10000"/>
                <a:gd name="connsiteX21" fmla="*/ 985 w 10000"/>
                <a:gd name="connsiteY21" fmla="*/ 4284 h 10000"/>
                <a:gd name="connsiteX22" fmla="*/ 1399 w 10000"/>
                <a:gd name="connsiteY22" fmla="*/ 4423 h 10000"/>
                <a:gd name="connsiteX23" fmla="*/ 0 w 10000"/>
                <a:gd name="connsiteY23" fmla="*/ 5845 h 10000"/>
                <a:gd name="connsiteX24" fmla="*/ 909 w 10000"/>
                <a:gd name="connsiteY24" fmla="*/ 6453 h 10000"/>
                <a:gd name="connsiteX0" fmla="*/ 909 w 9202"/>
                <a:gd name="connsiteY0" fmla="*/ 6453 h 10000"/>
                <a:gd name="connsiteX1" fmla="*/ 664 w 9202"/>
                <a:gd name="connsiteY1" fmla="*/ 9727 h 10000"/>
                <a:gd name="connsiteX2" fmla="*/ 274 w 9202"/>
                <a:gd name="connsiteY2" fmla="*/ 9851 h 10000"/>
                <a:gd name="connsiteX3" fmla="*/ 746 w 9202"/>
                <a:gd name="connsiteY3" fmla="*/ 9681 h 10000"/>
                <a:gd name="connsiteX4" fmla="*/ 2133 w 9202"/>
                <a:gd name="connsiteY4" fmla="*/ 9987 h 10000"/>
                <a:gd name="connsiteX5" fmla="*/ 2231 w 9202"/>
                <a:gd name="connsiteY5" fmla="*/ 9424 h 10000"/>
                <a:gd name="connsiteX6" fmla="*/ 4410 w 9202"/>
                <a:gd name="connsiteY6" fmla="*/ 9965 h 10000"/>
                <a:gd name="connsiteX7" fmla="*/ 5863 w 9202"/>
                <a:gd name="connsiteY7" fmla="*/ 9424 h 10000"/>
                <a:gd name="connsiteX8" fmla="*/ 6953 w 9202"/>
                <a:gd name="connsiteY8" fmla="*/ 7266 h 10000"/>
                <a:gd name="connsiteX9" fmla="*/ 8612 w 9202"/>
                <a:gd name="connsiteY9" fmla="*/ 8836 h 10000"/>
                <a:gd name="connsiteX10" fmla="*/ 9003 w 9202"/>
                <a:gd name="connsiteY10" fmla="*/ 6266 h 10000"/>
                <a:gd name="connsiteX11" fmla="*/ 9131 w 9202"/>
                <a:gd name="connsiteY11" fmla="*/ 1868 h 10000"/>
                <a:gd name="connsiteX12" fmla="*/ 6786 w 9202"/>
                <a:gd name="connsiteY12" fmla="*/ 5225 h 10000"/>
                <a:gd name="connsiteX13" fmla="*/ 7222 w 9202"/>
                <a:gd name="connsiteY13" fmla="*/ 5846 h 10000"/>
                <a:gd name="connsiteX14" fmla="*/ 5530 w 9202"/>
                <a:gd name="connsiteY14" fmla="*/ 4352 h 10000"/>
                <a:gd name="connsiteX15" fmla="*/ 4956 w 9202"/>
                <a:gd name="connsiteY15" fmla="*/ 2843 h 10000"/>
                <a:gd name="connsiteX16" fmla="*/ 4888 w 9202"/>
                <a:gd name="connsiteY16" fmla="*/ 965 h 10000"/>
                <a:gd name="connsiteX17" fmla="*/ 3321 w 9202"/>
                <a:gd name="connsiteY17" fmla="*/ 249 h 10000"/>
                <a:gd name="connsiteX18" fmla="*/ 1868 w 9202"/>
                <a:gd name="connsiteY18" fmla="*/ 249 h 10000"/>
                <a:gd name="connsiteX19" fmla="*/ 1275 w 9202"/>
                <a:gd name="connsiteY19" fmla="*/ 2684 h 10000"/>
                <a:gd name="connsiteX20" fmla="*/ 1143 w 9202"/>
                <a:gd name="connsiteY20" fmla="*/ 3487 h 10000"/>
                <a:gd name="connsiteX21" fmla="*/ 985 w 9202"/>
                <a:gd name="connsiteY21" fmla="*/ 4284 h 10000"/>
                <a:gd name="connsiteX22" fmla="*/ 1399 w 9202"/>
                <a:gd name="connsiteY22" fmla="*/ 4423 h 10000"/>
                <a:gd name="connsiteX23" fmla="*/ 0 w 9202"/>
                <a:gd name="connsiteY23" fmla="*/ 5845 h 10000"/>
                <a:gd name="connsiteX24" fmla="*/ 909 w 9202"/>
                <a:gd name="connsiteY24" fmla="*/ 6453 h 10000"/>
                <a:gd name="connsiteX0" fmla="*/ 988 w 9784"/>
                <a:gd name="connsiteY0" fmla="*/ 6453 h 10000"/>
                <a:gd name="connsiteX1" fmla="*/ 722 w 9784"/>
                <a:gd name="connsiteY1" fmla="*/ 9727 h 10000"/>
                <a:gd name="connsiteX2" fmla="*/ 298 w 9784"/>
                <a:gd name="connsiteY2" fmla="*/ 9851 h 10000"/>
                <a:gd name="connsiteX3" fmla="*/ 811 w 9784"/>
                <a:gd name="connsiteY3" fmla="*/ 9681 h 10000"/>
                <a:gd name="connsiteX4" fmla="*/ 2318 w 9784"/>
                <a:gd name="connsiteY4" fmla="*/ 9987 h 10000"/>
                <a:gd name="connsiteX5" fmla="*/ 2424 w 9784"/>
                <a:gd name="connsiteY5" fmla="*/ 9424 h 10000"/>
                <a:gd name="connsiteX6" fmla="*/ 4792 w 9784"/>
                <a:gd name="connsiteY6" fmla="*/ 9965 h 10000"/>
                <a:gd name="connsiteX7" fmla="*/ 6371 w 9784"/>
                <a:gd name="connsiteY7" fmla="*/ 9424 h 10000"/>
                <a:gd name="connsiteX8" fmla="*/ 7556 w 9784"/>
                <a:gd name="connsiteY8" fmla="*/ 7266 h 10000"/>
                <a:gd name="connsiteX9" fmla="*/ 9359 w 9784"/>
                <a:gd name="connsiteY9" fmla="*/ 8836 h 10000"/>
                <a:gd name="connsiteX10" fmla="*/ 9784 w 9784"/>
                <a:gd name="connsiteY10" fmla="*/ 6266 h 10000"/>
                <a:gd name="connsiteX11" fmla="*/ 9092 w 9784"/>
                <a:gd name="connsiteY11" fmla="*/ 4080 h 10000"/>
                <a:gd name="connsiteX12" fmla="*/ 7374 w 9784"/>
                <a:gd name="connsiteY12" fmla="*/ 5225 h 10000"/>
                <a:gd name="connsiteX13" fmla="*/ 7848 w 9784"/>
                <a:gd name="connsiteY13" fmla="*/ 5846 h 10000"/>
                <a:gd name="connsiteX14" fmla="*/ 6010 w 9784"/>
                <a:gd name="connsiteY14" fmla="*/ 4352 h 10000"/>
                <a:gd name="connsiteX15" fmla="*/ 5386 w 9784"/>
                <a:gd name="connsiteY15" fmla="*/ 2843 h 10000"/>
                <a:gd name="connsiteX16" fmla="*/ 5312 w 9784"/>
                <a:gd name="connsiteY16" fmla="*/ 965 h 10000"/>
                <a:gd name="connsiteX17" fmla="*/ 3609 w 9784"/>
                <a:gd name="connsiteY17" fmla="*/ 249 h 10000"/>
                <a:gd name="connsiteX18" fmla="*/ 2030 w 9784"/>
                <a:gd name="connsiteY18" fmla="*/ 249 h 10000"/>
                <a:gd name="connsiteX19" fmla="*/ 1386 w 9784"/>
                <a:gd name="connsiteY19" fmla="*/ 2684 h 10000"/>
                <a:gd name="connsiteX20" fmla="*/ 1242 w 9784"/>
                <a:gd name="connsiteY20" fmla="*/ 3487 h 10000"/>
                <a:gd name="connsiteX21" fmla="*/ 1070 w 9784"/>
                <a:gd name="connsiteY21" fmla="*/ 4284 h 10000"/>
                <a:gd name="connsiteX22" fmla="*/ 1520 w 9784"/>
                <a:gd name="connsiteY22" fmla="*/ 4423 h 10000"/>
                <a:gd name="connsiteX23" fmla="*/ 0 w 9784"/>
                <a:gd name="connsiteY23" fmla="*/ 5845 h 10000"/>
                <a:gd name="connsiteX24" fmla="*/ 988 w 9784"/>
                <a:gd name="connsiteY24" fmla="*/ 6453 h 10000"/>
                <a:gd name="connsiteX0" fmla="*/ 1010 w 10000"/>
                <a:gd name="connsiteY0" fmla="*/ 6453 h 10000"/>
                <a:gd name="connsiteX1" fmla="*/ 738 w 10000"/>
                <a:gd name="connsiteY1" fmla="*/ 9727 h 10000"/>
                <a:gd name="connsiteX2" fmla="*/ 305 w 10000"/>
                <a:gd name="connsiteY2" fmla="*/ 9851 h 10000"/>
                <a:gd name="connsiteX3" fmla="*/ 829 w 10000"/>
                <a:gd name="connsiteY3" fmla="*/ 9681 h 10000"/>
                <a:gd name="connsiteX4" fmla="*/ 2369 w 10000"/>
                <a:gd name="connsiteY4" fmla="*/ 9987 h 10000"/>
                <a:gd name="connsiteX5" fmla="*/ 2478 w 10000"/>
                <a:gd name="connsiteY5" fmla="*/ 9424 h 10000"/>
                <a:gd name="connsiteX6" fmla="*/ 4898 w 10000"/>
                <a:gd name="connsiteY6" fmla="*/ 9965 h 10000"/>
                <a:gd name="connsiteX7" fmla="*/ 6512 w 10000"/>
                <a:gd name="connsiteY7" fmla="*/ 9424 h 10000"/>
                <a:gd name="connsiteX8" fmla="*/ 7723 w 10000"/>
                <a:gd name="connsiteY8" fmla="*/ 7266 h 10000"/>
                <a:gd name="connsiteX9" fmla="*/ 9566 w 10000"/>
                <a:gd name="connsiteY9" fmla="*/ 8836 h 10000"/>
                <a:gd name="connsiteX10" fmla="*/ 10000 w 10000"/>
                <a:gd name="connsiteY10" fmla="*/ 6266 h 10000"/>
                <a:gd name="connsiteX11" fmla="*/ 9293 w 10000"/>
                <a:gd name="connsiteY11" fmla="*/ 4080 h 10000"/>
                <a:gd name="connsiteX12" fmla="*/ 7273 w 10000"/>
                <a:gd name="connsiteY12" fmla="*/ 6329 h 10000"/>
                <a:gd name="connsiteX13" fmla="*/ 8021 w 10000"/>
                <a:gd name="connsiteY13" fmla="*/ 5846 h 10000"/>
                <a:gd name="connsiteX14" fmla="*/ 6143 w 10000"/>
                <a:gd name="connsiteY14" fmla="*/ 4352 h 10000"/>
                <a:gd name="connsiteX15" fmla="*/ 5505 w 10000"/>
                <a:gd name="connsiteY15" fmla="*/ 2843 h 10000"/>
                <a:gd name="connsiteX16" fmla="*/ 5429 w 10000"/>
                <a:gd name="connsiteY16" fmla="*/ 965 h 10000"/>
                <a:gd name="connsiteX17" fmla="*/ 3689 w 10000"/>
                <a:gd name="connsiteY17" fmla="*/ 249 h 10000"/>
                <a:gd name="connsiteX18" fmla="*/ 2075 w 10000"/>
                <a:gd name="connsiteY18" fmla="*/ 249 h 10000"/>
                <a:gd name="connsiteX19" fmla="*/ 1417 w 10000"/>
                <a:gd name="connsiteY19" fmla="*/ 2684 h 10000"/>
                <a:gd name="connsiteX20" fmla="*/ 1269 w 10000"/>
                <a:gd name="connsiteY20" fmla="*/ 3487 h 10000"/>
                <a:gd name="connsiteX21" fmla="*/ 1094 w 10000"/>
                <a:gd name="connsiteY21" fmla="*/ 4284 h 10000"/>
                <a:gd name="connsiteX22" fmla="*/ 1554 w 10000"/>
                <a:gd name="connsiteY22" fmla="*/ 4423 h 10000"/>
                <a:gd name="connsiteX23" fmla="*/ 0 w 10000"/>
                <a:gd name="connsiteY23" fmla="*/ 5845 h 10000"/>
                <a:gd name="connsiteX24" fmla="*/ 1010 w 10000"/>
                <a:gd name="connsiteY24" fmla="*/ 6453 h 10000"/>
                <a:gd name="connsiteX0" fmla="*/ 1010 w 10000"/>
                <a:gd name="connsiteY0" fmla="*/ 6453 h 10000"/>
                <a:gd name="connsiteX1" fmla="*/ 738 w 10000"/>
                <a:gd name="connsiteY1" fmla="*/ 9727 h 10000"/>
                <a:gd name="connsiteX2" fmla="*/ 305 w 10000"/>
                <a:gd name="connsiteY2" fmla="*/ 9851 h 10000"/>
                <a:gd name="connsiteX3" fmla="*/ 829 w 10000"/>
                <a:gd name="connsiteY3" fmla="*/ 9681 h 10000"/>
                <a:gd name="connsiteX4" fmla="*/ 2369 w 10000"/>
                <a:gd name="connsiteY4" fmla="*/ 9987 h 10000"/>
                <a:gd name="connsiteX5" fmla="*/ 2478 w 10000"/>
                <a:gd name="connsiteY5" fmla="*/ 9424 h 10000"/>
                <a:gd name="connsiteX6" fmla="*/ 4898 w 10000"/>
                <a:gd name="connsiteY6" fmla="*/ 9965 h 10000"/>
                <a:gd name="connsiteX7" fmla="*/ 6512 w 10000"/>
                <a:gd name="connsiteY7" fmla="*/ 9424 h 10000"/>
                <a:gd name="connsiteX8" fmla="*/ 7723 w 10000"/>
                <a:gd name="connsiteY8" fmla="*/ 7266 h 10000"/>
                <a:gd name="connsiteX9" fmla="*/ 9566 w 10000"/>
                <a:gd name="connsiteY9" fmla="*/ 8836 h 10000"/>
                <a:gd name="connsiteX10" fmla="*/ 10000 w 10000"/>
                <a:gd name="connsiteY10" fmla="*/ 6266 h 10000"/>
                <a:gd name="connsiteX11" fmla="*/ 9293 w 10000"/>
                <a:gd name="connsiteY11" fmla="*/ 4080 h 10000"/>
                <a:gd name="connsiteX12" fmla="*/ 7273 w 10000"/>
                <a:gd name="connsiteY12" fmla="*/ 6329 h 10000"/>
                <a:gd name="connsiteX13" fmla="*/ 8021 w 10000"/>
                <a:gd name="connsiteY13" fmla="*/ 5846 h 10000"/>
                <a:gd name="connsiteX14" fmla="*/ 6143 w 10000"/>
                <a:gd name="connsiteY14" fmla="*/ 4352 h 10000"/>
                <a:gd name="connsiteX15" fmla="*/ 5505 w 10000"/>
                <a:gd name="connsiteY15" fmla="*/ 2843 h 10000"/>
                <a:gd name="connsiteX16" fmla="*/ 5429 w 10000"/>
                <a:gd name="connsiteY16" fmla="*/ 965 h 10000"/>
                <a:gd name="connsiteX17" fmla="*/ 3689 w 10000"/>
                <a:gd name="connsiteY17" fmla="*/ 249 h 10000"/>
                <a:gd name="connsiteX18" fmla="*/ 2075 w 10000"/>
                <a:gd name="connsiteY18" fmla="*/ 249 h 10000"/>
                <a:gd name="connsiteX19" fmla="*/ 1417 w 10000"/>
                <a:gd name="connsiteY19" fmla="*/ 2684 h 10000"/>
                <a:gd name="connsiteX20" fmla="*/ 1269 w 10000"/>
                <a:gd name="connsiteY20" fmla="*/ 3487 h 10000"/>
                <a:gd name="connsiteX21" fmla="*/ 1094 w 10000"/>
                <a:gd name="connsiteY21" fmla="*/ 4284 h 10000"/>
                <a:gd name="connsiteX22" fmla="*/ 1554 w 10000"/>
                <a:gd name="connsiteY22" fmla="*/ 4423 h 10000"/>
                <a:gd name="connsiteX23" fmla="*/ 0 w 10000"/>
                <a:gd name="connsiteY23" fmla="*/ 5845 h 10000"/>
                <a:gd name="connsiteX24" fmla="*/ 1010 w 10000"/>
                <a:gd name="connsiteY24" fmla="*/ 6453 h 10000"/>
                <a:gd name="connsiteX0" fmla="*/ 1010 w 10000"/>
                <a:gd name="connsiteY0" fmla="*/ 6453 h 10000"/>
                <a:gd name="connsiteX1" fmla="*/ 738 w 10000"/>
                <a:gd name="connsiteY1" fmla="*/ 9727 h 10000"/>
                <a:gd name="connsiteX2" fmla="*/ 305 w 10000"/>
                <a:gd name="connsiteY2" fmla="*/ 9851 h 10000"/>
                <a:gd name="connsiteX3" fmla="*/ 829 w 10000"/>
                <a:gd name="connsiteY3" fmla="*/ 9681 h 10000"/>
                <a:gd name="connsiteX4" fmla="*/ 2369 w 10000"/>
                <a:gd name="connsiteY4" fmla="*/ 9987 h 10000"/>
                <a:gd name="connsiteX5" fmla="*/ 2478 w 10000"/>
                <a:gd name="connsiteY5" fmla="*/ 9424 h 10000"/>
                <a:gd name="connsiteX6" fmla="*/ 4898 w 10000"/>
                <a:gd name="connsiteY6" fmla="*/ 9965 h 10000"/>
                <a:gd name="connsiteX7" fmla="*/ 6512 w 10000"/>
                <a:gd name="connsiteY7" fmla="*/ 9424 h 10000"/>
                <a:gd name="connsiteX8" fmla="*/ 7723 w 10000"/>
                <a:gd name="connsiteY8" fmla="*/ 7266 h 10000"/>
                <a:gd name="connsiteX9" fmla="*/ 9566 w 10000"/>
                <a:gd name="connsiteY9" fmla="*/ 8836 h 10000"/>
                <a:gd name="connsiteX10" fmla="*/ 10000 w 10000"/>
                <a:gd name="connsiteY10" fmla="*/ 6266 h 10000"/>
                <a:gd name="connsiteX11" fmla="*/ 9293 w 10000"/>
                <a:gd name="connsiteY11" fmla="*/ 4080 h 10000"/>
                <a:gd name="connsiteX12" fmla="*/ 7273 w 10000"/>
                <a:gd name="connsiteY12" fmla="*/ 6329 h 10000"/>
                <a:gd name="connsiteX13" fmla="*/ 8021 w 10000"/>
                <a:gd name="connsiteY13" fmla="*/ 5846 h 10000"/>
                <a:gd name="connsiteX14" fmla="*/ 6143 w 10000"/>
                <a:gd name="connsiteY14" fmla="*/ 4352 h 10000"/>
                <a:gd name="connsiteX15" fmla="*/ 5505 w 10000"/>
                <a:gd name="connsiteY15" fmla="*/ 2843 h 10000"/>
                <a:gd name="connsiteX16" fmla="*/ 5260 w 10000"/>
                <a:gd name="connsiteY16" fmla="*/ 2740 h 10000"/>
                <a:gd name="connsiteX17" fmla="*/ 3689 w 10000"/>
                <a:gd name="connsiteY17" fmla="*/ 249 h 10000"/>
                <a:gd name="connsiteX18" fmla="*/ 2075 w 10000"/>
                <a:gd name="connsiteY18" fmla="*/ 249 h 10000"/>
                <a:gd name="connsiteX19" fmla="*/ 1417 w 10000"/>
                <a:gd name="connsiteY19" fmla="*/ 2684 h 10000"/>
                <a:gd name="connsiteX20" fmla="*/ 1269 w 10000"/>
                <a:gd name="connsiteY20" fmla="*/ 3487 h 10000"/>
                <a:gd name="connsiteX21" fmla="*/ 1094 w 10000"/>
                <a:gd name="connsiteY21" fmla="*/ 4284 h 10000"/>
                <a:gd name="connsiteX22" fmla="*/ 1554 w 10000"/>
                <a:gd name="connsiteY22" fmla="*/ 4423 h 10000"/>
                <a:gd name="connsiteX23" fmla="*/ 0 w 10000"/>
                <a:gd name="connsiteY23" fmla="*/ 5845 h 10000"/>
                <a:gd name="connsiteX24" fmla="*/ 1010 w 10000"/>
                <a:gd name="connsiteY24" fmla="*/ 6453 h 10000"/>
                <a:gd name="connsiteX0" fmla="*/ 1010 w 10000"/>
                <a:gd name="connsiteY0" fmla="*/ 6204 h 9751"/>
                <a:gd name="connsiteX1" fmla="*/ 738 w 10000"/>
                <a:gd name="connsiteY1" fmla="*/ 9478 h 9751"/>
                <a:gd name="connsiteX2" fmla="*/ 305 w 10000"/>
                <a:gd name="connsiteY2" fmla="*/ 9602 h 9751"/>
                <a:gd name="connsiteX3" fmla="*/ 829 w 10000"/>
                <a:gd name="connsiteY3" fmla="*/ 9432 h 9751"/>
                <a:gd name="connsiteX4" fmla="*/ 2369 w 10000"/>
                <a:gd name="connsiteY4" fmla="*/ 9738 h 9751"/>
                <a:gd name="connsiteX5" fmla="*/ 2478 w 10000"/>
                <a:gd name="connsiteY5" fmla="*/ 9175 h 9751"/>
                <a:gd name="connsiteX6" fmla="*/ 4898 w 10000"/>
                <a:gd name="connsiteY6" fmla="*/ 9716 h 9751"/>
                <a:gd name="connsiteX7" fmla="*/ 6512 w 10000"/>
                <a:gd name="connsiteY7" fmla="*/ 9175 h 9751"/>
                <a:gd name="connsiteX8" fmla="*/ 7723 w 10000"/>
                <a:gd name="connsiteY8" fmla="*/ 7017 h 9751"/>
                <a:gd name="connsiteX9" fmla="*/ 9566 w 10000"/>
                <a:gd name="connsiteY9" fmla="*/ 8587 h 9751"/>
                <a:gd name="connsiteX10" fmla="*/ 10000 w 10000"/>
                <a:gd name="connsiteY10" fmla="*/ 6017 h 9751"/>
                <a:gd name="connsiteX11" fmla="*/ 9293 w 10000"/>
                <a:gd name="connsiteY11" fmla="*/ 3831 h 9751"/>
                <a:gd name="connsiteX12" fmla="*/ 7273 w 10000"/>
                <a:gd name="connsiteY12" fmla="*/ 6080 h 9751"/>
                <a:gd name="connsiteX13" fmla="*/ 8021 w 10000"/>
                <a:gd name="connsiteY13" fmla="*/ 5597 h 9751"/>
                <a:gd name="connsiteX14" fmla="*/ 6143 w 10000"/>
                <a:gd name="connsiteY14" fmla="*/ 4103 h 9751"/>
                <a:gd name="connsiteX15" fmla="*/ 5505 w 10000"/>
                <a:gd name="connsiteY15" fmla="*/ 2594 h 9751"/>
                <a:gd name="connsiteX16" fmla="*/ 5260 w 10000"/>
                <a:gd name="connsiteY16" fmla="*/ 2491 h 9751"/>
                <a:gd name="connsiteX17" fmla="*/ 4325 w 10000"/>
                <a:gd name="connsiteY17" fmla="*/ 2274 h 9751"/>
                <a:gd name="connsiteX18" fmla="*/ 2075 w 10000"/>
                <a:gd name="connsiteY18" fmla="*/ 0 h 9751"/>
                <a:gd name="connsiteX19" fmla="*/ 1417 w 10000"/>
                <a:gd name="connsiteY19" fmla="*/ 2435 h 9751"/>
                <a:gd name="connsiteX20" fmla="*/ 1269 w 10000"/>
                <a:gd name="connsiteY20" fmla="*/ 3238 h 9751"/>
                <a:gd name="connsiteX21" fmla="*/ 1094 w 10000"/>
                <a:gd name="connsiteY21" fmla="*/ 4035 h 9751"/>
                <a:gd name="connsiteX22" fmla="*/ 1554 w 10000"/>
                <a:gd name="connsiteY22" fmla="*/ 4174 h 9751"/>
                <a:gd name="connsiteX23" fmla="*/ 0 w 10000"/>
                <a:gd name="connsiteY23" fmla="*/ 5596 h 9751"/>
                <a:gd name="connsiteX24" fmla="*/ 1010 w 10000"/>
                <a:gd name="connsiteY24" fmla="*/ 6204 h 9751"/>
                <a:gd name="connsiteX0" fmla="*/ 1010 w 10000"/>
                <a:gd name="connsiteY0" fmla="*/ 6362 h 10000"/>
                <a:gd name="connsiteX1" fmla="*/ 738 w 10000"/>
                <a:gd name="connsiteY1" fmla="*/ 9720 h 10000"/>
                <a:gd name="connsiteX2" fmla="*/ 305 w 10000"/>
                <a:gd name="connsiteY2" fmla="*/ 9847 h 10000"/>
                <a:gd name="connsiteX3" fmla="*/ 829 w 10000"/>
                <a:gd name="connsiteY3" fmla="*/ 9673 h 10000"/>
                <a:gd name="connsiteX4" fmla="*/ 2369 w 10000"/>
                <a:gd name="connsiteY4" fmla="*/ 9987 h 10000"/>
                <a:gd name="connsiteX5" fmla="*/ 2478 w 10000"/>
                <a:gd name="connsiteY5" fmla="*/ 9409 h 10000"/>
                <a:gd name="connsiteX6" fmla="*/ 4898 w 10000"/>
                <a:gd name="connsiteY6" fmla="*/ 9964 h 10000"/>
                <a:gd name="connsiteX7" fmla="*/ 6512 w 10000"/>
                <a:gd name="connsiteY7" fmla="*/ 9409 h 10000"/>
                <a:gd name="connsiteX8" fmla="*/ 7723 w 10000"/>
                <a:gd name="connsiteY8" fmla="*/ 7196 h 10000"/>
                <a:gd name="connsiteX9" fmla="*/ 9566 w 10000"/>
                <a:gd name="connsiteY9" fmla="*/ 8806 h 10000"/>
                <a:gd name="connsiteX10" fmla="*/ 10000 w 10000"/>
                <a:gd name="connsiteY10" fmla="*/ 6171 h 10000"/>
                <a:gd name="connsiteX11" fmla="*/ 9293 w 10000"/>
                <a:gd name="connsiteY11" fmla="*/ 3929 h 10000"/>
                <a:gd name="connsiteX12" fmla="*/ 7273 w 10000"/>
                <a:gd name="connsiteY12" fmla="*/ 6235 h 10000"/>
                <a:gd name="connsiteX13" fmla="*/ 8021 w 10000"/>
                <a:gd name="connsiteY13" fmla="*/ 5740 h 10000"/>
                <a:gd name="connsiteX14" fmla="*/ 6143 w 10000"/>
                <a:gd name="connsiteY14" fmla="*/ 4208 h 10000"/>
                <a:gd name="connsiteX15" fmla="*/ 5505 w 10000"/>
                <a:gd name="connsiteY15" fmla="*/ 2660 h 10000"/>
                <a:gd name="connsiteX16" fmla="*/ 5260 w 10000"/>
                <a:gd name="connsiteY16" fmla="*/ 2555 h 10000"/>
                <a:gd name="connsiteX17" fmla="*/ 4325 w 10000"/>
                <a:gd name="connsiteY17" fmla="*/ 2332 h 10000"/>
                <a:gd name="connsiteX18" fmla="*/ 2075 w 10000"/>
                <a:gd name="connsiteY18" fmla="*/ 0 h 10000"/>
                <a:gd name="connsiteX19" fmla="*/ 2472 w 10000"/>
                <a:gd name="connsiteY19" fmla="*/ 3303 h 10000"/>
                <a:gd name="connsiteX20" fmla="*/ 1269 w 10000"/>
                <a:gd name="connsiteY20" fmla="*/ 3321 h 10000"/>
                <a:gd name="connsiteX21" fmla="*/ 1094 w 10000"/>
                <a:gd name="connsiteY21" fmla="*/ 4138 h 10000"/>
                <a:gd name="connsiteX22" fmla="*/ 1554 w 10000"/>
                <a:gd name="connsiteY22" fmla="*/ 4281 h 10000"/>
                <a:gd name="connsiteX23" fmla="*/ 0 w 10000"/>
                <a:gd name="connsiteY23" fmla="*/ 5739 h 10000"/>
                <a:gd name="connsiteX24" fmla="*/ 1010 w 10000"/>
                <a:gd name="connsiteY24" fmla="*/ 6362 h 10000"/>
                <a:gd name="connsiteX0" fmla="*/ 1010 w 10000"/>
                <a:gd name="connsiteY0" fmla="*/ 4499 h 8137"/>
                <a:gd name="connsiteX1" fmla="*/ 738 w 10000"/>
                <a:gd name="connsiteY1" fmla="*/ 7857 h 8137"/>
                <a:gd name="connsiteX2" fmla="*/ 305 w 10000"/>
                <a:gd name="connsiteY2" fmla="*/ 7984 h 8137"/>
                <a:gd name="connsiteX3" fmla="*/ 829 w 10000"/>
                <a:gd name="connsiteY3" fmla="*/ 7810 h 8137"/>
                <a:gd name="connsiteX4" fmla="*/ 2369 w 10000"/>
                <a:gd name="connsiteY4" fmla="*/ 8124 h 8137"/>
                <a:gd name="connsiteX5" fmla="*/ 2478 w 10000"/>
                <a:gd name="connsiteY5" fmla="*/ 7546 h 8137"/>
                <a:gd name="connsiteX6" fmla="*/ 4898 w 10000"/>
                <a:gd name="connsiteY6" fmla="*/ 8101 h 8137"/>
                <a:gd name="connsiteX7" fmla="*/ 6512 w 10000"/>
                <a:gd name="connsiteY7" fmla="*/ 7546 h 8137"/>
                <a:gd name="connsiteX8" fmla="*/ 7723 w 10000"/>
                <a:gd name="connsiteY8" fmla="*/ 5333 h 8137"/>
                <a:gd name="connsiteX9" fmla="*/ 9566 w 10000"/>
                <a:gd name="connsiteY9" fmla="*/ 6943 h 8137"/>
                <a:gd name="connsiteX10" fmla="*/ 10000 w 10000"/>
                <a:gd name="connsiteY10" fmla="*/ 4308 h 8137"/>
                <a:gd name="connsiteX11" fmla="*/ 9293 w 10000"/>
                <a:gd name="connsiteY11" fmla="*/ 2066 h 8137"/>
                <a:gd name="connsiteX12" fmla="*/ 7273 w 10000"/>
                <a:gd name="connsiteY12" fmla="*/ 4372 h 8137"/>
                <a:gd name="connsiteX13" fmla="*/ 8021 w 10000"/>
                <a:gd name="connsiteY13" fmla="*/ 3877 h 8137"/>
                <a:gd name="connsiteX14" fmla="*/ 6143 w 10000"/>
                <a:gd name="connsiteY14" fmla="*/ 2345 h 8137"/>
                <a:gd name="connsiteX15" fmla="*/ 5505 w 10000"/>
                <a:gd name="connsiteY15" fmla="*/ 797 h 8137"/>
                <a:gd name="connsiteX16" fmla="*/ 5260 w 10000"/>
                <a:gd name="connsiteY16" fmla="*/ 692 h 8137"/>
                <a:gd name="connsiteX17" fmla="*/ 4325 w 10000"/>
                <a:gd name="connsiteY17" fmla="*/ 469 h 8137"/>
                <a:gd name="connsiteX18" fmla="*/ 3171 w 10000"/>
                <a:gd name="connsiteY18" fmla="*/ 0 h 8137"/>
                <a:gd name="connsiteX19" fmla="*/ 2472 w 10000"/>
                <a:gd name="connsiteY19" fmla="*/ 1440 h 8137"/>
                <a:gd name="connsiteX20" fmla="*/ 1269 w 10000"/>
                <a:gd name="connsiteY20" fmla="*/ 1458 h 8137"/>
                <a:gd name="connsiteX21" fmla="*/ 1094 w 10000"/>
                <a:gd name="connsiteY21" fmla="*/ 2275 h 8137"/>
                <a:gd name="connsiteX22" fmla="*/ 1554 w 10000"/>
                <a:gd name="connsiteY22" fmla="*/ 2418 h 8137"/>
                <a:gd name="connsiteX23" fmla="*/ 0 w 10000"/>
                <a:gd name="connsiteY23" fmla="*/ 3876 h 8137"/>
                <a:gd name="connsiteX24" fmla="*/ 1010 w 10000"/>
                <a:gd name="connsiteY24" fmla="*/ 4499 h 8137"/>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1094 w 10000"/>
                <a:gd name="connsiteY21" fmla="*/ 2796 h 10000"/>
                <a:gd name="connsiteX22" fmla="*/ 1554 w 10000"/>
                <a:gd name="connsiteY22" fmla="*/ 2972 h 10000"/>
                <a:gd name="connsiteX23" fmla="*/ 0 w 10000"/>
                <a:gd name="connsiteY23" fmla="*/ 4763 h 10000"/>
                <a:gd name="connsiteX24" fmla="*/ 1010 w 10000"/>
                <a:gd name="connsiteY24" fmla="*/ 5529 h 10000"/>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1094 w 10000"/>
                <a:gd name="connsiteY21" fmla="*/ 2796 h 10000"/>
                <a:gd name="connsiteX22" fmla="*/ 2331 w 10000"/>
                <a:gd name="connsiteY22" fmla="*/ 4409 h 10000"/>
                <a:gd name="connsiteX23" fmla="*/ 1554 w 10000"/>
                <a:gd name="connsiteY23" fmla="*/ 2972 h 10000"/>
                <a:gd name="connsiteX24" fmla="*/ 0 w 10000"/>
                <a:gd name="connsiteY24" fmla="*/ 4763 h 10000"/>
                <a:gd name="connsiteX25" fmla="*/ 1010 w 10000"/>
                <a:gd name="connsiteY25" fmla="*/ 5529 h 10000"/>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2267 w 10000"/>
                <a:gd name="connsiteY21" fmla="*/ 3898 h 10000"/>
                <a:gd name="connsiteX22" fmla="*/ 1094 w 10000"/>
                <a:gd name="connsiteY22" fmla="*/ 2796 h 10000"/>
                <a:gd name="connsiteX23" fmla="*/ 2331 w 10000"/>
                <a:gd name="connsiteY23" fmla="*/ 4409 h 10000"/>
                <a:gd name="connsiteX24" fmla="*/ 1554 w 10000"/>
                <a:gd name="connsiteY24" fmla="*/ 2972 h 10000"/>
                <a:gd name="connsiteX25" fmla="*/ 0 w 10000"/>
                <a:gd name="connsiteY25" fmla="*/ 4763 h 10000"/>
                <a:gd name="connsiteX26" fmla="*/ 1010 w 10000"/>
                <a:gd name="connsiteY26" fmla="*/ 5529 h 10000"/>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2267 w 10000"/>
                <a:gd name="connsiteY21" fmla="*/ 3898 h 10000"/>
                <a:gd name="connsiteX22" fmla="*/ 2454 w 10000"/>
                <a:gd name="connsiteY22" fmla="*/ 3694 h 10000"/>
                <a:gd name="connsiteX23" fmla="*/ 2331 w 10000"/>
                <a:gd name="connsiteY23" fmla="*/ 4409 h 10000"/>
                <a:gd name="connsiteX24" fmla="*/ 1554 w 10000"/>
                <a:gd name="connsiteY24" fmla="*/ 2972 h 10000"/>
                <a:gd name="connsiteX25" fmla="*/ 0 w 10000"/>
                <a:gd name="connsiteY25" fmla="*/ 4763 h 10000"/>
                <a:gd name="connsiteX26" fmla="*/ 1010 w 10000"/>
                <a:gd name="connsiteY26" fmla="*/ 5529 h 10000"/>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2267 w 10000"/>
                <a:gd name="connsiteY21" fmla="*/ 3898 h 10000"/>
                <a:gd name="connsiteX22" fmla="*/ 2454 w 10000"/>
                <a:gd name="connsiteY22" fmla="*/ 3694 h 10000"/>
                <a:gd name="connsiteX23" fmla="*/ 2331 w 10000"/>
                <a:gd name="connsiteY23" fmla="*/ 4409 h 10000"/>
                <a:gd name="connsiteX24" fmla="*/ 2156 w 10000"/>
                <a:gd name="connsiteY24" fmla="*/ 3663 h 10000"/>
                <a:gd name="connsiteX25" fmla="*/ 0 w 10000"/>
                <a:gd name="connsiteY25" fmla="*/ 4763 h 10000"/>
                <a:gd name="connsiteX26" fmla="*/ 1010 w 10000"/>
                <a:gd name="connsiteY26" fmla="*/ 5529 h 10000"/>
                <a:gd name="connsiteX0" fmla="*/ 713 w 9703"/>
                <a:gd name="connsiteY0" fmla="*/ 5529 h 10000"/>
                <a:gd name="connsiteX1" fmla="*/ 441 w 9703"/>
                <a:gd name="connsiteY1" fmla="*/ 9656 h 10000"/>
                <a:gd name="connsiteX2" fmla="*/ 8 w 9703"/>
                <a:gd name="connsiteY2" fmla="*/ 9812 h 10000"/>
                <a:gd name="connsiteX3" fmla="*/ 532 w 9703"/>
                <a:gd name="connsiteY3" fmla="*/ 9598 h 10000"/>
                <a:gd name="connsiteX4" fmla="*/ 2072 w 9703"/>
                <a:gd name="connsiteY4" fmla="*/ 9984 h 10000"/>
                <a:gd name="connsiteX5" fmla="*/ 2181 w 9703"/>
                <a:gd name="connsiteY5" fmla="*/ 9274 h 10000"/>
                <a:gd name="connsiteX6" fmla="*/ 4601 w 9703"/>
                <a:gd name="connsiteY6" fmla="*/ 9956 h 10000"/>
                <a:gd name="connsiteX7" fmla="*/ 6215 w 9703"/>
                <a:gd name="connsiteY7" fmla="*/ 9274 h 10000"/>
                <a:gd name="connsiteX8" fmla="*/ 7426 w 9703"/>
                <a:gd name="connsiteY8" fmla="*/ 6554 h 10000"/>
                <a:gd name="connsiteX9" fmla="*/ 9269 w 9703"/>
                <a:gd name="connsiteY9" fmla="*/ 8533 h 10000"/>
                <a:gd name="connsiteX10" fmla="*/ 9703 w 9703"/>
                <a:gd name="connsiteY10" fmla="*/ 5294 h 10000"/>
                <a:gd name="connsiteX11" fmla="*/ 8996 w 9703"/>
                <a:gd name="connsiteY11" fmla="*/ 2539 h 10000"/>
                <a:gd name="connsiteX12" fmla="*/ 6976 w 9703"/>
                <a:gd name="connsiteY12" fmla="*/ 5373 h 10000"/>
                <a:gd name="connsiteX13" fmla="*/ 7724 w 9703"/>
                <a:gd name="connsiteY13" fmla="*/ 4765 h 10000"/>
                <a:gd name="connsiteX14" fmla="*/ 5846 w 9703"/>
                <a:gd name="connsiteY14" fmla="*/ 2882 h 10000"/>
                <a:gd name="connsiteX15" fmla="*/ 5208 w 9703"/>
                <a:gd name="connsiteY15" fmla="*/ 979 h 10000"/>
                <a:gd name="connsiteX16" fmla="*/ 4963 w 9703"/>
                <a:gd name="connsiteY16" fmla="*/ 850 h 10000"/>
                <a:gd name="connsiteX17" fmla="*/ 4028 w 9703"/>
                <a:gd name="connsiteY17" fmla="*/ 576 h 10000"/>
                <a:gd name="connsiteX18" fmla="*/ 2874 w 9703"/>
                <a:gd name="connsiteY18" fmla="*/ 0 h 10000"/>
                <a:gd name="connsiteX19" fmla="*/ 2175 w 9703"/>
                <a:gd name="connsiteY19" fmla="*/ 1770 h 10000"/>
                <a:gd name="connsiteX20" fmla="*/ 1946 w 9703"/>
                <a:gd name="connsiteY20" fmla="*/ 3463 h 10000"/>
                <a:gd name="connsiteX21" fmla="*/ 1970 w 9703"/>
                <a:gd name="connsiteY21" fmla="*/ 3898 h 10000"/>
                <a:gd name="connsiteX22" fmla="*/ 2157 w 9703"/>
                <a:gd name="connsiteY22" fmla="*/ 3694 h 10000"/>
                <a:gd name="connsiteX23" fmla="*/ 2034 w 9703"/>
                <a:gd name="connsiteY23" fmla="*/ 4409 h 10000"/>
                <a:gd name="connsiteX24" fmla="*/ 1859 w 9703"/>
                <a:gd name="connsiteY24" fmla="*/ 3663 h 10000"/>
                <a:gd name="connsiteX25" fmla="*/ 2057 w 9703"/>
                <a:gd name="connsiteY25" fmla="*/ 4703 h 10000"/>
                <a:gd name="connsiteX26" fmla="*/ 713 w 9703"/>
                <a:gd name="connsiteY26" fmla="*/ 5529 h 10000"/>
                <a:gd name="connsiteX0" fmla="*/ 2050 w 10000"/>
                <a:gd name="connsiteY0" fmla="*/ 6546 h 10000"/>
                <a:gd name="connsiteX1" fmla="*/ 454 w 10000"/>
                <a:gd name="connsiteY1" fmla="*/ 9656 h 10000"/>
                <a:gd name="connsiteX2" fmla="*/ 8 w 10000"/>
                <a:gd name="connsiteY2" fmla="*/ 9812 h 10000"/>
                <a:gd name="connsiteX3" fmla="*/ 548 w 10000"/>
                <a:gd name="connsiteY3" fmla="*/ 9598 h 10000"/>
                <a:gd name="connsiteX4" fmla="*/ 2135 w 10000"/>
                <a:gd name="connsiteY4" fmla="*/ 9984 h 10000"/>
                <a:gd name="connsiteX5" fmla="*/ 2248 w 10000"/>
                <a:gd name="connsiteY5" fmla="*/ 9274 h 10000"/>
                <a:gd name="connsiteX6" fmla="*/ 4742 w 10000"/>
                <a:gd name="connsiteY6" fmla="*/ 9956 h 10000"/>
                <a:gd name="connsiteX7" fmla="*/ 6405 w 10000"/>
                <a:gd name="connsiteY7" fmla="*/ 9274 h 10000"/>
                <a:gd name="connsiteX8" fmla="*/ 7653 w 10000"/>
                <a:gd name="connsiteY8" fmla="*/ 6554 h 10000"/>
                <a:gd name="connsiteX9" fmla="*/ 9553 w 10000"/>
                <a:gd name="connsiteY9" fmla="*/ 8533 h 10000"/>
                <a:gd name="connsiteX10" fmla="*/ 10000 w 10000"/>
                <a:gd name="connsiteY10" fmla="*/ 5294 h 10000"/>
                <a:gd name="connsiteX11" fmla="*/ 9271 w 10000"/>
                <a:gd name="connsiteY11" fmla="*/ 2539 h 10000"/>
                <a:gd name="connsiteX12" fmla="*/ 7190 w 10000"/>
                <a:gd name="connsiteY12" fmla="*/ 5373 h 10000"/>
                <a:gd name="connsiteX13" fmla="*/ 7960 w 10000"/>
                <a:gd name="connsiteY13" fmla="*/ 4765 h 10000"/>
                <a:gd name="connsiteX14" fmla="*/ 6025 w 10000"/>
                <a:gd name="connsiteY14" fmla="*/ 2882 h 10000"/>
                <a:gd name="connsiteX15" fmla="*/ 5367 w 10000"/>
                <a:gd name="connsiteY15" fmla="*/ 979 h 10000"/>
                <a:gd name="connsiteX16" fmla="*/ 5115 w 10000"/>
                <a:gd name="connsiteY16" fmla="*/ 850 h 10000"/>
                <a:gd name="connsiteX17" fmla="*/ 4151 w 10000"/>
                <a:gd name="connsiteY17" fmla="*/ 576 h 10000"/>
                <a:gd name="connsiteX18" fmla="*/ 2962 w 10000"/>
                <a:gd name="connsiteY18" fmla="*/ 0 h 10000"/>
                <a:gd name="connsiteX19" fmla="*/ 2242 w 10000"/>
                <a:gd name="connsiteY19" fmla="*/ 1770 h 10000"/>
                <a:gd name="connsiteX20" fmla="*/ 2006 w 10000"/>
                <a:gd name="connsiteY20" fmla="*/ 3463 h 10000"/>
                <a:gd name="connsiteX21" fmla="*/ 2030 w 10000"/>
                <a:gd name="connsiteY21" fmla="*/ 3898 h 10000"/>
                <a:gd name="connsiteX22" fmla="*/ 2223 w 10000"/>
                <a:gd name="connsiteY22" fmla="*/ 3694 h 10000"/>
                <a:gd name="connsiteX23" fmla="*/ 2096 w 10000"/>
                <a:gd name="connsiteY23" fmla="*/ 4409 h 10000"/>
                <a:gd name="connsiteX24" fmla="*/ 1916 w 10000"/>
                <a:gd name="connsiteY24" fmla="*/ 3663 h 10000"/>
                <a:gd name="connsiteX25" fmla="*/ 2120 w 10000"/>
                <a:gd name="connsiteY25" fmla="*/ 4703 h 10000"/>
                <a:gd name="connsiteX26" fmla="*/ 2050 w 10000"/>
                <a:gd name="connsiteY26" fmla="*/ 6546 h 10000"/>
                <a:gd name="connsiteX0" fmla="*/ 2045 w 9995"/>
                <a:gd name="connsiteY0" fmla="*/ 6546 h 9984"/>
                <a:gd name="connsiteX1" fmla="*/ 449 w 9995"/>
                <a:gd name="connsiteY1" fmla="*/ 9656 h 9984"/>
                <a:gd name="connsiteX2" fmla="*/ 3 w 9995"/>
                <a:gd name="connsiteY2" fmla="*/ 9812 h 9984"/>
                <a:gd name="connsiteX3" fmla="*/ 2077 w 9995"/>
                <a:gd name="connsiteY3" fmla="*/ 6960 h 9984"/>
                <a:gd name="connsiteX4" fmla="*/ 2130 w 9995"/>
                <a:gd name="connsiteY4" fmla="*/ 9984 h 9984"/>
                <a:gd name="connsiteX5" fmla="*/ 2243 w 9995"/>
                <a:gd name="connsiteY5" fmla="*/ 9274 h 9984"/>
                <a:gd name="connsiteX6" fmla="*/ 4737 w 9995"/>
                <a:gd name="connsiteY6" fmla="*/ 9956 h 9984"/>
                <a:gd name="connsiteX7" fmla="*/ 6400 w 9995"/>
                <a:gd name="connsiteY7" fmla="*/ 9274 h 9984"/>
                <a:gd name="connsiteX8" fmla="*/ 7648 w 9995"/>
                <a:gd name="connsiteY8" fmla="*/ 6554 h 9984"/>
                <a:gd name="connsiteX9" fmla="*/ 9548 w 9995"/>
                <a:gd name="connsiteY9" fmla="*/ 8533 h 9984"/>
                <a:gd name="connsiteX10" fmla="*/ 9995 w 9995"/>
                <a:gd name="connsiteY10" fmla="*/ 5294 h 9984"/>
                <a:gd name="connsiteX11" fmla="*/ 9266 w 9995"/>
                <a:gd name="connsiteY11" fmla="*/ 2539 h 9984"/>
                <a:gd name="connsiteX12" fmla="*/ 7185 w 9995"/>
                <a:gd name="connsiteY12" fmla="*/ 5373 h 9984"/>
                <a:gd name="connsiteX13" fmla="*/ 7955 w 9995"/>
                <a:gd name="connsiteY13" fmla="*/ 4765 h 9984"/>
                <a:gd name="connsiteX14" fmla="*/ 6020 w 9995"/>
                <a:gd name="connsiteY14" fmla="*/ 2882 h 9984"/>
                <a:gd name="connsiteX15" fmla="*/ 5362 w 9995"/>
                <a:gd name="connsiteY15" fmla="*/ 979 h 9984"/>
                <a:gd name="connsiteX16" fmla="*/ 5110 w 9995"/>
                <a:gd name="connsiteY16" fmla="*/ 850 h 9984"/>
                <a:gd name="connsiteX17" fmla="*/ 4146 w 9995"/>
                <a:gd name="connsiteY17" fmla="*/ 576 h 9984"/>
                <a:gd name="connsiteX18" fmla="*/ 2957 w 9995"/>
                <a:gd name="connsiteY18" fmla="*/ 0 h 9984"/>
                <a:gd name="connsiteX19" fmla="*/ 2237 w 9995"/>
                <a:gd name="connsiteY19" fmla="*/ 1770 h 9984"/>
                <a:gd name="connsiteX20" fmla="*/ 2001 w 9995"/>
                <a:gd name="connsiteY20" fmla="*/ 3463 h 9984"/>
                <a:gd name="connsiteX21" fmla="*/ 2025 w 9995"/>
                <a:gd name="connsiteY21" fmla="*/ 3898 h 9984"/>
                <a:gd name="connsiteX22" fmla="*/ 2218 w 9995"/>
                <a:gd name="connsiteY22" fmla="*/ 3694 h 9984"/>
                <a:gd name="connsiteX23" fmla="*/ 2091 w 9995"/>
                <a:gd name="connsiteY23" fmla="*/ 4409 h 9984"/>
                <a:gd name="connsiteX24" fmla="*/ 1911 w 9995"/>
                <a:gd name="connsiteY24" fmla="*/ 3663 h 9984"/>
                <a:gd name="connsiteX25" fmla="*/ 2115 w 9995"/>
                <a:gd name="connsiteY25" fmla="*/ 4703 h 9984"/>
                <a:gd name="connsiteX26" fmla="*/ 2045 w 9995"/>
                <a:gd name="connsiteY26" fmla="*/ 6546 h 9984"/>
                <a:gd name="connsiteX0" fmla="*/ 1603 w 9557"/>
                <a:gd name="connsiteY0" fmla="*/ 6556 h 10000"/>
                <a:gd name="connsiteX1" fmla="*/ 6 w 9557"/>
                <a:gd name="connsiteY1" fmla="*/ 9671 h 10000"/>
                <a:gd name="connsiteX2" fmla="*/ 2233 w 9557"/>
                <a:gd name="connsiteY2" fmla="*/ 7881 h 10000"/>
                <a:gd name="connsiteX3" fmla="*/ 1635 w 9557"/>
                <a:gd name="connsiteY3" fmla="*/ 6971 h 10000"/>
                <a:gd name="connsiteX4" fmla="*/ 1688 w 9557"/>
                <a:gd name="connsiteY4" fmla="*/ 10000 h 10000"/>
                <a:gd name="connsiteX5" fmla="*/ 1801 w 9557"/>
                <a:gd name="connsiteY5" fmla="*/ 9289 h 10000"/>
                <a:gd name="connsiteX6" fmla="*/ 4296 w 9557"/>
                <a:gd name="connsiteY6" fmla="*/ 9972 h 10000"/>
                <a:gd name="connsiteX7" fmla="*/ 5960 w 9557"/>
                <a:gd name="connsiteY7" fmla="*/ 9289 h 10000"/>
                <a:gd name="connsiteX8" fmla="*/ 7209 w 9557"/>
                <a:gd name="connsiteY8" fmla="*/ 6565 h 10000"/>
                <a:gd name="connsiteX9" fmla="*/ 9110 w 9557"/>
                <a:gd name="connsiteY9" fmla="*/ 8547 h 10000"/>
                <a:gd name="connsiteX10" fmla="*/ 9557 w 9557"/>
                <a:gd name="connsiteY10" fmla="*/ 5302 h 10000"/>
                <a:gd name="connsiteX11" fmla="*/ 8828 w 9557"/>
                <a:gd name="connsiteY11" fmla="*/ 2543 h 10000"/>
                <a:gd name="connsiteX12" fmla="*/ 6746 w 9557"/>
                <a:gd name="connsiteY12" fmla="*/ 5382 h 10000"/>
                <a:gd name="connsiteX13" fmla="*/ 7516 w 9557"/>
                <a:gd name="connsiteY13" fmla="*/ 4773 h 10000"/>
                <a:gd name="connsiteX14" fmla="*/ 5580 w 9557"/>
                <a:gd name="connsiteY14" fmla="*/ 2887 h 10000"/>
                <a:gd name="connsiteX15" fmla="*/ 4922 w 9557"/>
                <a:gd name="connsiteY15" fmla="*/ 981 h 10000"/>
                <a:gd name="connsiteX16" fmla="*/ 4670 w 9557"/>
                <a:gd name="connsiteY16" fmla="*/ 851 h 10000"/>
                <a:gd name="connsiteX17" fmla="*/ 3705 w 9557"/>
                <a:gd name="connsiteY17" fmla="*/ 577 h 10000"/>
                <a:gd name="connsiteX18" fmla="*/ 2515 w 9557"/>
                <a:gd name="connsiteY18" fmla="*/ 0 h 10000"/>
                <a:gd name="connsiteX19" fmla="*/ 1795 w 9557"/>
                <a:gd name="connsiteY19" fmla="*/ 1773 h 10000"/>
                <a:gd name="connsiteX20" fmla="*/ 1559 w 9557"/>
                <a:gd name="connsiteY20" fmla="*/ 3469 h 10000"/>
                <a:gd name="connsiteX21" fmla="*/ 1583 w 9557"/>
                <a:gd name="connsiteY21" fmla="*/ 3904 h 10000"/>
                <a:gd name="connsiteX22" fmla="*/ 1776 w 9557"/>
                <a:gd name="connsiteY22" fmla="*/ 3700 h 10000"/>
                <a:gd name="connsiteX23" fmla="*/ 1649 w 9557"/>
                <a:gd name="connsiteY23" fmla="*/ 4416 h 10000"/>
                <a:gd name="connsiteX24" fmla="*/ 1469 w 9557"/>
                <a:gd name="connsiteY24" fmla="*/ 3669 h 10000"/>
                <a:gd name="connsiteX25" fmla="*/ 1673 w 9557"/>
                <a:gd name="connsiteY25" fmla="*/ 4711 h 10000"/>
                <a:gd name="connsiteX26" fmla="*/ 1603 w 9557"/>
                <a:gd name="connsiteY26" fmla="*/ 6556 h 10000"/>
                <a:gd name="connsiteX0" fmla="*/ 141 w 8464"/>
                <a:gd name="connsiteY0" fmla="*/ 6556 h 10000"/>
                <a:gd name="connsiteX1" fmla="*/ 373 w 8464"/>
                <a:gd name="connsiteY1" fmla="*/ 7883 h 10000"/>
                <a:gd name="connsiteX2" fmla="*/ 801 w 8464"/>
                <a:gd name="connsiteY2" fmla="*/ 7881 h 10000"/>
                <a:gd name="connsiteX3" fmla="*/ 175 w 8464"/>
                <a:gd name="connsiteY3" fmla="*/ 6971 h 10000"/>
                <a:gd name="connsiteX4" fmla="*/ 230 w 8464"/>
                <a:gd name="connsiteY4" fmla="*/ 10000 h 10000"/>
                <a:gd name="connsiteX5" fmla="*/ 348 w 8464"/>
                <a:gd name="connsiteY5" fmla="*/ 9289 h 10000"/>
                <a:gd name="connsiteX6" fmla="*/ 2959 w 8464"/>
                <a:gd name="connsiteY6" fmla="*/ 9972 h 10000"/>
                <a:gd name="connsiteX7" fmla="*/ 4700 w 8464"/>
                <a:gd name="connsiteY7" fmla="*/ 9289 h 10000"/>
                <a:gd name="connsiteX8" fmla="*/ 6007 w 8464"/>
                <a:gd name="connsiteY8" fmla="*/ 6565 h 10000"/>
                <a:gd name="connsiteX9" fmla="*/ 7996 w 8464"/>
                <a:gd name="connsiteY9" fmla="*/ 8547 h 10000"/>
                <a:gd name="connsiteX10" fmla="*/ 8464 w 8464"/>
                <a:gd name="connsiteY10" fmla="*/ 5302 h 10000"/>
                <a:gd name="connsiteX11" fmla="*/ 7701 w 8464"/>
                <a:gd name="connsiteY11" fmla="*/ 2543 h 10000"/>
                <a:gd name="connsiteX12" fmla="*/ 5523 w 8464"/>
                <a:gd name="connsiteY12" fmla="*/ 5382 h 10000"/>
                <a:gd name="connsiteX13" fmla="*/ 6328 w 8464"/>
                <a:gd name="connsiteY13" fmla="*/ 4773 h 10000"/>
                <a:gd name="connsiteX14" fmla="*/ 4303 w 8464"/>
                <a:gd name="connsiteY14" fmla="*/ 2887 h 10000"/>
                <a:gd name="connsiteX15" fmla="*/ 3614 w 8464"/>
                <a:gd name="connsiteY15" fmla="*/ 981 h 10000"/>
                <a:gd name="connsiteX16" fmla="*/ 3350 w 8464"/>
                <a:gd name="connsiteY16" fmla="*/ 851 h 10000"/>
                <a:gd name="connsiteX17" fmla="*/ 2341 w 8464"/>
                <a:gd name="connsiteY17" fmla="*/ 577 h 10000"/>
                <a:gd name="connsiteX18" fmla="*/ 1096 w 8464"/>
                <a:gd name="connsiteY18" fmla="*/ 0 h 10000"/>
                <a:gd name="connsiteX19" fmla="*/ 342 w 8464"/>
                <a:gd name="connsiteY19" fmla="*/ 1773 h 10000"/>
                <a:gd name="connsiteX20" fmla="*/ 95 w 8464"/>
                <a:gd name="connsiteY20" fmla="*/ 3469 h 10000"/>
                <a:gd name="connsiteX21" fmla="*/ 120 w 8464"/>
                <a:gd name="connsiteY21" fmla="*/ 3904 h 10000"/>
                <a:gd name="connsiteX22" fmla="*/ 322 w 8464"/>
                <a:gd name="connsiteY22" fmla="*/ 3700 h 10000"/>
                <a:gd name="connsiteX23" fmla="*/ 189 w 8464"/>
                <a:gd name="connsiteY23" fmla="*/ 4416 h 10000"/>
                <a:gd name="connsiteX24" fmla="*/ 1 w 8464"/>
                <a:gd name="connsiteY24" fmla="*/ 3669 h 10000"/>
                <a:gd name="connsiteX25" fmla="*/ 215 w 8464"/>
                <a:gd name="connsiteY25" fmla="*/ 4711 h 10000"/>
                <a:gd name="connsiteX26" fmla="*/ 141 w 8464"/>
                <a:gd name="connsiteY26" fmla="*/ 6556 h 10000"/>
                <a:gd name="connsiteX0" fmla="*/ 167 w 10000"/>
                <a:gd name="connsiteY0" fmla="*/ 6556 h 9972"/>
                <a:gd name="connsiteX1" fmla="*/ 441 w 10000"/>
                <a:gd name="connsiteY1" fmla="*/ 7883 h 9972"/>
                <a:gd name="connsiteX2" fmla="*/ 946 w 10000"/>
                <a:gd name="connsiteY2" fmla="*/ 7881 h 9972"/>
                <a:gd name="connsiteX3" fmla="*/ 207 w 10000"/>
                <a:gd name="connsiteY3" fmla="*/ 6971 h 9972"/>
                <a:gd name="connsiteX4" fmla="*/ 1069 w 10000"/>
                <a:gd name="connsiteY4" fmla="*/ 8621 h 9972"/>
                <a:gd name="connsiteX5" fmla="*/ 411 w 10000"/>
                <a:gd name="connsiteY5" fmla="*/ 9289 h 9972"/>
                <a:gd name="connsiteX6" fmla="*/ 3496 w 10000"/>
                <a:gd name="connsiteY6" fmla="*/ 9972 h 9972"/>
                <a:gd name="connsiteX7" fmla="*/ 5553 w 10000"/>
                <a:gd name="connsiteY7" fmla="*/ 9289 h 9972"/>
                <a:gd name="connsiteX8" fmla="*/ 7097 w 10000"/>
                <a:gd name="connsiteY8" fmla="*/ 6565 h 9972"/>
                <a:gd name="connsiteX9" fmla="*/ 9447 w 10000"/>
                <a:gd name="connsiteY9" fmla="*/ 8547 h 9972"/>
                <a:gd name="connsiteX10" fmla="*/ 10000 w 10000"/>
                <a:gd name="connsiteY10" fmla="*/ 5302 h 9972"/>
                <a:gd name="connsiteX11" fmla="*/ 9099 w 10000"/>
                <a:gd name="connsiteY11" fmla="*/ 2543 h 9972"/>
                <a:gd name="connsiteX12" fmla="*/ 6525 w 10000"/>
                <a:gd name="connsiteY12" fmla="*/ 5382 h 9972"/>
                <a:gd name="connsiteX13" fmla="*/ 7476 w 10000"/>
                <a:gd name="connsiteY13" fmla="*/ 4773 h 9972"/>
                <a:gd name="connsiteX14" fmla="*/ 5084 w 10000"/>
                <a:gd name="connsiteY14" fmla="*/ 2887 h 9972"/>
                <a:gd name="connsiteX15" fmla="*/ 4270 w 10000"/>
                <a:gd name="connsiteY15" fmla="*/ 981 h 9972"/>
                <a:gd name="connsiteX16" fmla="*/ 3958 w 10000"/>
                <a:gd name="connsiteY16" fmla="*/ 851 h 9972"/>
                <a:gd name="connsiteX17" fmla="*/ 2766 w 10000"/>
                <a:gd name="connsiteY17" fmla="*/ 577 h 9972"/>
                <a:gd name="connsiteX18" fmla="*/ 1295 w 10000"/>
                <a:gd name="connsiteY18" fmla="*/ 0 h 9972"/>
                <a:gd name="connsiteX19" fmla="*/ 404 w 10000"/>
                <a:gd name="connsiteY19" fmla="*/ 1773 h 9972"/>
                <a:gd name="connsiteX20" fmla="*/ 112 w 10000"/>
                <a:gd name="connsiteY20" fmla="*/ 3469 h 9972"/>
                <a:gd name="connsiteX21" fmla="*/ 142 w 10000"/>
                <a:gd name="connsiteY21" fmla="*/ 3904 h 9972"/>
                <a:gd name="connsiteX22" fmla="*/ 380 w 10000"/>
                <a:gd name="connsiteY22" fmla="*/ 3700 h 9972"/>
                <a:gd name="connsiteX23" fmla="*/ 223 w 10000"/>
                <a:gd name="connsiteY23" fmla="*/ 4416 h 9972"/>
                <a:gd name="connsiteX24" fmla="*/ 1 w 10000"/>
                <a:gd name="connsiteY24" fmla="*/ 3669 h 9972"/>
                <a:gd name="connsiteX25" fmla="*/ 254 w 10000"/>
                <a:gd name="connsiteY25" fmla="*/ 4711 h 9972"/>
                <a:gd name="connsiteX26" fmla="*/ 167 w 10000"/>
                <a:gd name="connsiteY26" fmla="*/ 6556 h 9972"/>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6525 w 10000"/>
                <a:gd name="connsiteY12" fmla="*/ 5397 h 10000"/>
                <a:gd name="connsiteX13" fmla="*/ 7476 w 10000"/>
                <a:gd name="connsiteY13" fmla="*/ 4786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7476 w 10000"/>
                <a:gd name="connsiteY13" fmla="*/ 4786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6206 w 10000"/>
                <a:gd name="connsiteY13" fmla="*/ 647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6206 w 10000"/>
                <a:gd name="connsiteY13" fmla="*/ 647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6729 w 10000"/>
                <a:gd name="connsiteY13" fmla="*/ 6188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6313 w 10000"/>
                <a:gd name="connsiteY13" fmla="*/ 635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6179 w 10000"/>
                <a:gd name="connsiteY12" fmla="*/ 6389 h 10000"/>
                <a:gd name="connsiteX13" fmla="*/ 6313 w 10000"/>
                <a:gd name="connsiteY13" fmla="*/ 635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1177 w 10000"/>
                <a:gd name="connsiteY5" fmla="*/ 8724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6179 w 10000"/>
                <a:gd name="connsiteY12" fmla="*/ 6389 h 10000"/>
                <a:gd name="connsiteX13" fmla="*/ 6313 w 10000"/>
                <a:gd name="connsiteY13" fmla="*/ 635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000" h="10000">
                  <a:moveTo>
                    <a:pt x="167" y="6574"/>
                  </a:moveTo>
                  <a:cubicBezTo>
                    <a:pt x="314" y="8031"/>
                    <a:pt x="292" y="6449"/>
                    <a:pt x="441" y="7905"/>
                  </a:cubicBezTo>
                  <a:lnTo>
                    <a:pt x="946" y="7903"/>
                  </a:lnTo>
                  <a:cubicBezTo>
                    <a:pt x="840" y="8635"/>
                    <a:pt x="312" y="6259"/>
                    <a:pt x="207" y="6991"/>
                  </a:cubicBezTo>
                  <a:cubicBezTo>
                    <a:pt x="229" y="8003"/>
                    <a:pt x="1046" y="7632"/>
                    <a:pt x="1069" y="8645"/>
                  </a:cubicBezTo>
                  <a:cubicBezTo>
                    <a:pt x="1239" y="7735"/>
                    <a:pt x="1007" y="9636"/>
                    <a:pt x="1177" y="8724"/>
                  </a:cubicBezTo>
                  <a:lnTo>
                    <a:pt x="3496" y="10000"/>
                  </a:lnTo>
                  <a:lnTo>
                    <a:pt x="5327" y="7864"/>
                  </a:lnTo>
                  <a:lnTo>
                    <a:pt x="7097" y="6583"/>
                  </a:lnTo>
                  <a:lnTo>
                    <a:pt x="9447" y="8571"/>
                  </a:lnTo>
                  <a:cubicBezTo>
                    <a:pt x="9630" y="7485"/>
                    <a:pt x="9816" y="6403"/>
                    <a:pt x="10000" y="5317"/>
                  </a:cubicBezTo>
                  <a:cubicBezTo>
                    <a:pt x="9589" y="3042"/>
                    <a:pt x="9511" y="4827"/>
                    <a:pt x="9099" y="2550"/>
                  </a:cubicBezTo>
                  <a:cubicBezTo>
                    <a:pt x="8241" y="3500"/>
                    <a:pt x="6012" y="6092"/>
                    <a:pt x="6179" y="6389"/>
                  </a:cubicBezTo>
                  <a:cubicBezTo>
                    <a:pt x="6359" y="6187"/>
                    <a:pt x="6430" y="6826"/>
                    <a:pt x="6313" y="6350"/>
                  </a:cubicBezTo>
                  <a:lnTo>
                    <a:pt x="5084" y="2895"/>
                  </a:lnTo>
                  <a:cubicBezTo>
                    <a:pt x="4863" y="1763"/>
                    <a:pt x="4490" y="2115"/>
                    <a:pt x="4270" y="984"/>
                  </a:cubicBezTo>
                  <a:cubicBezTo>
                    <a:pt x="4106" y="1068"/>
                    <a:pt x="4123" y="770"/>
                    <a:pt x="3958" y="853"/>
                  </a:cubicBezTo>
                  <a:lnTo>
                    <a:pt x="2766" y="579"/>
                  </a:lnTo>
                  <a:cubicBezTo>
                    <a:pt x="2598" y="-513"/>
                    <a:pt x="1465" y="1093"/>
                    <a:pt x="1295" y="0"/>
                  </a:cubicBezTo>
                  <a:cubicBezTo>
                    <a:pt x="1464" y="1359"/>
                    <a:pt x="236" y="419"/>
                    <a:pt x="404" y="1778"/>
                  </a:cubicBezTo>
                  <a:cubicBezTo>
                    <a:pt x="825" y="4373"/>
                    <a:pt x="-310" y="880"/>
                    <a:pt x="112" y="3479"/>
                  </a:cubicBezTo>
                  <a:cubicBezTo>
                    <a:pt x="-104" y="3661"/>
                    <a:pt x="388" y="4026"/>
                    <a:pt x="142" y="3915"/>
                  </a:cubicBezTo>
                  <a:cubicBezTo>
                    <a:pt x="-102" y="3804"/>
                    <a:pt x="195" y="3453"/>
                    <a:pt x="380" y="3710"/>
                  </a:cubicBezTo>
                  <a:cubicBezTo>
                    <a:pt x="175" y="3609"/>
                    <a:pt x="128" y="4399"/>
                    <a:pt x="223" y="4428"/>
                  </a:cubicBezTo>
                  <a:cubicBezTo>
                    <a:pt x="321" y="4457"/>
                    <a:pt x="271" y="3360"/>
                    <a:pt x="1" y="3679"/>
                  </a:cubicBezTo>
                  <a:cubicBezTo>
                    <a:pt x="-4" y="4323"/>
                    <a:pt x="258" y="4080"/>
                    <a:pt x="254" y="4724"/>
                  </a:cubicBezTo>
                  <a:cubicBezTo>
                    <a:pt x="224" y="5341"/>
                    <a:pt x="195" y="5959"/>
                    <a:pt x="167" y="6574"/>
                  </a:cubicBezTo>
                  <a:close/>
                </a:path>
              </a:pathLst>
            </a:custGeom>
            <a:solidFill>
              <a:schemeClr val="bg1">
                <a:lumMod val="95000"/>
              </a:schemeClr>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eaLnBrk="0" fontAlgn="auto" hangingPunct="0">
                <a:spcBef>
                  <a:spcPts val="0"/>
                </a:spcBef>
                <a:spcAft>
                  <a:spcPts val="0"/>
                </a:spcAft>
                <a:defRPr/>
              </a:pPr>
              <a:endParaRPr lang="en-IE" sz="2400" b="1" dirty="0">
                <a:solidFill>
                  <a:srgbClr val="000000"/>
                </a:solidFill>
              </a:endParaRPr>
            </a:p>
          </p:txBody>
        </p:sp>
        <p:cxnSp>
          <p:nvCxnSpPr>
            <p:cNvPr id="51" name="Connecteur droit 50"/>
            <p:cNvCxnSpPr>
              <a:stCxn id="96" idx="15"/>
              <a:endCxn id="102" idx="40"/>
            </p:cNvCxnSpPr>
            <p:nvPr/>
          </p:nvCxnSpPr>
          <p:spPr bwMode="auto">
            <a:xfrm>
              <a:off x="4578350" y="3584575"/>
              <a:ext cx="160338" cy="207963"/>
            </a:xfrm>
            <a:prstGeom prst="line">
              <a:avLst/>
            </a:prstGeom>
            <a:ln w="25400">
              <a:solidFill>
                <a:schemeClr val="bg1">
                  <a:lumMod val="95000"/>
                </a:schemeClr>
              </a:solidFill>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2" name="Connecteur droit 51"/>
            <p:cNvCxnSpPr>
              <a:stCxn id="75" idx="8"/>
              <a:endCxn id="71" idx="5"/>
            </p:cNvCxnSpPr>
            <p:nvPr/>
          </p:nvCxnSpPr>
          <p:spPr>
            <a:xfrm>
              <a:off x="6650985" y="5490144"/>
              <a:ext cx="263633" cy="148359"/>
            </a:xfrm>
            <a:prstGeom prst="line">
              <a:avLst/>
            </a:prstGeom>
            <a:ln w="25400">
              <a:solidFill>
                <a:schemeClr val="bg1">
                  <a:lumMod val="95000"/>
                </a:schemeClr>
              </a:solidFill>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3" name="Connecteur droit 52"/>
            <p:cNvCxnSpPr>
              <a:stCxn id="103" idx="17"/>
            </p:cNvCxnSpPr>
            <p:nvPr/>
          </p:nvCxnSpPr>
          <p:spPr bwMode="auto">
            <a:xfrm>
              <a:off x="4268360" y="3134602"/>
              <a:ext cx="132190" cy="138603"/>
            </a:xfrm>
            <a:prstGeom prst="line">
              <a:avLst/>
            </a:prstGeom>
            <a:ln w="25400">
              <a:solidFill>
                <a:schemeClr val="bg1">
                  <a:lumMod val="95000"/>
                </a:schemeClr>
              </a:solidFill>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95B4C14-6E57-411F-A4A0-79ABD1F5587F}"/>
              </a:ext>
            </a:extLst>
          </p:cNvPr>
          <p:cNvSpPr>
            <a:spLocks noGrp="1"/>
          </p:cNvSpPr>
          <p:nvPr>
            <p:ph type="title"/>
          </p:nvPr>
        </p:nvSpPr>
        <p:spPr>
          <a:xfrm>
            <a:off x="623888" y="1709738"/>
            <a:ext cx="7886700" cy="2852737"/>
          </a:xfrm>
        </p:spPr>
        <p:txBody>
          <a:bodyPr anchor="b"/>
          <a:lstStyle>
            <a:lvl1pPr>
              <a:defRPr sz="6000"/>
            </a:lvl1pPr>
          </a:lstStyle>
          <a:p>
            <a:r>
              <a:rPr lang="fr-FR"/>
              <a:t>Modifiez le style du titre</a:t>
            </a:r>
            <a:endParaRPr lang="en-GB"/>
          </a:p>
        </p:txBody>
      </p:sp>
      <p:sp>
        <p:nvSpPr>
          <p:cNvPr id="3" name="Espace réservé du texte 2">
            <a:extLst>
              <a:ext uri="{FF2B5EF4-FFF2-40B4-BE49-F238E27FC236}">
                <a16:creationId xmlns:a16="http://schemas.microsoft.com/office/drawing/2014/main" id="{8799C5B8-F0A3-457F-ABB7-0740A8DB1AB1}"/>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a:extLst>
              <a:ext uri="{FF2B5EF4-FFF2-40B4-BE49-F238E27FC236}">
                <a16:creationId xmlns:a16="http://schemas.microsoft.com/office/drawing/2014/main" id="{F0C38B58-4C19-4E43-A4F4-5002EC232295}"/>
              </a:ext>
            </a:extLst>
          </p:cNvPr>
          <p:cNvSpPr>
            <a:spLocks noGrp="1"/>
          </p:cNvSpPr>
          <p:nvPr>
            <p:ph type="dt" sz="half" idx="10"/>
          </p:nvPr>
        </p:nvSpPr>
        <p:spPr/>
        <p:txBody>
          <a:bodyPr/>
          <a:lstStyle/>
          <a:p>
            <a:fld id="{DA101903-EEB7-46AD-9CF2-2520EA3A19DC}" type="datetimeFigureOut">
              <a:rPr lang="en-GB" smtClean="0"/>
              <a:t>23/04/2024</a:t>
            </a:fld>
            <a:endParaRPr lang="en-GB"/>
          </a:p>
        </p:txBody>
      </p:sp>
      <p:sp>
        <p:nvSpPr>
          <p:cNvPr id="5" name="Espace réservé du pied de page 4">
            <a:extLst>
              <a:ext uri="{FF2B5EF4-FFF2-40B4-BE49-F238E27FC236}">
                <a16:creationId xmlns:a16="http://schemas.microsoft.com/office/drawing/2014/main" id="{07EE5A6E-BB3B-4C5B-BC85-ACE7857B3FFE}"/>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1642FAD7-DF75-4380-B91A-DDF15B46C139}"/>
              </a:ext>
            </a:extLst>
          </p:cNvPr>
          <p:cNvSpPr>
            <a:spLocks noGrp="1"/>
          </p:cNvSpPr>
          <p:nvPr>
            <p:ph type="sldNum" sz="quarter" idx="12"/>
          </p:nvPr>
        </p:nvSpPr>
        <p:spPr/>
        <p:txBody>
          <a:bodyPr/>
          <a:lstStyle/>
          <a:p>
            <a:fld id="{6826A6F9-03C7-432C-A512-008236AA45CE}" type="slidenum">
              <a:rPr lang="en-GB" smtClean="0"/>
              <a:t>‹#›</a:t>
            </a:fld>
            <a:endParaRPr lang="en-GB"/>
          </a:p>
        </p:txBody>
      </p:sp>
    </p:spTree>
    <p:extLst>
      <p:ext uri="{BB962C8B-B14F-4D97-AF65-F5344CB8AC3E}">
        <p14:creationId xmlns:p14="http://schemas.microsoft.com/office/powerpoint/2010/main" val="36032965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2A7FEA4-4E1E-407B-8F39-7A5530EA36B4}"/>
              </a:ext>
            </a:extLst>
          </p:cNvPr>
          <p:cNvSpPr>
            <a:spLocks noGrp="1"/>
          </p:cNvSpPr>
          <p:nvPr>
            <p:ph type="title"/>
          </p:nvPr>
        </p:nvSpPr>
        <p:spPr/>
        <p:txBody>
          <a:bodyPr/>
          <a:lstStyle/>
          <a:p>
            <a:r>
              <a:rPr lang="fr-FR"/>
              <a:t>Modifiez le style du titre</a:t>
            </a:r>
            <a:endParaRPr lang="en-GB"/>
          </a:p>
        </p:txBody>
      </p:sp>
      <p:sp>
        <p:nvSpPr>
          <p:cNvPr id="3" name="Espace réservé du contenu 2">
            <a:extLst>
              <a:ext uri="{FF2B5EF4-FFF2-40B4-BE49-F238E27FC236}">
                <a16:creationId xmlns:a16="http://schemas.microsoft.com/office/drawing/2014/main" id="{F60D01A6-E2D2-4121-8B16-80CCC7EAF4C7}"/>
              </a:ext>
            </a:extLst>
          </p:cNvPr>
          <p:cNvSpPr>
            <a:spLocks noGrp="1"/>
          </p:cNvSpPr>
          <p:nvPr>
            <p:ph sz="half" idx="1"/>
          </p:nvPr>
        </p:nvSpPr>
        <p:spPr>
          <a:xfrm>
            <a:off x="628650" y="1825625"/>
            <a:ext cx="386715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u contenu 3">
            <a:extLst>
              <a:ext uri="{FF2B5EF4-FFF2-40B4-BE49-F238E27FC236}">
                <a16:creationId xmlns:a16="http://schemas.microsoft.com/office/drawing/2014/main" id="{A3D33E0E-DCC2-404B-855C-B4AD32E25A77}"/>
              </a:ext>
            </a:extLst>
          </p:cNvPr>
          <p:cNvSpPr>
            <a:spLocks noGrp="1"/>
          </p:cNvSpPr>
          <p:nvPr>
            <p:ph sz="half" idx="2"/>
          </p:nvPr>
        </p:nvSpPr>
        <p:spPr>
          <a:xfrm>
            <a:off x="4648200" y="1825625"/>
            <a:ext cx="386715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e la date 4">
            <a:extLst>
              <a:ext uri="{FF2B5EF4-FFF2-40B4-BE49-F238E27FC236}">
                <a16:creationId xmlns:a16="http://schemas.microsoft.com/office/drawing/2014/main" id="{CAE367B3-AAD2-4676-8F84-50AE0DE0377A}"/>
              </a:ext>
            </a:extLst>
          </p:cNvPr>
          <p:cNvSpPr>
            <a:spLocks noGrp="1"/>
          </p:cNvSpPr>
          <p:nvPr>
            <p:ph type="dt" sz="half" idx="10"/>
          </p:nvPr>
        </p:nvSpPr>
        <p:spPr/>
        <p:txBody>
          <a:bodyPr/>
          <a:lstStyle/>
          <a:p>
            <a:fld id="{DA101903-EEB7-46AD-9CF2-2520EA3A19DC}" type="datetimeFigureOut">
              <a:rPr lang="en-GB" smtClean="0"/>
              <a:t>23/04/2024</a:t>
            </a:fld>
            <a:endParaRPr lang="en-GB"/>
          </a:p>
        </p:txBody>
      </p:sp>
      <p:sp>
        <p:nvSpPr>
          <p:cNvPr id="6" name="Espace réservé du pied de page 5">
            <a:extLst>
              <a:ext uri="{FF2B5EF4-FFF2-40B4-BE49-F238E27FC236}">
                <a16:creationId xmlns:a16="http://schemas.microsoft.com/office/drawing/2014/main" id="{A10F0614-D1D9-43B1-B7F7-1C47C7689472}"/>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BE50A2E8-A3C6-4995-A1B7-F018FD23BEFB}"/>
              </a:ext>
            </a:extLst>
          </p:cNvPr>
          <p:cNvSpPr>
            <a:spLocks noGrp="1"/>
          </p:cNvSpPr>
          <p:nvPr>
            <p:ph type="sldNum" sz="quarter" idx="12"/>
          </p:nvPr>
        </p:nvSpPr>
        <p:spPr/>
        <p:txBody>
          <a:bodyPr/>
          <a:lstStyle/>
          <a:p>
            <a:fld id="{6826A6F9-03C7-432C-A512-008236AA45CE}" type="slidenum">
              <a:rPr lang="en-GB" smtClean="0"/>
              <a:t>‹#›</a:t>
            </a:fld>
            <a:endParaRPr lang="en-GB"/>
          </a:p>
        </p:txBody>
      </p:sp>
    </p:spTree>
    <p:extLst>
      <p:ext uri="{BB962C8B-B14F-4D97-AF65-F5344CB8AC3E}">
        <p14:creationId xmlns:p14="http://schemas.microsoft.com/office/powerpoint/2010/main" val="32373454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4C0255D-DC06-4E44-8328-6BA17292C2B3}"/>
              </a:ext>
            </a:extLst>
          </p:cNvPr>
          <p:cNvSpPr>
            <a:spLocks noGrp="1"/>
          </p:cNvSpPr>
          <p:nvPr>
            <p:ph type="title"/>
          </p:nvPr>
        </p:nvSpPr>
        <p:spPr>
          <a:xfrm>
            <a:off x="630238" y="365125"/>
            <a:ext cx="7886700" cy="1325563"/>
          </a:xfrm>
        </p:spPr>
        <p:txBody>
          <a:bodyPr/>
          <a:lstStyle/>
          <a:p>
            <a:r>
              <a:rPr lang="fr-FR"/>
              <a:t>Modifiez le style du titre</a:t>
            </a:r>
            <a:endParaRPr lang="en-GB"/>
          </a:p>
        </p:txBody>
      </p:sp>
      <p:sp>
        <p:nvSpPr>
          <p:cNvPr id="3" name="Espace réservé du texte 2">
            <a:extLst>
              <a:ext uri="{FF2B5EF4-FFF2-40B4-BE49-F238E27FC236}">
                <a16:creationId xmlns:a16="http://schemas.microsoft.com/office/drawing/2014/main" id="{670CCBEB-C47F-4337-A448-FF8DEDB493EF}"/>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a:extLst>
              <a:ext uri="{FF2B5EF4-FFF2-40B4-BE49-F238E27FC236}">
                <a16:creationId xmlns:a16="http://schemas.microsoft.com/office/drawing/2014/main" id="{48642FE4-C248-4C01-9222-FB6973FE1E40}"/>
              </a:ext>
            </a:extLst>
          </p:cNvPr>
          <p:cNvSpPr>
            <a:spLocks noGrp="1"/>
          </p:cNvSpPr>
          <p:nvPr>
            <p:ph sz="half" idx="2"/>
          </p:nvPr>
        </p:nvSpPr>
        <p:spPr>
          <a:xfrm>
            <a:off x="630238" y="2505075"/>
            <a:ext cx="386873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texte 4">
            <a:extLst>
              <a:ext uri="{FF2B5EF4-FFF2-40B4-BE49-F238E27FC236}">
                <a16:creationId xmlns:a16="http://schemas.microsoft.com/office/drawing/2014/main" id="{AEF070AA-7BA1-4D3D-9766-A1517EAE1F40}"/>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a:extLst>
              <a:ext uri="{FF2B5EF4-FFF2-40B4-BE49-F238E27FC236}">
                <a16:creationId xmlns:a16="http://schemas.microsoft.com/office/drawing/2014/main" id="{B4581BDD-DE35-464B-9335-5AD2660F894D}"/>
              </a:ext>
            </a:extLst>
          </p:cNvPr>
          <p:cNvSpPr>
            <a:spLocks noGrp="1"/>
          </p:cNvSpPr>
          <p:nvPr>
            <p:ph sz="quarter" idx="4"/>
          </p:nvPr>
        </p:nvSpPr>
        <p:spPr>
          <a:xfrm>
            <a:off x="4629150" y="2505075"/>
            <a:ext cx="38877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7" name="Espace réservé de la date 6">
            <a:extLst>
              <a:ext uri="{FF2B5EF4-FFF2-40B4-BE49-F238E27FC236}">
                <a16:creationId xmlns:a16="http://schemas.microsoft.com/office/drawing/2014/main" id="{E0386912-B637-4A4D-AE27-B56EB85265BB}"/>
              </a:ext>
            </a:extLst>
          </p:cNvPr>
          <p:cNvSpPr>
            <a:spLocks noGrp="1"/>
          </p:cNvSpPr>
          <p:nvPr>
            <p:ph type="dt" sz="half" idx="10"/>
          </p:nvPr>
        </p:nvSpPr>
        <p:spPr/>
        <p:txBody>
          <a:bodyPr/>
          <a:lstStyle/>
          <a:p>
            <a:fld id="{DA101903-EEB7-46AD-9CF2-2520EA3A19DC}" type="datetimeFigureOut">
              <a:rPr lang="en-GB" smtClean="0"/>
              <a:t>23/04/2024</a:t>
            </a:fld>
            <a:endParaRPr lang="en-GB"/>
          </a:p>
        </p:txBody>
      </p:sp>
      <p:sp>
        <p:nvSpPr>
          <p:cNvPr id="8" name="Espace réservé du pied de page 7">
            <a:extLst>
              <a:ext uri="{FF2B5EF4-FFF2-40B4-BE49-F238E27FC236}">
                <a16:creationId xmlns:a16="http://schemas.microsoft.com/office/drawing/2014/main" id="{E6C1A243-11BC-4061-9B49-43D5D9B04DAC}"/>
              </a:ext>
            </a:extLst>
          </p:cNvPr>
          <p:cNvSpPr>
            <a:spLocks noGrp="1"/>
          </p:cNvSpPr>
          <p:nvPr>
            <p:ph type="ftr" sz="quarter" idx="11"/>
          </p:nvPr>
        </p:nvSpPr>
        <p:spPr/>
        <p:txBody>
          <a:bodyPr/>
          <a:lstStyle/>
          <a:p>
            <a:endParaRPr lang="en-GB"/>
          </a:p>
        </p:txBody>
      </p:sp>
      <p:sp>
        <p:nvSpPr>
          <p:cNvPr id="9" name="Espace réservé du numéro de diapositive 8">
            <a:extLst>
              <a:ext uri="{FF2B5EF4-FFF2-40B4-BE49-F238E27FC236}">
                <a16:creationId xmlns:a16="http://schemas.microsoft.com/office/drawing/2014/main" id="{768812BA-4F0D-45B4-BCAB-CC0C8173FE3E}"/>
              </a:ext>
            </a:extLst>
          </p:cNvPr>
          <p:cNvSpPr>
            <a:spLocks noGrp="1"/>
          </p:cNvSpPr>
          <p:nvPr>
            <p:ph type="sldNum" sz="quarter" idx="12"/>
          </p:nvPr>
        </p:nvSpPr>
        <p:spPr/>
        <p:txBody>
          <a:bodyPr/>
          <a:lstStyle/>
          <a:p>
            <a:fld id="{6826A6F9-03C7-432C-A512-008236AA45CE}" type="slidenum">
              <a:rPr lang="en-GB" smtClean="0"/>
              <a:t>‹#›</a:t>
            </a:fld>
            <a:endParaRPr lang="en-GB"/>
          </a:p>
        </p:txBody>
      </p:sp>
    </p:spTree>
    <p:extLst>
      <p:ext uri="{BB962C8B-B14F-4D97-AF65-F5344CB8AC3E}">
        <p14:creationId xmlns:p14="http://schemas.microsoft.com/office/powerpoint/2010/main" val="19718567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B115FB4-D63C-4DA0-8E33-B61042FC2BE0}"/>
              </a:ext>
            </a:extLst>
          </p:cNvPr>
          <p:cNvSpPr>
            <a:spLocks noGrp="1"/>
          </p:cNvSpPr>
          <p:nvPr>
            <p:ph type="title"/>
          </p:nvPr>
        </p:nvSpPr>
        <p:spPr/>
        <p:txBody>
          <a:bodyPr/>
          <a:lstStyle/>
          <a:p>
            <a:r>
              <a:rPr lang="fr-FR"/>
              <a:t>Modifiez le style du titre</a:t>
            </a:r>
            <a:endParaRPr lang="en-GB"/>
          </a:p>
        </p:txBody>
      </p:sp>
      <p:sp>
        <p:nvSpPr>
          <p:cNvPr id="3" name="Espace réservé de la date 2">
            <a:extLst>
              <a:ext uri="{FF2B5EF4-FFF2-40B4-BE49-F238E27FC236}">
                <a16:creationId xmlns:a16="http://schemas.microsoft.com/office/drawing/2014/main" id="{910FA64C-742E-419A-B6A7-25FEC0EDE0F2}"/>
              </a:ext>
            </a:extLst>
          </p:cNvPr>
          <p:cNvSpPr>
            <a:spLocks noGrp="1"/>
          </p:cNvSpPr>
          <p:nvPr>
            <p:ph type="dt" sz="half" idx="10"/>
          </p:nvPr>
        </p:nvSpPr>
        <p:spPr/>
        <p:txBody>
          <a:bodyPr/>
          <a:lstStyle/>
          <a:p>
            <a:fld id="{DA101903-EEB7-46AD-9CF2-2520EA3A19DC}" type="datetimeFigureOut">
              <a:rPr lang="en-GB" smtClean="0"/>
              <a:t>23/04/2024</a:t>
            </a:fld>
            <a:endParaRPr lang="en-GB"/>
          </a:p>
        </p:txBody>
      </p:sp>
      <p:sp>
        <p:nvSpPr>
          <p:cNvPr id="4" name="Espace réservé du pied de page 3">
            <a:extLst>
              <a:ext uri="{FF2B5EF4-FFF2-40B4-BE49-F238E27FC236}">
                <a16:creationId xmlns:a16="http://schemas.microsoft.com/office/drawing/2014/main" id="{46909B85-0AD3-4A59-B533-E54C23E5F6AE}"/>
              </a:ext>
            </a:extLst>
          </p:cNvPr>
          <p:cNvSpPr>
            <a:spLocks noGrp="1"/>
          </p:cNvSpPr>
          <p:nvPr>
            <p:ph type="ftr" sz="quarter" idx="11"/>
          </p:nvPr>
        </p:nvSpPr>
        <p:spPr/>
        <p:txBody>
          <a:bodyPr/>
          <a:lstStyle/>
          <a:p>
            <a:endParaRPr lang="en-GB"/>
          </a:p>
        </p:txBody>
      </p:sp>
      <p:sp>
        <p:nvSpPr>
          <p:cNvPr id="5" name="Espace réservé du numéro de diapositive 4">
            <a:extLst>
              <a:ext uri="{FF2B5EF4-FFF2-40B4-BE49-F238E27FC236}">
                <a16:creationId xmlns:a16="http://schemas.microsoft.com/office/drawing/2014/main" id="{8E2B684C-8CB7-4F91-8CE2-C7BFF392AC85}"/>
              </a:ext>
            </a:extLst>
          </p:cNvPr>
          <p:cNvSpPr>
            <a:spLocks noGrp="1"/>
          </p:cNvSpPr>
          <p:nvPr>
            <p:ph type="sldNum" sz="quarter" idx="12"/>
          </p:nvPr>
        </p:nvSpPr>
        <p:spPr/>
        <p:txBody>
          <a:bodyPr/>
          <a:lstStyle/>
          <a:p>
            <a:fld id="{6826A6F9-03C7-432C-A512-008236AA45CE}" type="slidenum">
              <a:rPr lang="en-GB" smtClean="0"/>
              <a:t>‹#›</a:t>
            </a:fld>
            <a:endParaRPr lang="en-GB"/>
          </a:p>
        </p:txBody>
      </p:sp>
    </p:spTree>
    <p:extLst>
      <p:ext uri="{BB962C8B-B14F-4D97-AF65-F5344CB8AC3E}">
        <p14:creationId xmlns:p14="http://schemas.microsoft.com/office/powerpoint/2010/main" val="346185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EBDB6F26-F50D-4798-9DC8-3C88986053D7}"/>
              </a:ext>
            </a:extLst>
          </p:cNvPr>
          <p:cNvSpPr>
            <a:spLocks noGrp="1"/>
          </p:cNvSpPr>
          <p:nvPr>
            <p:ph type="dt" sz="half" idx="10"/>
          </p:nvPr>
        </p:nvSpPr>
        <p:spPr/>
        <p:txBody>
          <a:bodyPr/>
          <a:lstStyle/>
          <a:p>
            <a:fld id="{DA101903-EEB7-46AD-9CF2-2520EA3A19DC}" type="datetimeFigureOut">
              <a:rPr lang="en-GB" smtClean="0"/>
              <a:t>23/04/2024</a:t>
            </a:fld>
            <a:endParaRPr lang="en-GB"/>
          </a:p>
        </p:txBody>
      </p:sp>
      <p:sp>
        <p:nvSpPr>
          <p:cNvPr id="3" name="Espace réservé du pied de page 2">
            <a:extLst>
              <a:ext uri="{FF2B5EF4-FFF2-40B4-BE49-F238E27FC236}">
                <a16:creationId xmlns:a16="http://schemas.microsoft.com/office/drawing/2014/main" id="{697AADA7-1216-4AEA-9464-78C2A21C38DD}"/>
              </a:ext>
            </a:extLst>
          </p:cNvPr>
          <p:cNvSpPr>
            <a:spLocks noGrp="1"/>
          </p:cNvSpPr>
          <p:nvPr>
            <p:ph type="ftr" sz="quarter" idx="11"/>
          </p:nvPr>
        </p:nvSpPr>
        <p:spPr/>
        <p:txBody>
          <a:bodyPr/>
          <a:lstStyle/>
          <a:p>
            <a:endParaRPr lang="en-GB"/>
          </a:p>
        </p:txBody>
      </p:sp>
      <p:sp>
        <p:nvSpPr>
          <p:cNvPr id="4" name="Espace réservé du numéro de diapositive 3">
            <a:extLst>
              <a:ext uri="{FF2B5EF4-FFF2-40B4-BE49-F238E27FC236}">
                <a16:creationId xmlns:a16="http://schemas.microsoft.com/office/drawing/2014/main" id="{34C3054B-0E09-4BDE-8219-988A16ABBA27}"/>
              </a:ext>
            </a:extLst>
          </p:cNvPr>
          <p:cNvSpPr>
            <a:spLocks noGrp="1"/>
          </p:cNvSpPr>
          <p:nvPr>
            <p:ph type="sldNum" sz="quarter" idx="12"/>
          </p:nvPr>
        </p:nvSpPr>
        <p:spPr/>
        <p:txBody>
          <a:bodyPr/>
          <a:lstStyle/>
          <a:p>
            <a:fld id="{6826A6F9-03C7-432C-A512-008236AA45CE}" type="slidenum">
              <a:rPr lang="en-GB" smtClean="0"/>
              <a:t>‹#›</a:t>
            </a:fld>
            <a:endParaRPr lang="en-GB"/>
          </a:p>
        </p:txBody>
      </p:sp>
    </p:spTree>
    <p:extLst>
      <p:ext uri="{BB962C8B-B14F-4D97-AF65-F5344CB8AC3E}">
        <p14:creationId xmlns:p14="http://schemas.microsoft.com/office/powerpoint/2010/main" val="23416613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FCADEA9-495A-4AEE-8FB6-9CBD525827A6}"/>
              </a:ext>
            </a:extLst>
          </p:cNvPr>
          <p:cNvSpPr>
            <a:spLocks noGrp="1"/>
          </p:cNvSpPr>
          <p:nvPr>
            <p:ph type="title"/>
          </p:nvPr>
        </p:nvSpPr>
        <p:spPr>
          <a:xfrm>
            <a:off x="630238" y="457200"/>
            <a:ext cx="2949575" cy="1600200"/>
          </a:xfrm>
        </p:spPr>
        <p:txBody>
          <a:bodyPr anchor="b"/>
          <a:lstStyle>
            <a:lvl1pPr>
              <a:defRPr sz="3200"/>
            </a:lvl1pPr>
          </a:lstStyle>
          <a:p>
            <a:r>
              <a:rPr lang="fr-FR"/>
              <a:t>Modifiez le style du titre</a:t>
            </a:r>
            <a:endParaRPr lang="en-GB"/>
          </a:p>
        </p:txBody>
      </p:sp>
      <p:sp>
        <p:nvSpPr>
          <p:cNvPr id="3" name="Espace réservé du contenu 2">
            <a:extLst>
              <a:ext uri="{FF2B5EF4-FFF2-40B4-BE49-F238E27FC236}">
                <a16:creationId xmlns:a16="http://schemas.microsoft.com/office/drawing/2014/main" id="{329E7CB8-1D50-4E56-86D7-DAF1E95F1DD4}"/>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u texte 3">
            <a:extLst>
              <a:ext uri="{FF2B5EF4-FFF2-40B4-BE49-F238E27FC236}">
                <a16:creationId xmlns:a16="http://schemas.microsoft.com/office/drawing/2014/main" id="{76449E8F-91A9-4DC3-A53E-82B1C397D126}"/>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44EEF8F1-7011-4045-89EE-7130C2CECF90}"/>
              </a:ext>
            </a:extLst>
          </p:cNvPr>
          <p:cNvSpPr>
            <a:spLocks noGrp="1"/>
          </p:cNvSpPr>
          <p:nvPr>
            <p:ph type="dt" sz="half" idx="10"/>
          </p:nvPr>
        </p:nvSpPr>
        <p:spPr/>
        <p:txBody>
          <a:bodyPr/>
          <a:lstStyle/>
          <a:p>
            <a:fld id="{DA101903-EEB7-46AD-9CF2-2520EA3A19DC}" type="datetimeFigureOut">
              <a:rPr lang="en-GB" smtClean="0"/>
              <a:t>23/04/2024</a:t>
            </a:fld>
            <a:endParaRPr lang="en-GB"/>
          </a:p>
        </p:txBody>
      </p:sp>
      <p:sp>
        <p:nvSpPr>
          <p:cNvPr id="6" name="Espace réservé du pied de page 5">
            <a:extLst>
              <a:ext uri="{FF2B5EF4-FFF2-40B4-BE49-F238E27FC236}">
                <a16:creationId xmlns:a16="http://schemas.microsoft.com/office/drawing/2014/main" id="{88BCAFB2-668A-4160-A743-9D0E4153A79A}"/>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2BA9D2D8-5A64-4E26-9F16-B56CC7AB6DDD}"/>
              </a:ext>
            </a:extLst>
          </p:cNvPr>
          <p:cNvSpPr>
            <a:spLocks noGrp="1"/>
          </p:cNvSpPr>
          <p:nvPr>
            <p:ph type="sldNum" sz="quarter" idx="12"/>
          </p:nvPr>
        </p:nvSpPr>
        <p:spPr/>
        <p:txBody>
          <a:bodyPr/>
          <a:lstStyle/>
          <a:p>
            <a:fld id="{6826A6F9-03C7-432C-A512-008236AA45CE}" type="slidenum">
              <a:rPr lang="en-GB" smtClean="0"/>
              <a:t>‹#›</a:t>
            </a:fld>
            <a:endParaRPr lang="en-GB"/>
          </a:p>
        </p:txBody>
      </p:sp>
    </p:spTree>
    <p:extLst>
      <p:ext uri="{BB962C8B-B14F-4D97-AF65-F5344CB8AC3E}">
        <p14:creationId xmlns:p14="http://schemas.microsoft.com/office/powerpoint/2010/main" val="16834255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01048D-CF83-432C-945F-CABB4AC0FC61}"/>
              </a:ext>
            </a:extLst>
          </p:cNvPr>
          <p:cNvSpPr>
            <a:spLocks noGrp="1"/>
          </p:cNvSpPr>
          <p:nvPr>
            <p:ph type="title"/>
          </p:nvPr>
        </p:nvSpPr>
        <p:spPr>
          <a:xfrm>
            <a:off x="630238" y="457200"/>
            <a:ext cx="2949575" cy="1600200"/>
          </a:xfrm>
        </p:spPr>
        <p:txBody>
          <a:bodyPr anchor="b"/>
          <a:lstStyle>
            <a:lvl1pPr>
              <a:defRPr sz="3200"/>
            </a:lvl1pPr>
          </a:lstStyle>
          <a:p>
            <a:r>
              <a:rPr lang="fr-FR"/>
              <a:t>Modifiez le style du titre</a:t>
            </a:r>
            <a:endParaRPr lang="en-GB"/>
          </a:p>
        </p:txBody>
      </p:sp>
      <p:sp>
        <p:nvSpPr>
          <p:cNvPr id="3" name="Espace réservé pour une image  2">
            <a:extLst>
              <a:ext uri="{FF2B5EF4-FFF2-40B4-BE49-F238E27FC236}">
                <a16:creationId xmlns:a16="http://schemas.microsoft.com/office/drawing/2014/main" id="{9BD990A3-69F3-43B7-944F-AEB78B311141}"/>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Espace réservé du texte 3">
            <a:extLst>
              <a:ext uri="{FF2B5EF4-FFF2-40B4-BE49-F238E27FC236}">
                <a16:creationId xmlns:a16="http://schemas.microsoft.com/office/drawing/2014/main" id="{0B9510CD-E901-4034-9896-B74E7BBA1C1C}"/>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4DCF1B22-B930-493B-B6F1-1529035466EE}"/>
              </a:ext>
            </a:extLst>
          </p:cNvPr>
          <p:cNvSpPr>
            <a:spLocks noGrp="1"/>
          </p:cNvSpPr>
          <p:nvPr>
            <p:ph type="dt" sz="half" idx="10"/>
          </p:nvPr>
        </p:nvSpPr>
        <p:spPr/>
        <p:txBody>
          <a:bodyPr/>
          <a:lstStyle/>
          <a:p>
            <a:fld id="{DA101903-EEB7-46AD-9CF2-2520EA3A19DC}" type="datetimeFigureOut">
              <a:rPr lang="en-GB" smtClean="0"/>
              <a:t>23/04/2024</a:t>
            </a:fld>
            <a:endParaRPr lang="en-GB"/>
          </a:p>
        </p:txBody>
      </p:sp>
      <p:sp>
        <p:nvSpPr>
          <p:cNvPr id="6" name="Espace réservé du pied de page 5">
            <a:extLst>
              <a:ext uri="{FF2B5EF4-FFF2-40B4-BE49-F238E27FC236}">
                <a16:creationId xmlns:a16="http://schemas.microsoft.com/office/drawing/2014/main" id="{A2B71F62-EF93-4090-8480-168C2C9D1C06}"/>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A1698CCF-1FF9-4543-BEFA-170F58E1D965}"/>
              </a:ext>
            </a:extLst>
          </p:cNvPr>
          <p:cNvSpPr>
            <a:spLocks noGrp="1"/>
          </p:cNvSpPr>
          <p:nvPr>
            <p:ph type="sldNum" sz="quarter" idx="12"/>
          </p:nvPr>
        </p:nvSpPr>
        <p:spPr/>
        <p:txBody>
          <a:bodyPr/>
          <a:lstStyle/>
          <a:p>
            <a:fld id="{6826A6F9-03C7-432C-A512-008236AA45CE}" type="slidenum">
              <a:rPr lang="en-GB" smtClean="0"/>
              <a:t>‹#›</a:t>
            </a:fld>
            <a:endParaRPr lang="en-GB"/>
          </a:p>
        </p:txBody>
      </p:sp>
    </p:spTree>
    <p:extLst>
      <p:ext uri="{BB962C8B-B14F-4D97-AF65-F5344CB8AC3E}">
        <p14:creationId xmlns:p14="http://schemas.microsoft.com/office/powerpoint/2010/main" val="27291515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DC124A-14B2-48BC-B4E8-D72EF87328E5}"/>
              </a:ext>
            </a:extLst>
          </p:cNvPr>
          <p:cNvSpPr>
            <a:spLocks noGrp="1"/>
          </p:cNvSpPr>
          <p:nvPr>
            <p:ph type="title"/>
          </p:nvPr>
        </p:nvSpPr>
        <p:spPr/>
        <p:txBody>
          <a:bodyPr/>
          <a:lstStyle/>
          <a:p>
            <a:r>
              <a:rPr lang="fr-FR"/>
              <a:t>Modifiez le style du titre</a:t>
            </a:r>
            <a:endParaRPr lang="en-GB"/>
          </a:p>
        </p:txBody>
      </p:sp>
      <p:sp>
        <p:nvSpPr>
          <p:cNvPr id="3" name="Espace réservé du texte vertical 2">
            <a:extLst>
              <a:ext uri="{FF2B5EF4-FFF2-40B4-BE49-F238E27FC236}">
                <a16:creationId xmlns:a16="http://schemas.microsoft.com/office/drawing/2014/main" id="{716F95DD-E8F9-4342-9927-66AD75E9D5D2}"/>
              </a:ext>
            </a:extLst>
          </p:cNvPr>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e la date 3">
            <a:extLst>
              <a:ext uri="{FF2B5EF4-FFF2-40B4-BE49-F238E27FC236}">
                <a16:creationId xmlns:a16="http://schemas.microsoft.com/office/drawing/2014/main" id="{CF3FD09B-16E8-4463-B916-B5F81BDB14C6}"/>
              </a:ext>
            </a:extLst>
          </p:cNvPr>
          <p:cNvSpPr>
            <a:spLocks noGrp="1"/>
          </p:cNvSpPr>
          <p:nvPr>
            <p:ph type="dt" sz="half" idx="10"/>
          </p:nvPr>
        </p:nvSpPr>
        <p:spPr/>
        <p:txBody>
          <a:bodyPr/>
          <a:lstStyle/>
          <a:p>
            <a:fld id="{DA101903-EEB7-46AD-9CF2-2520EA3A19DC}" type="datetimeFigureOut">
              <a:rPr lang="en-GB" smtClean="0"/>
              <a:t>23/04/2024</a:t>
            </a:fld>
            <a:endParaRPr lang="en-GB"/>
          </a:p>
        </p:txBody>
      </p:sp>
      <p:sp>
        <p:nvSpPr>
          <p:cNvPr id="5" name="Espace réservé du pied de page 4">
            <a:extLst>
              <a:ext uri="{FF2B5EF4-FFF2-40B4-BE49-F238E27FC236}">
                <a16:creationId xmlns:a16="http://schemas.microsoft.com/office/drawing/2014/main" id="{8A980C44-A0DF-4325-8B54-A4017B4AC0AE}"/>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88F451EC-8E00-4319-B7E2-EED5F73EC921}"/>
              </a:ext>
            </a:extLst>
          </p:cNvPr>
          <p:cNvSpPr>
            <a:spLocks noGrp="1"/>
          </p:cNvSpPr>
          <p:nvPr>
            <p:ph type="sldNum" sz="quarter" idx="12"/>
          </p:nvPr>
        </p:nvSpPr>
        <p:spPr/>
        <p:txBody>
          <a:bodyPr/>
          <a:lstStyle/>
          <a:p>
            <a:fld id="{6826A6F9-03C7-432C-A512-008236AA45CE}" type="slidenum">
              <a:rPr lang="en-GB" smtClean="0"/>
              <a:t>‹#›</a:t>
            </a:fld>
            <a:endParaRPr lang="en-GB"/>
          </a:p>
        </p:txBody>
      </p:sp>
    </p:spTree>
    <p:extLst>
      <p:ext uri="{BB962C8B-B14F-4D97-AF65-F5344CB8AC3E}">
        <p14:creationId xmlns:p14="http://schemas.microsoft.com/office/powerpoint/2010/main" val="42492455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056A174E-047E-4452-A294-04C5B16D8470}"/>
              </a:ext>
            </a:extLst>
          </p:cNvPr>
          <p:cNvSpPr>
            <a:spLocks noGrp="1"/>
          </p:cNvSpPr>
          <p:nvPr>
            <p:ph type="title" orient="vert"/>
          </p:nvPr>
        </p:nvSpPr>
        <p:spPr>
          <a:xfrm>
            <a:off x="6543675" y="365125"/>
            <a:ext cx="1971675" cy="5811838"/>
          </a:xfrm>
        </p:spPr>
        <p:txBody>
          <a:bodyPr vert="eaVert"/>
          <a:lstStyle/>
          <a:p>
            <a:r>
              <a:rPr lang="fr-FR"/>
              <a:t>Modifiez le style du titre</a:t>
            </a:r>
            <a:endParaRPr lang="en-GB"/>
          </a:p>
        </p:txBody>
      </p:sp>
      <p:sp>
        <p:nvSpPr>
          <p:cNvPr id="3" name="Espace réservé du texte vertical 2">
            <a:extLst>
              <a:ext uri="{FF2B5EF4-FFF2-40B4-BE49-F238E27FC236}">
                <a16:creationId xmlns:a16="http://schemas.microsoft.com/office/drawing/2014/main" id="{708416F5-F071-4A93-BE9B-2071CCB1088A}"/>
              </a:ext>
            </a:extLst>
          </p:cNvPr>
          <p:cNvSpPr>
            <a:spLocks noGrp="1"/>
          </p:cNvSpPr>
          <p:nvPr>
            <p:ph type="body" orient="vert" idx="1"/>
          </p:nvPr>
        </p:nvSpPr>
        <p:spPr>
          <a:xfrm>
            <a:off x="628650" y="365125"/>
            <a:ext cx="5762625"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e la date 3">
            <a:extLst>
              <a:ext uri="{FF2B5EF4-FFF2-40B4-BE49-F238E27FC236}">
                <a16:creationId xmlns:a16="http://schemas.microsoft.com/office/drawing/2014/main" id="{FF4BDEF7-A971-4A0F-B4B0-866B4C79A8F2}"/>
              </a:ext>
            </a:extLst>
          </p:cNvPr>
          <p:cNvSpPr>
            <a:spLocks noGrp="1"/>
          </p:cNvSpPr>
          <p:nvPr>
            <p:ph type="dt" sz="half" idx="10"/>
          </p:nvPr>
        </p:nvSpPr>
        <p:spPr/>
        <p:txBody>
          <a:bodyPr/>
          <a:lstStyle/>
          <a:p>
            <a:fld id="{DA101903-EEB7-46AD-9CF2-2520EA3A19DC}" type="datetimeFigureOut">
              <a:rPr lang="en-GB" smtClean="0"/>
              <a:t>23/04/2024</a:t>
            </a:fld>
            <a:endParaRPr lang="en-GB"/>
          </a:p>
        </p:txBody>
      </p:sp>
      <p:sp>
        <p:nvSpPr>
          <p:cNvPr id="5" name="Espace réservé du pied de page 4">
            <a:extLst>
              <a:ext uri="{FF2B5EF4-FFF2-40B4-BE49-F238E27FC236}">
                <a16:creationId xmlns:a16="http://schemas.microsoft.com/office/drawing/2014/main" id="{EE12B37D-1407-4E5A-8166-B5ED799340F3}"/>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19CE30DE-2387-4348-BF61-08BDC8D4C344}"/>
              </a:ext>
            </a:extLst>
          </p:cNvPr>
          <p:cNvSpPr>
            <a:spLocks noGrp="1"/>
          </p:cNvSpPr>
          <p:nvPr>
            <p:ph type="sldNum" sz="quarter" idx="12"/>
          </p:nvPr>
        </p:nvSpPr>
        <p:spPr/>
        <p:txBody>
          <a:bodyPr/>
          <a:lstStyle/>
          <a:p>
            <a:fld id="{6826A6F9-03C7-432C-A512-008236AA45CE}" type="slidenum">
              <a:rPr lang="en-GB" smtClean="0"/>
              <a:t>‹#›</a:t>
            </a:fld>
            <a:endParaRPr lang="en-GB"/>
          </a:p>
        </p:txBody>
      </p:sp>
    </p:spTree>
    <p:extLst>
      <p:ext uri="{BB962C8B-B14F-4D97-AF65-F5344CB8AC3E}">
        <p14:creationId xmlns:p14="http://schemas.microsoft.com/office/powerpoint/2010/main" val="23469019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1E8B38E-D08B-4B87-9405-946783FD261D}"/>
              </a:ext>
            </a:extLst>
          </p:cNvPr>
          <p:cNvSpPr>
            <a:spLocks noGrp="1"/>
          </p:cNvSpPr>
          <p:nvPr>
            <p:ph type="title"/>
          </p:nvPr>
        </p:nvSpPr>
        <p:spPr/>
        <p:txBody>
          <a:bodyPr/>
          <a:lstStyle/>
          <a:p>
            <a:r>
              <a:rPr lang="fr-FR"/>
              <a:t>Modifiez le style du titre</a:t>
            </a:r>
            <a:endParaRPr lang="en-GB"/>
          </a:p>
        </p:txBody>
      </p:sp>
      <p:sp>
        <p:nvSpPr>
          <p:cNvPr id="3" name="Espace réservé de la date 2">
            <a:extLst>
              <a:ext uri="{FF2B5EF4-FFF2-40B4-BE49-F238E27FC236}">
                <a16:creationId xmlns:a16="http://schemas.microsoft.com/office/drawing/2014/main" id="{4439F469-D71A-4D63-9FDC-0C43E4D2712B}"/>
              </a:ext>
            </a:extLst>
          </p:cNvPr>
          <p:cNvSpPr>
            <a:spLocks noGrp="1"/>
          </p:cNvSpPr>
          <p:nvPr>
            <p:ph type="dt" sz="half" idx="10"/>
          </p:nvPr>
        </p:nvSpPr>
        <p:spPr/>
        <p:txBody>
          <a:bodyPr/>
          <a:lstStyle/>
          <a:p>
            <a:fld id="{DA101903-EEB7-46AD-9CF2-2520EA3A19DC}" type="datetimeFigureOut">
              <a:rPr lang="en-GB" smtClean="0"/>
              <a:t>23/04/2024</a:t>
            </a:fld>
            <a:endParaRPr lang="en-GB"/>
          </a:p>
        </p:txBody>
      </p:sp>
      <p:sp>
        <p:nvSpPr>
          <p:cNvPr id="4" name="Espace réservé du pied de page 3">
            <a:extLst>
              <a:ext uri="{FF2B5EF4-FFF2-40B4-BE49-F238E27FC236}">
                <a16:creationId xmlns:a16="http://schemas.microsoft.com/office/drawing/2014/main" id="{59763434-8180-461F-88C1-811B39C4F410}"/>
              </a:ext>
            </a:extLst>
          </p:cNvPr>
          <p:cNvSpPr>
            <a:spLocks noGrp="1"/>
          </p:cNvSpPr>
          <p:nvPr>
            <p:ph type="ftr" sz="quarter" idx="11"/>
          </p:nvPr>
        </p:nvSpPr>
        <p:spPr/>
        <p:txBody>
          <a:bodyPr/>
          <a:lstStyle/>
          <a:p>
            <a:endParaRPr lang="en-GB"/>
          </a:p>
        </p:txBody>
      </p:sp>
      <p:sp>
        <p:nvSpPr>
          <p:cNvPr id="5" name="Espace réservé du numéro de diapositive 4">
            <a:extLst>
              <a:ext uri="{FF2B5EF4-FFF2-40B4-BE49-F238E27FC236}">
                <a16:creationId xmlns:a16="http://schemas.microsoft.com/office/drawing/2014/main" id="{D4443033-897E-4FE9-B22C-74CA1755405F}"/>
              </a:ext>
            </a:extLst>
          </p:cNvPr>
          <p:cNvSpPr>
            <a:spLocks noGrp="1"/>
          </p:cNvSpPr>
          <p:nvPr>
            <p:ph type="sldNum" sz="quarter" idx="12"/>
          </p:nvPr>
        </p:nvSpPr>
        <p:spPr/>
        <p:txBody>
          <a:bodyPr/>
          <a:lstStyle/>
          <a:p>
            <a:fld id="{6826A6F9-03C7-432C-A512-008236AA45CE}" type="slidenum">
              <a:rPr lang="en-GB" smtClean="0"/>
              <a:t>‹#›</a:t>
            </a:fld>
            <a:endParaRPr lang="en-GB"/>
          </a:p>
        </p:txBody>
      </p:sp>
    </p:spTree>
    <p:extLst>
      <p:ext uri="{BB962C8B-B14F-4D97-AF65-F5344CB8AC3E}">
        <p14:creationId xmlns:p14="http://schemas.microsoft.com/office/powerpoint/2010/main" val="42327646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normAutofit/>
          </a:bodyPr>
          <a:lstStyle>
            <a:lvl1pPr marL="342900" indent="-342900">
              <a:buClr>
                <a:schemeClr val="tx2"/>
              </a:buClr>
              <a:buFont typeface="Wingdings" panose="05000000000000000000" pitchFamily="2" charset="2"/>
              <a:buChar cha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p:txBody>
          <a:bodyPr/>
          <a:lstStyle/>
          <a:p>
            <a:fld id="{3A101B08-4580-48F3-B1CA-82F8A9B9E531}" type="datetime1">
              <a:rPr lang="fr-FR" smtClean="0"/>
              <a:t>23/04/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pPr/>
              <a:t>‹#›</a:t>
            </a:fld>
            <a:endParaRPr lang="fr-F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DD14A2B-6F71-4FF2-90EC-DE2FEDE4705E}"/>
              </a:ext>
            </a:extLst>
          </p:cNvPr>
          <p:cNvSpPr>
            <a:spLocks noGrp="1"/>
          </p:cNvSpPr>
          <p:nvPr>
            <p:ph type="ctrTitle"/>
          </p:nvPr>
        </p:nvSpPr>
        <p:spPr>
          <a:xfrm>
            <a:off x="1143000" y="1122363"/>
            <a:ext cx="6858000" cy="2387600"/>
          </a:xfrm>
        </p:spPr>
        <p:txBody>
          <a:bodyPr anchor="b"/>
          <a:lstStyle>
            <a:lvl1pPr algn="ctr">
              <a:defRPr sz="6000"/>
            </a:lvl1pPr>
          </a:lstStyle>
          <a:p>
            <a:r>
              <a:rPr lang="fr-FR"/>
              <a:t>Modifiez le style du titre</a:t>
            </a:r>
            <a:endParaRPr lang="en-GB"/>
          </a:p>
        </p:txBody>
      </p:sp>
      <p:sp>
        <p:nvSpPr>
          <p:cNvPr id="3" name="Sous-titre 2">
            <a:extLst>
              <a:ext uri="{FF2B5EF4-FFF2-40B4-BE49-F238E27FC236}">
                <a16:creationId xmlns:a16="http://schemas.microsoft.com/office/drawing/2014/main" id="{FB2A45AA-198A-4CD6-AE10-2359DB14A863}"/>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4" name="Espace réservé de la date 3">
            <a:extLst>
              <a:ext uri="{FF2B5EF4-FFF2-40B4-BE49-F238E27FC236}">
                <a16:creationId xmlns:a16="http://schemas.microsoft.com/office/drawing/2014/main" id="{2743C57B-51FE-49D9-97B0-2A57D25ECB03}"/>
              </a:ext>
            </a:extLst>
          </p:cNvPr>
          <p:cNvSpPr>
            <a:spLocks noGrp="1"/>
          </p:cNvSpPr>
          <p:nvPr>
            <p:ph type="dt" sz="half" idx="10"/>
          </p:nvPr>
        </p:nvSpPr>
        <p:spPr/>
        <p:txBody>
          <a:bodyPr/>
          <a:lstStyle/>
          <a:p>
            <a:fld id="{9819D08A-E398-452A-873C-00F43250A6F8}" type="datetimeFigureOut">
              <a:rPr lang="en-GB" smtClean="0"/>
              <a:t>23/04/2024</a:t>
            </a:fld>
            <a:endParaRPr lang="en-GB"/>
          </a:p>
        </p:txBody>
      </p:sp>
      <p:sp>
        <p:nvSpPr>
          <p:cNvPr id="5" name="Espace réservé du pied de page 4">
            <a:extLst>
              <a:ext uri="{FF2B5EF4-FFF2-40B4-BE49-F238E27FC236}">
                <a16:creationId xmlns:a16="http://schemas.microsoft.com/office/drawing/2014/main" id="{AB6A7940-D517-4EAB-821D-B3EA6815C333}"/>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2A5DB561-7EE2-45D2-8D3F-D7E7CD0FD67A}"/>
              </a:ext>
            </a:extLst>
          </p:cNvPr>
          <p:cNvSpPr>
            <a:spLocks noGrp="1"/>
          </p:cNvSpPr>
          <p:nvPr>
            <p:ph type="sldNum" sz="quarter" idx="12"/>
          </p:nvPr>
        </p:nvSpPr>
        <p:spPr/>
        <p:txBody>
          <a:bodyPr/>
          <a:lstStyle/>
          <a:p>
            <a:fld id="{54D30AF0-30DF-4DE4-90AA-A53A4F43D726}" type="slidenum">
              <a:rPr lang="en-GB" smtClean="0"/>
              <a:t>‹#›</a:t>
            </a:fld>
            <a:endParaRPr lang="en-GB"/>
          </a:p>
        </p:txBody>
      </p:sp>
    </p:spTree>
    <p:extLst>
      <p:ext uri="{BB962C8B-B14F-4D97-AF65-F5344CB8AC3E}">
        <p14:creationId xmlns:p14="http://schemas.microsoft.com/office/powerpoint/2010/main" val="30485698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AFF2011-91A8-421E-B606-990C716A6744}"/>
              </a:ext>
            </a:extLst>
          </p:cNvPr>
          <p:cNvSpPr>
            <a:spLocks noGrp="1"/>
          </p:cNvSpPr>
          <p:nvPr>
            <p:ph type="title"/>
          </p:nvPr>
        </p:nvSpPr>
        <p:spPr/>
        <p:txBody>
          <a:bodyPr/>
          <a:lstStyle/>
          <a:p>
            <a:r>
              <a:rPr lang="fr-FR"/>
              <a:t>Modifiez le style du titre</a:t>
            </a:r>
            <a:endParaRPr lang="en-GB"/>
          </a:p>
        </p:txBody>
      </p:sp>
      <p:sp>
        <p:nvSpPr>
          <p:cNvPr id="3" name="Espace réservé du contenu 2">
            <a:extLst>
              <a:ext uri="{FF2B5EF4-FFF2-40B4-BE49-F238E27FC236}">
                <a16:creationId xmlns:a16="http://schemas.microsoft.com/office/drawing/2014/main" id="{60EB0F66-B59A-4ACF-BE7E-99EFEC2751EC}"/>
              </a:ext>
            </a:extLst>
          </p:cNvPr>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e la date 3">
            <a:extLst>
              <a:ext uri="{FF2B5EF4-FFF2-40B4-BE49-F238E27FC236}">
                <a16:creationId xmlns:a16="http://schemas.microsoft.com/office/drawing/2014/main" id="{8B681D2D-C0AB-4288-94CB-8CF363EA433F}"/>
              </a:ext>
            </a:extLst>
          </p:cNvPr>
          <p:cNvSpPr>
            <a:spLocks noGrp="1"/>
          </p:cNvSpPr>
          <p:nvPr>
            <p:ph type="dt" sz="half" idx="10"/>
          </p:nvPr>
        </p:nvSpPr>
        <p:spPr/>
        <p:txBody>
          <a:bodyPr/>
          <a:lstStyle/>
          <a:p>
            <a:fld id="{9819D08A-E398-452A-873C-00F43250A6F8}" type="datetimeFigureOut">
              <a:rPr lang="en-GB" smtClean="0"/>
              <a:t>23/04/2024</a:t>
            </a:fld>
            <a:endParaRPr lang="en-GB"/>
          </a:p>
        </p:txBody>
      </p:sp>
      <p:sp>
        <p:nvSpPr>
          <p:cNvPr id="5" name="Espace réservé du pied de page 4">
            <a:extLst>
              <a:ext uri="{FF2B5EF4-FFF2-40B4-BE49-F238E27FC236}">
                <a16:creationId xmlns:a16="http://schemas.microsoft.com/office/drawing/2014/main" id="{8B46B0BD-ED8B-4306-8400-575BD99A4D40}"/>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4A5264F2-CD55-4B83-9879-286A3C442E2E}"/>
              </a:ext>
            </a:extLst>
          </p:cNvPr>
          <p:cNvSpPr>
            <a:spLocks noGrp="1"/>
          </p:cNvSpPr>
          <p:nvPr>
            <p:ph type="sldNum" sz="quarter" idx="12"/>
          </p:nvPr>
        </p:nvSpPr>
        <p:spPr/>
        <p:txBody>
          <a:bodyPr/>
          <a:lstStyle/>
          <a:p>
            <a:fld id="{54D30AF0-30DF-4DE4-90AA-A53A4F43D726}" type="slidenum">
              <a:rPr lang="en-GB" smtClean="0"/>
              <a:t>‹#›</a:t>
            </a:fld>
            <a:endParaRPr lang="en-GB"/>
          </a:p>
        </p:txBody>
      </p:sp>
    </p:spTree>
    <p:extLst>
      <p:ext uri="{BB962C8B-B14F-4D97-AF65-F5344CB8AC3E}">
        <p14:creationId xmlns:p14="http://schemas.microsoft.com/office/powerpoint/2010/main" val="14243372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6C42A3-D5B0-4BA2-9E1F-31C2A50EA3B1}"/>
              </a:ext>
            </a:extLst>
          </p:cNvPr>
          <p:cNvSpPr>
            <a:spLocks noGrp="1"/>
          </p:cNvSpPr>
          <p:nvPr>
            <p:ph type="title"/>
          </p:nvPr>
        </p:nvSpPr>
        <p:spPr>
          <a:xfrm>
            <a:off x="623888" y="1709738"/>
            <a:ext cx="7886700" cy="2852737"/>
          </a:xfrm>
        </p:spPr>
        <p:txBody>
          <a:bodyPr anchor="b"/>
          <a:lstStyle>
            <a:lvl1pPr>
              <a:defRPr sz="6000"/>
            </a:lvl1pPr>
          </a:lstStyle>
          <a:p>
            <a:r>
              <a:rPr lang="fr-FR"/>
              <a:t>Modifiez le style du titre</a:t>
            </a:r>
            <a:endParaRPr lang="en-GB"/>
          </a:p>
        </p:txBody>
      </p:sp>
      <p:sp>
        <p:nvSpPr>
          <p:cNvPr id="3" name="Espace réservé du texte 2">
            <a:extLst>
              <a:ext uri="{FF2B5EF4-FFF2-40B4-BE49-F238E27FC236}">
                <a16:creationId xmlns:a16="http://schemas.microsoft.com/office/drawing/2014/main" id="{2CF7200E-EF76-45E8-866B-9D06A391EBF4}"/>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a:extLst>
              <a:ext uri="{FF2B5EF4-FFF2-40B4-BE49-F238E27FC236}">
                <a16:creationId xmlns:a16="http://schemas.microsoft.com/office/drawing/2014/main" id="{E7CA28F1-09C8-44A0-A02B-C1E8622015BB}"/>
              </a:ext>
            </a:extLst>
          </p:cNvPr>
          <p:cNvSpPr>
            <a:spLocks noGrp="1"/>
          </p:cNvSpPr>
          <p:nvPr>
            <p:ph type="dt" sz="half" idx="10"/>
          </p:nvPr>
        </p:nvSpPr>
        <p:spPr/>
        <p:txBody>
          <a:bodyPr/>
          <a:lstStyle/>
          <a:p>
            <a:fld id="{9819D08A-E398-452A-873C-00F43250A6F8}" type="datetimeFigureOut">
              <a:rPr lang="en-GB" smtClean="0"/>
              <a:t>23/04/2024</a:t>
            </a:fld>
            <a:endParaRPr lang="en-GB"/>
          </a:p>
        </p:txBody>
      </p:sp>
      <p:sp>
        <p:nvSpPr>
          <p:cNvPr id="5" name="Espace réservé du pied de page 4">
            <a:extLst>
              <a:ext uri="{FF2B5EF4-FFF2-40B4-BE49-F238E27FC236}">
                <a16:creationId xmlns:a16="http://schemas.microsoft.com/office/drawing/2014/main" id="{25EC881F-E986-4C45-BA7F-811C5425D930}"/>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FE2EC990-A1E6-4A12-A8B6-5950312DDD1C}"/>
              </a:ext>
            </a:extLst>
          </p:cNvPr>
          <p:cNvSpPr>
            <a:spLocks noGrp="1"/>
          </p:cNvSpPr>
          <p:nvPr>
            <p:ph type="sldNum" sz="quarter" idx="12"/>
          </p:nvPr>
        </p:nvSpPr>
        <p:spPr/>
        <p:txBody>
          <a:bodyPr/>
          <a:lstStyle/>
          <a:p>
            <a:fld id="{54D30AF0-30DF-4DE4-90AA-A53A4F43D726}" type="slidenum">
              <a:rPr lang="en-GB" smtClean="0"/>
              <a:t>‹#›</a:t>
            </a:fld>
            <a:endParaRPr lang="en-GB"/>
          </a:p>
        </p:txBody>
      </p:sp>
    </p:spTree>
    <p:extLst>
      <p:ext uri="{BB962C8B-B14F-4D97-AF65-F5344CB8AC3E}">
        <p14:creationId xmlns:p14="http://schemas.microsoft.com/office/powerpoint/2010/main" val="35036088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55999F5-889A-4FF4-B874-0E02D8045D44}"/>
              </a:ext>
            </a:extLst>
          </p:cNvPr>
          <p:cNvSpPr>
            <a:spLocks noGrp="1"/>
          </p:cNvSpPr>
          <p:nvPr>
            <p:ph type="title"/>
          </p:nvPr>
        </p:nvSpPr>
        <p:spPr/>
        <p:txBody>
          <a:bodyPr/>
          <a:lstStyle/>
          <a:p>
            <a:r>
              <a:rPr lang="fr-FR"/>
              <a:t>Modifiez le style du titre</a:t>
            </a:r>
            <a:endParaRPr lang="en-GB"/>
          </a:p>
        </p:txBody>
      </p:sp>
      <p:sp>
        <p:nvSpPr>
          <p:cNvPr id="3" name="Espace réservé du contenu 2">
            <a:extLst>
              <a:ext uri="{FF2B5EF4-FFF2-40B4-BE49-F238E27FC236}">
                <a16:creationId xmlns:a16="http://schemas.microsoft.com/office/drawing/2014/main" id="{A32B41DF-343A-4760-BDBA-3CFDEE93C53F}"/>
              </a:ext>
            </a:extLst>
          </p:cNvPr>
          <p:cNvSpPr>
            <a:spLocks noGrp="1"/>
          </p:cNvSpPr>
          <p:nvPr>
            <p:ph sz="half" idx="1"/>
          </p:nvPr>
        </p:nvSpPr>
        <p:spPr>
          <a:xfrm>
            <a:off x="628650" y="1825625"/>
            <a:ext cx="386715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u contenu 3">
            <a:extLst>
              <a:ext uri="{FF2B5EF4-FFF2-40B4-BE49-F238E27FC236}">
                <a16:creationId xmlns:a16="http://schemas.microsoft.com/office/drawing/2014/main" id="{F97D6AF3-74F5-4AB7-9414-8B4DEDF15959}"/>
              </a:ext>
            </a:extLst>
          </p:cNvPr>
          <p:cNvSpPr>
            <a:spLocks noGrp="1"/>
          </p:cNvSpPr>
          <p:nvPr>
            <p:ph sz="half" idx="2"/>
          </p:nvPr>
        </p:nvSpPr>
        <p:spPr>
          <a:xfrm>
            <a:off x="4648200" y="1825625"/>
            <a:ext cx="386715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e la date 4">
            <a:extLst>
              <a:ext uri="{FF2B5EF4-FFF2-40B4-BE49-F238E27FC236}">
                <a16:creationId xmlns:a16="http://schemas.microsoft.com/office/drawing/2014/main" id="{DD312528-D7D7-41E3-8ECE-EE7A7189D435}"/>
              </a:ext>
            </a:extLst>
          </p:cNvPr>
          <p:cNvSpPr>
            <a:spLocks noGrp="1"/>
          </p:cNvSpPr>
          <p:nvPr>
            <p:ph type="dt" sz="half" idx="10"/>
          </p:nvPr>
        </p:nvSpPr>
        <p:spPr/>
        <p:txBody>
          <a:bodyPr/>
          <a:lstStyle/>
          <a:p>
            <a:fld id="{9819D08A-E398-452A-873C-00F43250A6F8}" type="datetimeFigureOut">
              <a:rPr lang="en-GB" smtClean="0"/>
              <a:t>23/04/2024</a:t>
            </a:fld>
            <a:endParaRPr lang="en-GB"/>
          </a:p>
        </p:txBody>
      </p:sp>
      <p:sp>
        <p:nvSpPr>
          <p:cNvPr id="6" name="Espace réservé du pied de page 5">
            <a:extLst>
              <a:ext uri="{FF2B5EF4-FFF2-40B4-BE49-F238E27FC236}">
                <a16:creationId xmlns:a16="http://schemas.microsoft.com/office/drawing/2014/main" id="{FDF076E4-1756-4CCE-9567-E941899DDD41}"/>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F7270199-4542-4048-AD79-E1DB15AA5023}"/>
              </a:ext>
            </a:extLst>
          </p:cNvPr>
          <p:cNvSpPr>
            <a:spLocks noGrp="1"/>
          </p:cNvSpPr>
          <p:nvPr>
            <p:ph type="sldNum" sz="quarter" idx="12"/>
          </p:nvPr>
        </p:nvSpPr>
        <p:spPr/>
        <p:txBody>
          <a:bodyPr/>
          <a:lstStyle/>
          <a:p>
            <a:fld id="{54D30AF0-30DF-4DE4-90AA-A53A4F43D726}" type="slidenum">
              <a:rPr lang="en-GB" smtClean="0"/>
              <a:t>‹#›</a:t>
            </a:fld>
            <a:endParaRPr lang="en-GB"/>
          </a:p>
        </p:txBody>
      </p:sp>
    </p:spTree>
    <p:extLst>
      <p:ext uri="{BB962C8B-B14F-4D97-AF65-F5344CB8AC3E}">
        <p14:creationId xmlns:p14="http://schemas.microsoft.com/office/powerpoint/2010/main" val="42798678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849A93-AFA3-47FF-A08B-701EBFE5C135}"/>
              </a:ext>
            </a:extLst>
          </p:cNvPr>
          <p:cNvSpPr>
            <a:spLocks noGrp="1"/>
          </p:cNvSpPr>
          <p:nvPr>
            <p:ph type="title"/>
          </p:nvPr>
        </p:nvSpPr>
        <p:spPr>
          <a:xfrm>
            <a:off x="630238" y="365125"/>
            <a:ext cx="7886700" cy="1325563"/>
          </a:xfrm>
        </p:spPr>
        <p:txBody>
          <a:bodyPr/>
          <a:lstStyle/>
          <a:p>
            <a:r>
              <a:rPr lang="fr-FR"/>
              <a:t>Modifiez le style du titre</a:t>
            </a:r>
            <a:endParaRPr lang="en-GB"/>
          </a:p>
        </p:txBody>
      </p:sp>
      <p:sp>
        <p:nvSpPr>
          <p:cNvPr id="3" name="Espace réservé du texte 2">
            <a:extLst>
              <a:ext uri="{FF2B5EF4-FFF2-40B4-BE49-F238E27FC236}">
                <a16:creationId xmlns:a16="http://schemas.microsoft.com/office/drawing/2014/main" id="{AA71AB7C-737E-47C0-B779-B1A4155A5113}"/>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a:extLst>
              <a:ext uri="{FF2B5EF4-FFF2-40B4-BE49-F238E27FC236}">
                <a16:creationId xmlns:a16="http://schemas.microsoft.com/office/drawing/2014/main" id="{D9F4245D-ABCC-41BC-A4F3-669EF693F793}"/>
              </a:ext>
            </a:extLst>
          </p:cNvPr>
          <p:cNvSpPr>
            <a:spLocks noGrp="1"/>
          </p:cNvSpPr>
          <p:nvPr>
            <p:ph sz="half" idx="2"/>
          </p:nvPr>
        </p:nvSpPr>
        <p:spPr>
          <a:xfrm>
            <a:off x="630238" y="2505075"/>
            <a:ext cx="386873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5" name="Espace réservé du texte 4">
            <a:extLst>
              <a:ext uri="{FF2B5EF4-FFF2-40B4-BE49-F238E27FC236}">
                <a16:creationId xmlns:a16="http://schemas.microsoft.com/office/drawing/2014/main" id="{1BAA2DE2-9700-4BC6-A0B4-C2781BC8BBCE}"/>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a:extLst>
              <a:ext uri="{FF2B5EF4-FFF2-40B4-BE49-F238E27FC236}">
                <a16:creationId xmlns:a16="http://schemas.microsoft.com/office/drawing/2014/main" id="{44504D6B-5975-4D3B-8695-E19A5C4986D1}"/>
              </a:ext>
            </a:extLst>
          </p:cNvPr>
          <p:cNvSpPr>
            <a:spLocks noGrp="1"/>
          </p:cNvSpPr>
          <p:nvPr>
            <p:ph sz="quarter" idx="4"/>
          </p:nvPr>
        </p:nvSpPr>
        <p:spPr>
          <a:xfrm>
            <a:off x="4629150" y="2505075"/>
            <a:ext cx="38877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7" name="Espace réservé de la date 6">
            <a:extLst>
              <a:ext uri="{FF2B5EF4-FFF2-40B4-BE49-F238E27FC236}">
                <a16:creationId xmlns:a16="http://schemas.microsoft.com/office/drawing/2014/main" id="{06CAF972-6CE1-4975-ABA1-8F46DD46147A}"/>
              </a:ext>
            </a:extLst>
          </p:cNvPr>
          <p:cNvSpPr>
            <a:spLocks noGrp="1"/>
          </p:cNvSpPr>
          <p:nvPr>
            <p:ph type="dt" sz="half" idx="10"/>
          </p:nvPr>
        </p:nvSpPr>
        <p:spPr/>
        <p:txBody>
          <a:bodyPr/>
          <a:lstStyle/>
          <a:p>
            <a:fld id="{9819D08A-E398-452A-873C-00F43250A6F8}" type="datetimeFigureOut">
              <a:rPr lang="en-GB" smtClean="0"/>
              <a:t>23/04/2024</a:t>
            </a:fld>
            <a:endParaRPr lang="en-GB"/>
          </a:p>
        </p:txBody>
      </p:sp>
      <p:sp>
        <p:nvSpPr>
          <p:cNvPr id="8" name="Espace réservé du pied de page 7">
            <a:extLst>
              <a:ext uri="{FF2B5EF4-FFF2-40B4-BE49-F238E27FC236}">
                <a16:creationId xmlns:a16="http://schemas.microsoft.com/office/drawing/2014/main" id="{3EFA27CE-1A97-4F17-A80A-938DBA849D0A}"/>
              </a:ext>
            </a:extLst>
          </p:cNvPr>
          <p:cNvSpPr>
            <a:spLocks noGrp="1"/>
          </p:cNvSpPr>
          <p:nvPr>
            <p:ph type="ftr" sz="quarter" idx="11"/>
          </p:nvPr>
        </p:nvSpPr>
        <p:spPr/>
        <p:txBody>
          <a:bodyPr/>
          <a:lstStyle/>
          <a:p>
            <a:endParaRPr lang="en-GB"/>
          </a:p>
        </p:txBody>
      </p:sp>
      <p:sp>
        <p:nvSpPr>
          <p:cNvPr id="9" name="Espace réservé du numéro de diapositive 8">
            <a:extLst>
              <a:ext uri="{FF2B5EF4-FFF2-40B4-BE49-F238E27FC236}">
                <a16:creationId xmlns:a16="http://schemas.microsoft.com/office/drawing/2014/main" id="{92A9F202-AE97-43F3-B09F-901CFC7DFAF3}"/>
              </a:ext>
            </a:extLst>
          </p:cNvPr>
          <p:cNvSpPr>
            <a:spLocks noGrp="1"/>
          </p:cNvSpPr>
          <p:nvPr>
            <p:ph type="sldNum" sz="quarter" idx="12"/>
          </p:nvPr>
        </p:nvSpPr>
        <p:spPr/>
        <p:txBody>
          <a:bodyPr/>
          <a:lstStyle/>
          <a:p>
            <a:fld id="{54D30AF0-30DF-4DE4-90AA-A53A4F43D726}" type="slidenum">
              <a:rPr lang="en-GB" smtClean="0"/>
              <a:t>‹#›</a:t>
            </a:fld>
            <a:endParaRPr lang="en-GB"/>
          </a:p>
        </p:txBody>
      </p:sp>
    </p:spTree>
    <p:extLst>
      <p:ext uri="{BB962C8B-B14F-4D97-AF65-F5344CB8AC3E}">
        <p14:creationId xmlns:p14="http://schemas.microsoft.com/office/powerpoint/2010/main" val="16212338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3246EC0-527A-4946-BE32-18FD5C02FD7A}"/>
              </a:ext>
            </a:extLst>
          </p:cNvPr>
          <p:cNvSpPr>
            <a:spLocks noGrp="1"/>
          </p:cNvSpPr>
          <p:nvPr>
            <p:ph type="title"/>
          </p:nvPr>
        </p:nvSpPr>
        <p:spPr/>
        <p:txBody>
          <a:bodyPr/>
          <a:lstStyle/>
          <a:p>
            <a:r>
              <a:rPr lang="fr-FR"/>
              <a:t>Modifiez le style du titre</a:t>
            </a:r>
            <a:endParaRPr lang="en-GB"/>
          </a:p>
        </p:txBody>
      </p:sp>
      <p:sp>
        <p:nvSpPr>
          <p:cNvPr id="3" name="Espace réservé de la date 2">
            <a:extLst>
              <a:ext uri="{FF2B5EF4-FFF2-40B4-BE49-F238E27FC236}">
                <a16:creationId xmlns:a16="http://schemas.microsoft.com/office/drawing/2014/main" id="{A1C2B160-B53B-4837-9676-1919146F7AC6}"/>
              </a:ext>
            </a:extLst>
          </p:cNvPr>
          <p:cNvSpPr>
            <a:spLocks noGrp="1"/>
          </p:cNvSpPr>
          <p:nvPr>
            <p:ph type="dt" sz="half" idx="10"/>
          </p:nvPr>
        </p:nvSpPr>
        <p:spPr/>
        <p:txBody>
          <a:bodyPr/>
          <a:lstStyle/>
          <a:p>
            <a:fld id="{9819D08A-E398-452A-873C-00F43250A6F8}" type="datetimeFigureOut">
              <a:rPr lang="en-GB" smtClean="0"/>
              <a:t>23/04/2024</a:t>
            </a:fld>
            <a:endParaRPr lang="en-GB"/>
          </a:p>
        </p:txBody>
      </p:sp>
      <p:sp>
        <p:nvSpPr>
          <p:cNvPr id="4" name="Espace réservé du pied de page 3">
            <a:extLst>
              <a:ext uri="{FF2B5EF4-FFF2-40B4-BE49-F238E27FC236}">
                <a16:creationId xmlns:a16="http://schemas.microsoft.com/office/drawing/2014/main" id="{6A888A05-47E4-452E-9515-B594338B2EB6}"/>
              </a:ext>
            </a:extLst>
          </p:cNvPr>
          <p:cNvSpPr>
            <a:spLocks noGrp="1"/>
          </p:cNvSpPr>
          <p:nvPr>
            <p:ph type="ftr" sz="quarter" idx="11"/>
          </p:nvPr>
        </p:nvSpPr>
        <p:spPr/>
        <p:txBody>
          <a:bodyPr/>
          <a:lstStyle/>
          <a:p>
            <a:endParaRPr lang="en-GB"/>
          </a:p>
        </p:txBody>
      </p:sp>
      <p:sp>
        <p:nvSpPr>
          <p:cNvPr id="5" name="Espace réservé du numéro de diapositive 4">
            <a:extLst>
              <a:ext uri="{FF2B5EF4-FFF2-40B4-BE49-F238E27FC236}">
                <a16:creationId xmlns:a16="http://schemas.microsoft.com/office/drawing/2014/main" id="{5A970D17-E7C2-424A-B2EB-9A0BDD12E7DE}"/>
              </a:ext>
            </a:extLst>
          </p:cNvPr>
          <p:cNvSpPr>
            <a:spLocks noGrp="1"/>
          </p:cNvSpPr>
          <p:nvPr>
            <p:ph type="sldNum" sz="quarter" idx="12"/>
          </p:nvPr>
        </p:nvSpPr>
        <p:spPr/>
        <p:txBody>
          <a:bodyPr/>
          <a:lstStyle/>
          <a:p>
            <a:fld id="{54D30AF0-30DF-4DE4-90AA-A53A4F43D726}" type="slidenum">
              <a:rPr lang="en-GB" smtClean="0"/>
              <a:t>‹#›</a:t>
            </a:fld>
            <a:endParaRPr lang="en-GB"/>
          </a:p>
        </p:txBody>
      </p:sp>
    </p:spTree>
    <p:extLst>
      <p:ext uri="{BB962C8B-B14F-4D97-AF65-F5344CB8AC3E}">
        <p14:creationId xmlns:p14="http://schemas.microsoft.com/office/powerpoint/2010/main" val="29812193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A8A2B653-3971-4F05-A9E1-1B7CEAC07960}"/>
              </a:ext>
            </a:extLst>
          </p:cNvPr>
          <p:cNvSpPr>
            <a:spLocks noGrp="1"/>
          </p:cNvSpPr>
          <p:nvPr>
            <p:ph type="dt" sz="half" idx="10"/>
          </p:nvPr>
        </p:nvSpPr>
        <p:spPr/>
        <p:txBody>
          <a:bodyPr/>
          <a:lstStyle/>
          <a:p>
            <a:fld id="{9819D08A-E398-452A-873C-00F43250A6F8}" type="datetimeFigureOut">
              <a:rPr lang="en-GB" smtClean="0"/>
              <a:t>23/04/2024</a:t>
            </a:fld>
            <a:endParaRPr lang="en-GB"/>
          </a:p>
        </p:txBody>
      </p:sp>
      <p:sp>
        <p:nvSpPr>
          <p:cNvPr id="3" name="Espace réservé du pied de page 2">
            <a:extLst>
              <a:ext uri="{FF2B5EF4-FFF2-40B4-BE49-F238E27FC236}">
                <a16:creationId xmlns:a16="http://schemas.microsoft.com/office/drawing/2014/main" id="{92939830-52B1-4D97-8681-6B70C305136F}"/>
              </a:ext>
            </a:extLst>
          </p:cNvPr>
          <p:cNvSpPr>
            <a:spLocks noGrp="1"/>
          </p:cNvSpPr>
          <p:nvPr>
            <p:ph type="ftr" sz="quarter" idx="11"/>
          </p:nvPr>
        </p:nvSpPr>
        <p:spPr/>
        <p:txBody>
          <a:bodyPr/>
          <a:lstStyle/>
          <a:p>
            <a:endParaRPr lang="en-GB"/>
          </a:p>
        </p:txBody>
      </p:sp>
      <p:sp>
        <p:nvSpPr>
          <p:cNvPr id="4" name="Espace réservé du numéro de diapositive 3">
            <a:extLst>
              <a:ext uri="{FF2B5EF4-FFF2-40B4-BE49-F238E27FC236}">
                <a16:creationId xmlns:a16="http://schemas.microsoft.com/office/drawing/2014/main" id="{64F4DC01-514A-4513-843A-23FD474BC98F}"/>
              </a:ext>
            </a:extLst>
          </p:cNvPr>
          <p:cNvSpPr>
            <a:spLocks noGrp="1"/>
          </p:cNvSpPr>
          <p:nvPr>
            <p:ph type="sldNum" sz="quarter" idx="12"/>
          </p:nvPr>
        </p:nvSpPr>
        <p:spPr/>
        <p:txBody>
          <a:bodyPr/>
          <a:lstStyle/>
          <a:p>
            <a:fld id="{54D30AF0-30DF-4DE4-90AA-A53A4F43D726}" type="slidenum">
              <a:rPr lang="en-GB" smtClean="0"/>
              <a:t>‹#›</a:t>
            </a:fld>
            <a:endParaRPr lang="en-GB"/>
          </a:p>
        </p:txBody>
      </p:sp>
    </p:spTree>
    <p:extLst>
      <p:ext uri="{BB962C8B-B14F-4D97-AF65-F5344CB8AC3E}">
        <p14:creationId xmlns:p14="http://schemas.microsoft.com/office/powerpoint/2010/main" val="15951901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85838DB-F430-48AF-822A-EEC493DAB502}"/>
              </a:ext>
            </a:extLst>
          </p:cNvPr>
          <p:cNvSpPr>
            <a:spLocks noGrp="1"/>
          </p:cNvSpPr>
          <p:nvPr>
            <p:ph type="title"/>
          </p:nvPr>
        </p:nvSpPr>
        <p:spPr>
          <a:xfrm>
            <a:off x="630238" y="457200"/>
            <a:ext cx="2949575" cy="1600200"/>
          </a:xfrm>
        </p:spPr>
        <p:txBody>
          <a:bodyPr anchor="b"/>
          <a:lstStyle>
            <a:lvl1pPr>
              <a:defRPr sz="3200"/>
            </a:lvl1pPr>
          </a:lstStyle>
          <a:p>
            <a:r>
              <a:rPr lang="fr-FR"/>
              <a:t>Modifiez le style du titre</a:t>
            </a:r>
            <a:endParaRPr lang="en-GB"/>
          </a:p>
        </p:txBody>
      </p:sp>
      <p:sp>
        <p:nvSpPr>
          <p:cNvPr id="3" name="Espace réservé du contenu 2">
            <a:extLst>
              <a:ext uri="{FF2B5EF4-FFF2-40B4-BE49-F238E27FC236}">
                <a16:creationId xmlns:a16="http://schemas.microsoft.com/office/drawing/2014/main" id="{66794264-F073-434B-90A7-A5B40A2DCA05}"/>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u texte 3">
            <a:extLst>
              <a:ext uri="{FF2B5EF4-FFF2-40B4-BE49-F238E27FC236}">
                <a16:creationId xmlns:a16="http://schemas.microsoft.com/office/drawing/2014/main" id="{7EF2B92D-8A3D-47D8-B1AD-0E80C3C12618}"/>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FCAF398E-CAE6-4ACF-9031-AAC89597B400}"/>
              </a:ext>
            </a:extLst>
          </p:cNvPr>
          <p:cNvSpPr>
            <a:spLocks noGrp="1"/>
          </p:cNvSpPr>
          <p:nvPr>
            <p:ph type="dt" sz="half" idx="10"/>
          </p:nvPr>
        </p:nvSpPr>
        <p:spPr/>
        <p:txBody>
          <a:bodyPr/>
          <a:lstStyle/>
          <a:p>
            <a:fld id="{9819D08A-E398-452A-873C-00F43250A6F8}" type="datetimeFigureOut">
              <a:rPr lang="en-GB" smtClean="0"/>
              <a:t>23/04/2024</a:t>
            </a:fld>
            <a:endParaRPr lang="en-GB"/>
          </a:p>
        </p:txBody>
      </p:sp>
      <p:sp>
        <p:nvSpPr>
          <p:cNvPr id="6" name="Espace réservé du pied de page 5">
            <a:extLst>
              <a:ext uri="{FF2B5EF4-FFF2-40B4-BE49-F238E27FC236}">
                <a16:creationId xmlns:a16="http://schemas.microsoft.com/office/drawing/2014/main" id="{16FD1316-5068-4B14-ABEB-BA25A09C0D5B}"/>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96002B27-B3E7-4FD5-94E9-AB14ECA6B8A6}"/>
              </a:ext>
            </a:extLst>
          </p:cNvPr>
          <p:cNvSpPr>
            <a:spLocks noGrp="1"/>
          </p:cNvSpPr>
          <p:nvPr>
            <p:ph type="sldNum" sz="quarter" idx="12"/>
          </p:nvPr>
        </p:nvSpPr>
        <p:spPr/>
        <p:txBody>
          <a:bodyPr/>
          <a:lstStyle/>
          <a:p>
            <a:fld id="{54D30AF0-30DF-4DE4-90AA-A53A4F43D726}" type="slidenum">
              <a:rPr lang="en-GB" smtClean="0"/>
              <a:t>‹#›</a:t>
            </a:fld>
            <a:endParaRPr lang="en-GB"/>
          </a:p>
        </p:txBody>
      </p:sp>
    </p:spTree>
    <p:extLst>
      <p:ext uri="{BB962C8B-B14F-4D97-AF65-F5344CB8AC3E}">
        <p14:creationId xmlns:p14="http://schemas.microsoft.com/office/powerpoint/2010/main" val="32265136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26B986D-D7D4-48E1-8BC5-2BA4D3403CD3}"/>
              </a:ext>
            </a:extLst>
          </p:cNvPr>
          <p:cNvSpPr>
            <a:spLocks noGrp="1"/>
          </p:cNvSpPr>
          <p:nvPr>
            <p:ph type="title"/>
          </p:nvPr>
        </p:nvSpPr>
        <p:spPr>
          <a:xfrm>
            <a:off x="630238" y="457200"/>
            <a:ext cx="2949575" cy="1600200"/>
          </a:xfrm>
        </p:spPr>
        <p:txBody>
          <a:bodyPr anchor="b"/>
          <a:lstStyle>
            <a:lvl1pPr>
              <a:defRPr sz="3200"/>
            </a:lvl1pPr>
          </a:lstStyle>
          <a:p>
            <a:r>
              <a:rPr lang="fr-FR"/>
              <a:t>Modifiez le style du titre</a:t>
            </a:r>
            <a:endParaRPr lang="en-GB"/>
          </a:p>
        </p:txBody>
      </p:sp>
      <p:sp>
        <p:nvSpPr>
          <p:cNvPr id="3" name="Espace réservé pour une image  2">
            <a:extLst>
              <a:ext uri="{FF2B5EF4-FFF2-40B4-BE49-F238E27FC236}">
                <a16:creationId xmlns:a16="http://schemas.microsoft.com/office/drawing/2014/main" id="{430A404B-1767-4554-A2CA-0999699B61AE}"/>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Espace réservé du texte 3">
            <a:extLst>
              <a:ext uri="{FF2B5EF4-FFF2-40B4-BE49-F238E27FC236}">
                <a16:creationId xmlns:a16="http://schemas.microsoft.com/office/drawing/2014/main" id="{EEF9A4CE-9593-4D24-8881-85B8B5B5B0E7}"/>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91AD66EF-97F6-4B02-ADD6-51DA783197CD}"/>
              </a:ext>
            </a:extLst>
          </p:cNvPr>
          <p:cNvSpPr>
            <a:spLocks noGrp="1"/>
          </p:cNvSpPr>
          <p:nvPr>
            <p:ph type="dt" sz="half" idx="10"/>
          </p:nvPr>
        </p:nvSpPr>
        <p:spPr/>
        <p:txBody>
          <a:bodyPr/>
          <a:lstStyle/>
          <a:p>
            <a:fld id="{9819D08A-E398-452A-873C-00F43250A6F8}" type="datetimeFigureOut">
              <a:rPr lang="en-GB" smtClean="0"/>
              <a:t>23/04/2024</a:t>
            </a:fld>
            <a:endParaRPr lang="en-GB"/>
          </a:p>
        </p:txBody>
      </p:sp>
      <p:sp>
        <p:nvSpPr>
          <p:cNvPr id="6" name="Espace réservé du pied de page 5">
            <a:extLst>
              <a:ext uri="{FF2B5EF4-FFF2-40B4-BE49-F238E27FC236}">
                <a16:creationId xmlns:a16="http://schemas.microsoft.com/office/drawing/2014/main" id="{63171081-BAD0-4947-998F-1F2F778F38AE}"/>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217E6A0B-4138-40CC-A4C8-52A97775C080}"/>
              </a:ext>
            </a:extLst>
          </p:cNvPr>
          <p:cNvSpPr>
            <a:spLocks noGrp="1"/>
          </p:cNvSpPr>
          <p:nvPr>
            <p:ph type="sldNum" sz="quarter" idx="12"/>
          </p:nvPr>
        </p:nvSpPr>
        <p:spPr/>
        <p:txBody>
          <a:bodyPr/>
          <a:lstStyle/>
          <a:p>
            <a:fld id="{54D30AF0-30DF-4DE4-90AA-A53A4F43D726}" type="slidenum">
              <a:rPr lang="en-GB" smtClean="0"/>
              <a:t>‹#›</a:t>
            </a:fld>
            <a:endParaRPr lang="en-GB"/>
          </a:p>
        </p:txBody>
      </p:sp>
    </p:spTree>
    <p:extLst>
      <p:ext uri="{BB962C8B-B14F-4D97-AF65-F5344CB8AC3E}">
        <p14:creationId xmlns:p14="http://schemas.microsoft.com/office/powerpoint/2010/main" val="16684059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C19FE6D-F3BE-4CDC-9EFB-B4D0A41FABBC}"/>
              </a:ext>
            </a:extLst>
          </p:cNvPr>
          <p:cNvSpPr>
            <a:spLocks noGrp="1"/>
          </p:cNvSpPr>
          <p:nvPr>
            <p:ph type="title"/>
          </p:nvPr>
        </p:nvSpPr>
        <p:spPr/>
        <p:txBody>
          <a:bodyPr/>
          <a:lstStyle/>
          <a:p>
            <a:r>
              <a:rPr lang="fr-FR"/>
              <a:t>Modifiez le style du titre</a:t>
            </a:r>
            <a:endParaRPr lang="en-GB"/>
          </a:p>
        </p:txBody>
      </p:sp>
      <p:sp>
        <p:nvSpPr>
          <p:cNvPr id="3" name="Espace réservé du texte vertical 2">
            <a:extLst>
              <a:ext uri="{FF2B5EF4-FFF2-40B4-BE49-F238E27FC236}">
                <a16:creationId xmlns:a16="http://schemas.microsoft.com/office/drawing/2014/main" id="{1FE483DA-181D-444B-8FD1-93C0541382DC}"/>
              </a:ext>
            </a:extLst>
          </p:cNvPr>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e la date 3">
            <a:extLst>
              <a:ext uri="{FF2B5EF4-FFF2-40B4-BE49-F238E27FC236}">
                <a16:creationId xmlns:a16="http://schemas.microsoft.com/office/drawing/2014/main" id="{1610EBEB-D99A-4AD7-91AA-B68A1765BAED}"/>
              </a:ext>
            </a:extLst>
          </p:cNvPr>
          <p:cNvSpPr>
            <a:spLocks noGrp="1"/>
          </p:cNvSpPr>
          <p:nvPr>
            <p:ph type="dt" sz="half" idx="10"/>
          </p:nvPr>
        </p:nvSpPr>
        <p:spPr/>
        <p:txBody>
          <a:bodyPr/>
          <a:lstStyle/>
          <a:p>
            <a:fld id="{9819D08A-E398-452A-873C-00F43250A6F8}" type="datetimeFigureOut">
              <a:rPr lang="en-GB" smtClean="0"/>
              <a:t>23/04/2024</a:t>
            </a:fld>
            <a:endParaRPr lang="en-GB"/>
          </a:p>
        </p:txBody>
      </p:sp>
      <p:sp>
        <p:nvSpPr>
          <p:cNvPr id="5" name="Espace réservé du pied de page 4">
            <a:extLst>
              <a:ext uri="{FF2B5EF4-FFF2-40B4-BE49-F238E27FC236}">
                <a16:creationId xmlns:a16="http://schemas.microsoft.com/office/drawing/2014/main" id="{D8FFFDDA-902A-4630-AFF6-B640E9DB4F2D}"/>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ADEA02D3-5369-427F-98E2-11C7416A6D16}"/>
              </a:ext>
            </a:extLst>
          </p:cNvPr>
          <p:cNvSpPr>
            <a:spLocks noGrp="1"/>
          </p:cNvSpPr>
          <p:nvPr>
            <p:ph type="sldNum" sz="quarter" idx="12"/>
          </p:nvPr>
        </p:nvSpPr>
        <p:spPr/>
        <p:txBody>
          <a:bodyPr/>
          <a:lstStyle/>
          <a:p>
            <a:fld id="{54D30AF0-30DF-4DE4-90AA-A53A4F43D726}" type="slidenum">
              <a:rPr lang="en-GB" smtClean="0"/>
              <a:t>‹#›</a:t>
            </a:fld>
            <a:endParaRPr lang="en-GB"/>
          </a:p>
        </p:txBody>
      </p:sp>
    </p:spTree>
    <p:extLst>
      <p:ext uri="{BB962C8B-B14F-4D97-AF65-F5344CB8AC3E}">
        <p14:creationId xmlns:p14="http://schemas.microsoft.com/office/powerpoint/2010/main" val="10715937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re double">
    <p:spTree>
      <p:nvGrpSpPr>
        <p:cNvPr id="1" name=""/>
        <p:cNvGrpSpPr/>
        <p:nvPr/>
      </p:nvGrpSpPr>
      <p:grpSpPr>
        <a:xfrm>
          <a:off x="0" y="0"/>
          <a:ext cx="0" cy="0"/>
          <a:chOff x="0" y="0"/>
          <a:chExt cx="0" cy="0"/>
        </a:xfrm>
      </p:grpSpPr>
      <p:sp>
        <p:nvSpPr>
          <p:cNvPr id="2" name="Titre 1"/>
          <p:cNvSpPr>
            <a:spLocks noGrp="1"/>
          </p:cNvSpPr>
          <p:nvPr>
            <p:ph type="title"/>
          </p:nvPr>
        </p:nvSpPr>
        <p:spPr>
          <a:xfrm>
            <a:off x="323528" y="170334"/>
            <a:ext cx="8496944" cy="492471"/>
          </a:xfrm>
        </p:spPr>
        <p:txBody>
          <a:bodyPr>
            <a:normAutofit/>
          </a:bodyPr>
          <a:lstStyle>
            <a:lvl1pPr>
              <a:defRPr sz="2000"/>
            </a:lvl1pPr>
          </a:lstStyle>
          <a:p>
            <a:r>
              <a:rPr lang="fr-FR" dirty="0"/>
              <a:t>Cliquez pour modifier le style du titre</a:t>
            </a:r>
          </a:p>
        </p:txBody>
      </p:sp>
      <p:sp>
        <p:nvSpPr>
          <p:cNvPr id="3" name="Espace réservé du contenu 2"/>
          <p:cNvSpPr>
            <a:spLocks noGrp="1"/>
          </p:cNvSpPr>
          <p:nvPr>
            <p:ph idx="1"/>
          </p:nvPr>
        </p:nvSpPr>
        <p:spPr>
          <a:xfrm>
            <a:off x="457200" y="1041152"/>
            <a:ext cx="8229600" cy="5085012"/>
          </a:xfrm>
        </p:spPr>
        <p:txBody>
          <a:bodyPr>
            <a:normAutofit/>
          </a:bodyPr>
          <a:lstStyle>
            <a:lvl1pPr marL="342900" indent="-342900">
              <a:buClr>
                <a:schemeClr val="tx2"/>
              </a:buClr>
              <a:buFont typeface="Wingdings" panose="05000000000000000000" pitchFamily="2" charset="2"/>
              <a:buChar cha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p:txBody>
          <a:bodyPr/>
          <a:lstStyle/>
          <a:p>
            <a:fld id="{3A101B08-4580-48F3-B1CA-82F8A9B9E531}" type="datetime1">
              <a:rPr lang="fr-FR" smtClean="0"/>
              <a:t>23/04/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pPr/>
              <a:t>‹#›</a:t>
            </a:fld>
            <a:endParaRPr lang="fr-FR"/>
          </a:p>
        </p:txBody>
      </p:sp>
      <p:sp>
        <p:nvSpPr>
          <p:cNvPr id="8" name="Espace réservé du texte 7"/>
          <p:cNvSpPr>
            <a:spLocks noGrp="1"/>
          </p:cNvSpPr>
          <p:nvPr>
            <p:ph type="body" sz="quarter" idx="13"/>
          </p:nvPr>
        </p:nvSpPr>
        <p:spPr>
          <a:xfrm>
            <a:off x="323528" y="597717"/>
            <a:ext cx="8496944" cy="360362"/>
          </a:xfrm>
        </p:spPr>
        <p:txBody>
          <a:bodyPr>
            <a:noAutofit/>
          </a:bodyPr>
          <a:lstStyle>
            <a:lvl1pPr marL="0" indent="0">
              <a:buNone/>
              <a:defRPr sz="1800" b="1">
                <a:solidFill>
                  <a:schemeClr val="accent6"/>
                </a:solidFill>
              </a:defRPr>
            </a:lvl1pPr>
          </a:lstStyle>
          <a:p>
            <a:pPr lvl="0"/>
            <a:endParaRPr lang="en-GB" dirty="0"/>
          </a:p>
        </p:txBody>
      </p:sp>
    </p:spTree>
    <p:extLst>
      <p:ext uri="{BB962C8B-B14F-4D97-AF65-F5344CB8AC3E}">
        <p14:creationId xmlns:p14="http://schemas.microsoft.com/office/powerpoint/2010/main" val="14443586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EB66ABD9-393A-44A5-9DF3-B652DA56A3AA}"/>
              </a:ext>
            </a:extLst>
          </p:cNvPr>
          <p:cNvSpPr>
            <a:spLocks noGrp="1"/>
          </p:cNvSpPr>
          <p:nvPr>
            <p:ph type="title" orient="vert"/>
          </p:nvPr>
        </p:nvSpPr>
        <p:spPr>
          <a:xfrm>
            <a:off x="6543675" y="365125"/>
            <a:ext cx="1971675" cy="5811838"/>
          </a:xfrm>
        </p:spPr>
        <p:txBody>
          <a:bodyPr vert="eaVert"/>
          <a:lstStyle/>
          <a:p>
            <a:r>
              <a:rPr lang="fr-FR"/>
              <a:t>Modifiez le style du titre</a:t>
            </a:r>
            <a:endParaRPr lang="en-GB"/>
          </a:p>
        </p:txBody>
      </p:sp>
      <p:sp>
        <p:nvSpPr>
          <p:cNvPr id="3" name="Espace réservé du texte vertical 2">
            <a:extLst>
              <a:ext uri="{FF2B5EF4-FFF2-40B4-BE49-F238E27FC236}">
                <a16:creationId xmlns:a16="http://schemas.microsoft.com/office/drawing/2014/main" id="{0E49241F-7727-4A64-9464-90630F042C69}"/>
              </a:ext>
            </a:extLst>
          </p:cNvPr>
          <p:cNvSpPr>
            <a:spLocks noGrp="1"/>
          </p:cNvSpPr>
          <p:nvPr>
            <p:ph type="body" orient="vert" idx="1"/>
          </p:nvPr>
        </p:nvSpPr>
        <p:spPr>
          <a:xfrm>
            <a:off x="628650" y="365125"/>
            <a:ext cx="5762625"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e la date 3">
            <a:extLst>
              <a:ext uri="{FF2B5EF4-FFF2-40B4-BE49-F238E27FC236}">
                <a16:creationId xmlns:a16="http://schemas.microsoft.com/office/drawing/2014/main" id="{E8EA1860-4CDB-4E26-9D06-70BCDB47358A}"/>
              </a:ext>
            </a:extLst>
          </p:cNvPr>
          <p:cNvSpPr>
            <a:spLocks noGrp="1"/>
          </p:cNvSpPr>
          <p:nvPr>
            <p:ph type="dt" sz="half" idx="10"/>
          </p:nvPr>
        </p:nvSpPr>
        <p:spPr/>
        <p:txBody>
          <a:bodyPr/>
          <a:lstStyle/>
          <a:p>
            <a:fld id="{9819D08A-E398-452A-873C-00F43250A6F8}" type="datetimeFigureOut">
              <a:rPr lang="en-GB" smtClean="0"/>
              <a:t>23/04/2024</a:t>
            </a:fld>
            <a:endParaRPr lang="en-GB"/>
          </a:p>
        </p:txBody>
      </p:sp>
      <p:sp>
        <p:nvSpPr>
          <p:cNvPr id="5" name="Espace réservé du pied de page 4">
            <a:extLst>
              <a:ext uri="{FF2B5EF4-FFF2-40B4-BE49-F238E27FC236}">
                <a16:creationId xmlns:a16="http://schemas.microsoft.com/office/drawing/2014/main" id="{4EB460AB-654A-4300-88B8-8F46DB5483F6}"/>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EBDF438B-D0B4-4663-9608-17436E9DC698}"/>
              </a:ext>
            </a:extLst>
          </p:cNvPr>
          <p:cNvSpPr>
            <a:spLocks noGrp="1"/>
          </p:cNvSpPr>
          <p:nvPr>
            <p:ph type="sldNum" sz="quarter" idx="12"/>
          </p:nvPr>
        </p:nvSpPr>
        <p:spPr/>
        <p:txBody>
          <a:bodyPr/>
          <a:lstStyle/>
          <a:p>
            <a:fld id="{54D30AF0-30DF-4DE4-90AA-A53A4F43D726}" type="slidenum">
              <a:rPr lang="en-GB" smtClean="0"/>
              <a:t>‹#›</a:t>
            </a:fld>
            <a:endParaRPr lang="en-GB"/>
          </a:p>
        </p:txBody>
      </p:sp>
    </p:spTree>
    <p:extLst>
      <p:ext uri="{BB962C8B-B14F-4D97-AF65-F5344CB8AC3E}">
        <p14:creationId xmlns:p14="http://schemas.microsoft.com/office/powerpoint/2010/main" val="24729973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e la date 2"/>
          <p:cNvSpPr>
            <a:spLocks noGrp="1"/>
          </p:cNvSpPr>
          <p:nvPr>
            <p:ph type="dt" sz="half" idx="10"/>
          </p:nvPr>
        </p:nvSpPr>
        <p:spPr/>
        <p:txBody>
          <a:bodyPr/>
          <a:lstStyle/>
          <a:p>
            <a:fld id="{1A716F0F-C0D6-4015-A187-E7A6620B0FB9}" type="datetime1">
              <a:rPr lang="fr-FR" smtClean="0"/>
              <a:t>23/04/2024</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6CA6A39B-2923-4814-8F57-BD84643AD2B4}" type="slidenum">
              <a:rPr lang="fr-FR" smtClean="0"/>
              <a:pPr/>
              <a:t>‹#›</a:t>
            </a:fld>
            <a:endParaRPr 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0A7CBA9C-3313-448C-9E65-11E456116ACB}" type="datetime1">
              <a:rPr lang="fr-FR" smtClean="0"/>
              <a:t>23/04/2024</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6CA6A39B-2923-4814-8F57-BD84643AD2B4}" type="slidenum">
              <a:rPr lang="fr-FR" smtClean="0"/>
              <a:pPr/>
              <a:t>‹#›</a:t>
            </a:fld>
            <a:endParaRPr lang="fr-FR"/>
          </a:p>
        </p:txBody>
      </p:sp>
      <p:sp>
        <p:nvSpPr>
          <p:cNvPr id="5" name="Rectangle 4"/>
          <p:cNvSpPr/>
          <p:nvPr userDrawn="1"/>
        </p:nvSpPr>
        <p:spPr>
          <a:xfrm>
            <a:off x="251520" y="908720"/>
            <a:ext cx="864096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0A7CBA9C-3313-448C-9E65-11E456116ACB}" type="datetime1">
              <a:rPr lang="fr-FR" smtClean="0"/>
              <a:t>23/04/2024</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6CA6A39B-2923-4814-8F57-BD84643AD2B4}" type="slidenum">
              <a:rPr lang="fr-FR" smtClean="0"/>
              <a:pPr/>
              <a:t>‹#›</a:t>
            </a:fld>
            <a:endParaRPr lang="fr-FR"/>
          </a:p>
        </p:txBody>
      </p:sp>
      <p:sp>
        <p:nvSpPr>
          <p:cNvPr id="5" name="Rectangle 4"/>
          <p:cNvSpPr/>
          <p:nvPr userDrawn="1"/>
        </p:nvSpPr>
        <p:spPr>
          <a:xfrm>
            <a:off x="251520" y="908720"/>
            <a:ext cx="864096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itre 1"/>
          <p:cNvSpPr>
            <a:spLocks noGrp="1"/>
          </p:cNvSpPr>
          <p:nvPr>
            <p:ph type="ctrTitle"/>
          </p:nvPr>
        </p:nvSpPr>
        <p:spPr>
          <a:xfrm>
            <a:off x="1115616" y="2693988"/>
            <a:ext cx="6912768" cy="1470025"/>
          </a:xfrm>
        </p:spPr>
        <p:txBody>
          <a:bodyPr>
            <a:noAutofit/>
          </a:bodyPr>
          <a:lstStyle>
            <a:lvl1pPr>
              <a:defRPr sz="3200"/>
            </a:lvl1pPr>
          </a:lstStyle>
          <a:p>
            <a:r>
              <a:rPr lang="fr-FR" dirty="0"/>
              <a:t>Cliquez pour modifier le style du titre</a:t>
            </a:r>
          </a:p>
        </p:txBody>
      </p:sp>
    </p:spTree>
    <p:extLst>
      <p:ext uri="{BB962C8B-B14F-4D97-AF65-F5344CB8AC3E}">
        <p14:creationId xmlns:p14="http://schemas.microsoft.com/office/powerpoint/2010/main" val="28102118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normAutofit/>
          </a:bodyPr>
          <a:lstStyle>
            <a:lvl1pPr marL="342900" indent="-342900">
              <a:buClr>
                <a:schemeClr val="tx2"/>
              </a:buClr>
              <a:buFont typeface="Wingdings" panose="05000000000000000000" pitchFamily="2" charset="2"/>
              <a:buChar cha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p:txBody>
          <a:bodyPr/>
          <a:lstStyle/>
          <a:p>
            <a:fld id="{59BD78D2-EE62-47EF-8750-582C82D6DFDE}" type="datetime1">
              <a:rPr lang="fr-FR" smtClean="0"/>
              <a:t>23/04/2024</a:t>
            </a:fld>
            <a:endParaRPr lang="fr-FR"/>
          </a:p>
        </p:txBody>
      </p:sp>
      <p:sp>
        <p:nvSpPr>
          <p:cNvPr id="5" name="Espace réservé du pied de page 4"/>
          <p:cNvSpPr>
            <a:spLocks noGrp="1"/>
          </p:cNvSpPr>
          <p:nvPr>
            <p:ph type="ftr" sz="quarter" idx="11"/>
          </p:nvPr>
        </p:nvSpPr>
        <p:spPr/>
        <p:txBody>
          <a:bodyPr/>
          <a:lstStyle/>
          <a:p>
            <a:r>
              <a:rPr lang="en-US"/>
              <a:t>TERRE Project - Stakeholder Forum - 4th July - London - Elexon's </a:t>
            </a:r>
            <a:endParaRPr lang="fr-F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pPr/>
              <a:t>‹#›</a:t>
            </a:fld>
            <a:endParaRPr lang="fr-FR"/>
          </a:p>
        </p:txBody>
      </p:sp>
      <p:sp>
        <p:nvSpPr>
          <p:cNvPr id="8" name="Espace réservé du texte 7"/>
          <p:cNvSpPr>
            <a:spLocks noGrp="1"/>
          </p:cNvSpPr>
          <p:nvPr>
            <p:ph type="body" sz="quarter" idx="13"/>
          </p:nvPr>
        </p:nvSpPr>
        <p:spPr>
          <a:xfrm>
            <a:off x="457200" y="1014413"/>
            <a:ext cx="8229600" cy="360362"/>
          </a:xfrm>
        </p:spPr>
        <p:txBody>
          <a:bodyPr>
            <a:noAutofit/>
          </a:bodyPr>
          <a:lstStyle>
            <a:lvl1pPr marL="0" indent="0">
              <a:buNone/>
              <a:defRPr sz="1800" b="1">
                <a:solidFill>
                  <a:schemeClr val="accent6"/>
                </a:solidFill>
              </a:defRPr>
            </a:lvl1pPr>
          </a:lstStyle>
          <a:p>
            <a:pPr lvl="0"/>
            <a:endParaRPr lang="en-GB" dirty="0"/>
          </a:p>
        </p:txBody>
      </p:sp>
    </p:spTree>
    <p:extLst>
      <p:ext uri="{BB962C8B-B14F-4D97-AF65-F5344CB8AC3E}">
        <p14:creationId xmlns:p14="http://schemas.microsoft.com/office/powerpoint/2010/main" val="6338103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2675AD1-5A1E-4D6A-8306-2E66C30B51A2}"/>
              </a:ext>
            </a:extLst>
          </p:cNvPr>
          <p:cNvSpPr>
            <a:spLocks noGrp="1"/>
          </p:cNvSpPr>
          <p:nvPr>
            <p:ph type="ctrTitle"/>
          </p:nvPr>
        </p:nvSpPr>
        <p:spPr>
          <a:xfrm>
            <a:off x="1143000" y="1122363"/>
            <a:ext cx="6858000" cy="2387600"/>
          </a:xfrm>
        </p:spPr>
        <p:txBody>
          <a:bodyPr anchor="b"/>
          <a:lstStyle>
            <a:lvl1pPr algn="ctr">
              <a:defRPr sz="6000"/>
            </a:lvl1pPr>
          </a:lstStyle>
          <a:p>
            <a:r>
              <a:rPr lang="fr-FR"/>
              <a:t>Modifiez le style du titre</a:t>
            </a:r>
            <a:endParaRPr lang="en-GB"/>
          </a:p>
        </p:txBody>
      </p:sp>
      <p:sp>
        <p:nvSpPr>
          <p:cNvPr id="3" name="Sous-titre 2">
            <a:extLst>
              <a:ext uri="{FF2B5EF4-FFF2-40B4-BE49-F238E27FC236}">
                <a16:creationId xmlns:a16="http://schemas.microsoft.com/office/drawing/2014/main" id="{0D6C768E-C78B-4F55-BB9F-1A4E99AA7EEB}"/>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4" name="Espace réservé de la date 3">
            <a:extLst>
              <a:ext uri="{FF2B5EF4-FFF2-40B4-BE49-F238E27FC236}">
                <a16:creationId xmlns:a16="http://schemas.microsoft.com/office/drawing/2014/main" id="{97B2D4CC-4A94-4E13-81F9-487B5447FDD1}"/>
              </a:ext>
            </a:extLst>
          </p:cNvPr>
          <p:cNvSpPr>
            <a:spLocks noGrp="1"/>
          </p:cNvSpPr>
          <p:nvPr>
            <p:ph type="dt" sz="half" idx="10"/>
          </p:nvPr>
        </p:nvSpPr>
        <p:spPr/>
        <p:txBody>
          <a:bodyPr/>
          <a:lstStyle/>
          <a:p>
            <a:fld id="{DA101903-EEB7-46AD-9CF2-2520EA3A19DC}" type="datetimeFigureOut">
              <a:rPr lang="en-GB" smtClean="0"/>
              <a:t>23/04/2024</a:t>
            </a:fld>
            <a:endParaRPr lang="en-GB"/>
          </a:p>
        </p:txBody>
      </p:sp>
      <p:sp>
        <p:nvSpPr>
          <p:cNvPr id="5" name="Espace réservé du pied de page 4">
            <a:extLst>
              <a:ext uri="{FF2B5EF4-FFF2-40B4-BE49-F238E27FC236}">
                <a16:creationId xmlns:a16="http://schemas.microsoft.com/office/drawing/2014/main" id="{DDBCDD40-CAA5-423F-B5BE-A5AFA196A73F}"/>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8B47555D-D1D6-48AE-808E-45A88EFC6859}"/>
              </a:ext>
            </a:extLst>
          </p:cNvPr>
          <p:cNvSpPr>
            <a:spLocks noGrp="1"/>
          </p:cNvSpPr>
          <p:nvPr>
            <p:ph type="sldNum" sz="quarter" idx="12"/>
          </p:nvPr>
        </p:nvSpPr>
        <p:spPr/>
        <p:txBody>
          <a:bodyPr/>
          <a:lstStyle/>
          <a:p>
            <a:fld id="{6826A6F9-03C7-432C-A512-008236AA45CE}" type="slidenum">
              <a:rPr lang="en-GB" smtClean="0"/>
              <a:t>‹#›</a:t>
            </a:fld>
            <a:endParaRPr lang="en-GB"/>
          </a:p>
        </p:txBody>
      </p:sp>
    </p:spTree>
    <p:extLst>
      <p:ext uri="{BB962C8B-B14F-4D97-AF65-F5344CB8AC3E}">
        <p14:creationId xmlns:p14="http://schemas.microsoft.com/office/powerpoint/2010/main" val="42411515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DCC5183-C9E9-4EF8-8305-165F8EC9A480}"/>
              </a:ext>
            </a:extLst>
          </p:cNvPr>
          <p:cNvSpPr>
            <a:spLocks noGrp="1"/>
          </p:cNvSpPr>
          <p:nvPr>
            <p:ph type="title"/>
          </p:nvPr>
        </p:nvSpPr>
        <p:spPr/>
        <p:txBody>
          <a:bodyPr/>
          <a:lstStyle/>
          <a:p>
            <a:r>
              <a:rPr lang="fr-FR"/>
              <a:t>Modifiez le style du titre</a:t>
            </a:r>
            <a:endParaRPr lang="en-GB"/>
          </a:p>
        </p:txBody>
      </p:sp>
      <p:sp>
        <p:nvSpPr>
          <p:cNvPr id="3" name="Espace réservé du contenu 2">
            <a:extLst>
              <a:ext uri="{FF2B5EF4-FFF2-40B4-BE49-F238E27FC236}">
                <a16:creationId xmlns:a16="http://schemas.microsoft.com/office/drawing/2014/main" id="{FBF29282-A321-4654-AD46-89213A05AB3C}"/>
              </a:ext>
            </a:extLst>
          </p:cNvPr>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e la date 3">
            <a:extLst>
              <a:ext uri="{FF2B5EF4-FFF2-40B4-BE49-F238E27FC236}">
                <a16:creationId xmlns:a16="http://schemas.microsoft.com/office/drawing/2014/main" id="{13F1E6D9-C669-40A9-BFA9-5EEB94B9CDFA}"/>
              </a:ext>
            </a:extLst>
          </p:cNvPr>
          <p:cNvSpPr>
            <a:spLocks noGrp="1"/>
          </p:cNvSpPr>
          <p:nvPr>
            <p:ph type="dt" sz="half" idx="10"/>
          </p:nvPr>
        </p:nvSpPr>
        <p:spPr/>
        <p:txBody>
          <a:bodyPr/>
          <a:lstStyle/>
          <a:p>
            <a:fld id="{DA101903-EEB7-46AD-9CF2-2520EA3A19DC}" type="datetimeFigureOut">
              <a:rPr lang="en-GB" smtClean="0"/>
              <a:t>23/04/2024</a:t>
            </a:fld>
            <a:endParaRPr lang="en-GB"/>
          </a:p>
        </p:txBody>
      </p:sp>
      <p:sp>
        <p:nvSpPr>
          <p:cNvPr id="5" name="Espace réservé du pied de page 4">
            <a:extLst>
              <a:ext uri="{FF2B5EF4-FFF2-40B4-BE49-F238E27FC236}">
                <a16:creationId xmlns:a16="http://schemas.microsoft.com/office/drawing/2014/main" id="{86B782B5-E097-4638-9199-5CD3F119BE5F}"/>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48AE21B5-1D6F-4754-B269-A44B836483B8}"/>
              </a:ext>
            </a:extLst>
          </p:cNvPr>
          <p:cNvSpPr>
            <a:spLocks noGrp="1"/>
          </p:cNvSpPr>
          <p:nvPr>
            <p:ph type="sldNum" sz="quarter" idx="12"/>
          </p:nvPr>
        </p:nvSpPr>
        <p:spPr/>
        <p:txBody>
          <a:bodyPr/>
          <a:lstStyle/>
          <a:p>
            <a:fld id="{6826A6F9-03C7-432C-A512-008236AA45CE}" type="slidenum">
              <a:rPr lang="en-GB" smtClean="0"/>
              <a:t>‹#›</a:t>
            </a:fld>
            <a:endParaRPr lang="en-GB"/>
          </a:p>
        </p:txBody>
      </p:sp>
    </p:spTree>
    <p:extLst>
      <p:ext uri="{BB962C8B-B14F-4D97-AF65-F5344CB8AC3E}">
        <p14:creationId xmlns:p14="http://schemas.microsoft.com/office/powerpoint/2010/main" val="16274103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S" descr="80%"/>
          <p:cNvSpPr>
            <a:spLocks noChangeAspect="1"/>
          </p:cNvSpPr>
          <p:nvPr/>
        </p:nvSpPr>
        <p:spPr bwMode="auto">
          <a:xfrm>
            <a:off x="6699250" y="4576763"/>
            <a:ext cx="520700" cy="654050"/>
          </a:xfrm>
          <a:custGeom>
            <a:avLst/>
            <a:gdLst>
              <a:gd name="T0" fmla="*/ 152 w 414"/>
              <a:gd name="T1" fmla="*/ 4 h 550"/>
              <a:gd name="T2" fmla="*/ 213 w 414"/>
              <a:gd name="T3" fmla="*/ 1 h 550"/>
              <a:gd name="T4" fmla="*/ 228 w 414"/>
              <a:gd name="T5" fmla="*/ 17 h 550"/>
              <a:gd name="T6" fmla="*/ 237 w 414"/>
              <a:gd name="T7" fmla="*/ 30 h 550"/>
              <a:gd name="T8" fmla="*/ 248 w 414"/>
              <a:gd name="T9" fmla="*/ 82 h 550"/>
              <a:gd name="T10" fmla="*/ 282 w 414"/>
              <a:gd name="T11" fmla="*/ 94 h 550"/>
              <a:gd name="T12" fmla="*/ 297 w 414"/>
              <a:gd name="T13" fmla="*/ 168 h 550"/>
              <a:gd name="T14" fmla="*/ 319 w 414"/>
              <a:gd name="T15" fmla="*/ 188 h 550"/>
              <a:gd name="T16" fmla="*/ 357 w 414"/>
              <a:gd name="T17" fmla="*/ 181 h 550"/>
              <a:gd name="T18" fmla="*/ 384 w 414"/>
              <a:gd name="T19" fmla="*/ 222 h 550"/>
              <a:gd name="T20" fmla="*/ 381 w 414"/>
              <a:gd name="T21" fmla="*/ 256 h 550"/>
              <a:gd name="T22" fmla="*/ 376 w 414"/>
              <a:gd name="T23" fmla="*/ 274 h 550"/>
              <a:gd name="T24" fmla="*/ 387 w 414"/>
              <a:gd name="T25" fmla="*/ 326 h 550"/>
              <a:gd name="T26" fmla="*/ 414 w 414"/>
              <a:gd name="T27" fmla="*/ 347 h 550"/>
              <a:gd name="T28" fmla="*/ 377 w 414"/>
              <a:gd name="T29" fmla="*/ 411 h 550"/>
              <a:gd name="T30" fmla="*/ 373 w 414"/>
              <a:gd name="T31" fmla="*/ 488 h 550"/>
              <a:gd name="T32" fmla="*/ 343 w 414"/>
              <a:gd name="T33" fmla="*/ 505 h 550"/>
              <a:gd name="T34" fmla="*/ 305 w 414"/>
              <a:gd name="T35" fmla="*/ 513 h 550"/>
              <a:gd name="T36" fmla="*/ 259 w 414"/>
              <a:gd name="T37" fmla="*/ 525 h 550"/>
              <a:gd name="T38" fmla="*/ 225 w 414"/>
              <a:gd name="T39" fmla="*/ 501 h 550"/>
              <a:gd name="T40" fmla="*/ 194 w 414"/>
              <a:gd name="T41" fmla="*/ 483 h 550"/>
              <a:gd name="T42" fmla="*/ 171 w 414"/>
              <a:gd name="T43" fmla="*/ 461 h 550"/>
              <a:gd name="T44" fmla="*/ 133 w 414"/>
              <a:gd name="T45" fmla="*/ 461 h 550"/>
              <a:gd name="T46" fmla="*/ 115 w 414"/>
              <a:gd name="T47" fmla="*/ 509 h 550"/>
              <a:gd name="T48" fmla="*/ 16 w 414"/>
              <a:gd name="T49" fmla="*/ 454 h 550"/>
              <a:gd name="T50" fmla="*/ 23 w 414"/>
              <a:gd name="T51" fmla="*/ 402 h 550"/>
              <a:gd name="T52" fmla="*/ 42 w 414"/>
              <a:gd name="T53" fmla="*/ 360 h 550"/>
              <a:gd name="T54" fmla="*/ 69 w 414"/>
              <a:gd name="T55" fmla="*/ 324 h 550"/>
              <a:gd name="T56" fmla="*/ 95 w 414"/>
              <a:gd name="T57" fmla="*/ 287 h 550"/>
              <a:gd name="T58" fmla="*/ 106 w 414"/>
              <a:gd name="T59" fmla="*/ 252 h 550"/>
              <a:gd name="T60" fmla="*/ 107 w 414"/>
              <a:gd name="T61" fmla="*/ 175 h 550"/>
              <a:gd name="T62" fmla="*/ 91 w 414"/>
              <a:gd name="T63" fmla="*/ 112 h 550"/>
              <a:gd name="T64" fmla="*/ 69 w 414"/>
              <a:gd name="T65" fmla="*/ 38 h 550"/>
              <a:gd name="connsiteX0" fmla="*/ 1667 w 10000"/>
              <a:gd name="connsiteY0" fmla="*/ 691 h 10000"/>
              <a:gd name="connsiteX1" fmla="*/ 3671 w 10000"/>
              <a:gd name="connsiteY1" fmla="*/ 73 h 10000"/>
              <a:gd name="connsiteX2" fmla="*/ 4589 w 10000"/>
              <a:gd name="connsiteY2" fmla="*/ 0 h 10000"/>
              <a:gd name="connsiteX3" fmla="*/ 5145 w 10000"/>
              <a:gd name="connsiteY3" fmla="*/ 18 h 10000"/>
              <a:gd name="connsiteX4" fmla="*/ 5338 w 10000"/>
              <a:gd name="connsiteY4" fmla="*/ 145 h 10000"/>
              <a:gd name="connsiteX5" fmla="*/ 5507 w 10000"/>
              <a:gd name="connsiteY5" fmla="*/ 309 h 10000"/>
              <a:gd name="connsiteX6" fmla="*/ 5531 w 10000"/>
              <a:gd name="connsiteY6" fmla="*/ 491 h 10000"/>
              <a:gd name="connsiteX7" fmla="*/ 5725 w 10000"/>
              <a:gd name="connsiteY7" fmla="*/ 545 h 10000"/>
              <a:gd name="connsiteX8" fmla="*/ 5966 w 10000"/>
              <a:gd name="connsiteY8" fmla="*/ 927 h 10000"/>
              <a:gd name="connsiteX9" fmla="*/ 5990 w 10000"/>
              <a:gd name="connsiteY9" fmla="*/ 1491 h 10000"/>
              <a:gd name="connsiteX10" fmla="*/ 6232 w 10000"/>
              <a:gd name="connsiteY10" fmla="*/ 1709 h 10000"/>
              <a:gd name="connsiteX11" fmla="*/ 6812 w 10000"/>
              <a:gd name="connsiteY11" fmla="*/ 1709 h 10000"/>
              <a:gd name="connsiteX12" fmla="*/ 7174 w 10000"/>
              <a:gd name="connsiteY12" fmla="*/ 2509 h 10000"/>
              <a:gd name="connsiteX13" fmla="*/ 7174 w 10000"/>
              <a:gd name="connsiteY13" fmla="*/ 3055 h 10000"/>
              <a:gd name="connsiteX14" fmla="*/ 7440 w 10000"/>
              <a:gd name="connsiteY14" fmla="*/ 3418 h 10000"/>
              <a:gd name="connsiteX15" fmla="*/ 7705 w 10000"/>
              <a:gd name="connsiteY15" fmla="*/ 3418 h 10000"/>
              <a:gd name="connsiteX16" fmla="*/ 8285 w 10000"/>
              <a:gd name="connsiteY16" fmla="*/ 3055 h 10000"/>
              <a:gd name="connsiteX17" fmla="*/ 8623 w 10000"/>
              <a:gd name="connsiteY17" fmla="*/ 3291 h 10000"/>
              <a:gd name="connsiteX18" fmla="*/ 8647 w 10000"/>
              <a:gd name="connsiteY18" fmla="*/ 3745 h 10000"/>
              <a:gd name="connsiteX19" fmla="*/ 9275 w 10000"/>
              <a:gd name="connsiteY19" fmla="*/ 4036 h 10000"/>
              <a:gd name="connsiteX20" fmla="*/ 9179 w 10000"/>
              <a:gd name="connsiteY20" fmla="*/ 4527 h 10000"/>
              <a:gd name="connsiteX21" fmla="*/ 9203 w 10000"/>
              <a:gd name="connsiteY21" fmla="*/ 4655 h 10000"/>
              <a:gd name="connsiteX22" fmla="*/ 9300 w 10000"/>
              <a:gd name="connsiteY22" fmla="*/ 4727 h 10000"/>
              <a:gd name="connsiteX23" fmla="*/ 9082 w 10000"/>
              <a:gd name="connsiteY23" fmla="*/ 4982 h 10000"/>
              <a:gd name="connsiteX24" fmla="*/ 9010 w 10000"/>
              <a:gd name="connsiteY24" fmla="*/ 5291 h 10000"/>
              <a:gd name="connsiteX25" fmla="*/ 9348 w 10000"/>
              <a:gd name="connsiteY25" fmla="*/ 5927 h 10000"/>
              <a:gd name="connsiteX26" fmla="*/ 9855 w 10000"/>
              <a:gd name="connsiteY26" fmla="*/ 6000 h 10000"/>
              <a:gd name="connsiteX27" fmla="*/ 10000 w 10000"/>
              <a:gd name="connsiteY27" fmla="*/ 6309 h 10000"/>
              <a:gd name="connsiteX28" fmla="*/ 9855 w 10000"/>
              <a:gd name="connsiteY28" fmla="*/ 6927 h 10000"/>
              <a:gd name="connsiteX29" fmla="*/ 9106 w 10000"/>
              <a:gd name="connsiteY29" fmla="*/ 7473 h 10000"/>
              <a:gd name="connsiteX30" fmla="*/ 9300 w 10000"/>
              <a:gd name="connsiteY30" fmla="*/ 8455 h 10000"/>
              <a:gd name="connsiteX31" fmla="*/ 9010 w 10000"/>
              <a:gd name="connsiteY31" fmla="*/ 8873 h 10000"/>
              <a:gd name="connsiteX32" fmla="*/ 9203 w 10000"/>
              <a:gd name="connsiteY32" fmla="*/ 9327 h 10000"/>
              <a:gd name="connsiteX33" fmla="*/ 8285 w 10000"/>
              <a:gd name="connsiteY33" fmla="*/ 9182 h 10000"/>
              <a:gd name="connsiteX34" fmla="*/ 7826 w 10000"/>
              <a:gd name="connsiteY34" fmla="*/ 9327 h 10000"/>
              <a:gd name="connsiteX35" fmla="*/ 7367 w 10000"/>
              <a:gd name="connsiteY35" fmla="*/ 9327 h 10000"/>
              <a:gd name="connsiteX36" fmla="*/ 6812 w 10000"/>
              <a:gd name="connsiteY36" fmla="*/ 9455 h 10000"/>
              <a:gd name="connsiteX37" fmla="*/ 6256 w 10000"/>
              <a:gd name="connsiteY37" fmla="*/ 9545 h 10000"/>
              <a:gd name="connsiteX38" fmla="*/ 5411 w 10000"/>
              <a:gd name="connsiteY38" fmla="*/ 10000 h 10000"/>
              <a:gd name="connsiteX39" fmla="*/ 5435 w 10000"/>
              <a:gd name="connsiteY39" fmla="*/ 9109 h 10000"/>
              <a:gd name="connsiteX40" fmla="*/ 5266 w 10000"/>
              <a:gd name="connsiteY40" fmla="*/ 8873 h 10000"/>
              <a:gd name="connsiteX41" fmla="*/ 4686 w 10000"/>
              <a:gd name="connsiteY41" fmla="*/ 8782 h 10000"/>
              <a:gd name="connsiteX42" fmla="*/ 4493 w 10000"/>
              <a:gd name="connsiteY42" fmla="*/ 8400 h 10000"/>
              <a:gd name="connsiteX43" fmla="*/ 4130 w 10000"/>
              <a:gd name="connsiteY43" fmla="*/ 8382 h 10000"/>
              <a:gd name="connsiteX44" fmla="*/ 3961 w 10000"/>
              <a:gd name="connsiteY44" fmla="*/ 8473 h 10000"/>
              <a:gd name="connsiteX45" fmla="*/ 3213 w 10000"/>
              <a:gd name="connsiteY45" fmla="*/ 8382 h 10000"/>
              <a:gd name="connsiteX46" fmla="*/ 2923 w 10000"/>
              <a:gd name="connsiteY46" fmla="*/ 8564 h 10000"/>
              <a:gd name="connsiteX47" fmla="*/ 2778 w 10000"/>
              <a:gd name="connsiteY47" fmla="*/ 9255 h 10000"/>
              <a:gd name="connsiteX48" fmla="*/ 2464 w 10000"/>
              <a:gd name="connsiteY48" fmla="*/ 9800 h 10000"/>
              <a:gd name="connsiteX49" fmla="*/ 2000 w 10000"/>
              <a:gd name="connsiteY49" fmla="*/ 7090 h 10000"/>
              <a:gd name="connsiteX50" fmla="*/ 0 w 10000"/>
              <a:gd name="connsiteY50" fmla="*/ 7527 h 10000"/>
              <a:gd name="connsiteX51" fmla="*/ 556 w 10000"/>
              <a:gd name="connsiteY51" fmla="*/ 7309 h 10000"/>
              <a:gd name="connsiteX52" fmla="*/ 1014 w 10000"/>
              <a:gd name="connsiteY52" fmla="*/ 7127 h 10000"/>
              <a:gd name="connsiteX53" fmla="*/ 1014 w 10000"/>
              <a:gd name="connsiteY53" fmla="*/ 6545 h 10000"/>
              <a:gd name="connsiteX54" fmla="*/ 1473 w 10000"/>
              <a:gd name="connsiteY54" fmla="*/ 6309 h 10000"/>
              <a:gd name="connsiteX55" fmla="*/ 1667 w 10000"/>
              <a:gd name="connsiteY55" fmla="*/ 5891 h 10000"/>
              <a:gd name="connsiteX56" fmla="*/ 2198 w 10000"/>
              <a:gd name="connsiteY56" fmla="*/ 5618 h 10000"/>
              <a:gd name="connsiteX57" fmla="*/ 2295 w 10000"/>
              <a:gd name="connsiteY57" fmla="*/ 5218 h 10000"/>
              <a:gd name="connsiteX58" fmla="*/ 2222 w 10000"/>
              <a:gd name="connsiteY58" fmla="*/ 4800 h 10000"/>
              <a:gd name="connsiteX59" fmla="*/ 2560 w 10000"/>
              <a:gd name="connsiteY59" fmla="*/ 4582 h 10000"/>
              <a:gd name="connsiteX60" fmla="*/ 2101 w 10000"/>
              <a:gd name="connsiteY60" fmla="*/ 3982 h 10000"/>
              <a:gd name="connsiteX61" fmla="*/ 2585 w 10000"/>
              <a:gd name="connsiteY61" fmla="*/ 3182 h 10000"/>
              <a:gd name="connsiteX62" fmla="*/ 2053 w 10000"/>
              <a:gd name="connsiteY62" fmla="*/ 2636 h 10000"/>
              <a:gd name="connsiteX63" fmla="*/ 2198 w 10000"/>
              <a:gd name="connsiteY63" fmla="*/ 2036 h 10000"/>
              <a:gd name="connsiteX64" fmla="*/ 1667 w 10000"/>
              <a:gd name="connsiteY64" fmla="*/ 1491 h 10000"/>
              <a:gd name="connsiteX65" fmla="*/ 1667 w 10000"/>
              <a:gd name="connsiteY65" fmla="*/ 691 h 10000"/>
              <a:gd name="connsiteX0" fmla="*/ 1667 w 10000"/>
              <a:gd name="connsiteY0" fmla="*/ 691 h 10000"/>
              <a:gd name="connsiteX1" fmla="*/ 3671 w 10000"/>
              <a:gd name="connsiteY1" fmla="*/ 73 h 10000"/>
              <a:gd name="connsiteX2" fmla="*/ 4589 w 10000"/>
              <a:gd name="connsiteY2" fmla="*/ 0 h 10000"/>
              <a:gd name="connsiteX3" fmla="*/ 5145 w 10000"/>
              <a:gd name="connsiteY3" fmla="*/ 18 h 10000"/>
              <a:gd name="connsiteX4" fmla="*/ 5338 w 10000"/>
              <a:gd name="connsiteY4" fmla="*/ 145 h 10000"/>
              <a:gd name="connsiteX5" fmla="*/ 5507 w 10000"/>
              <a:gd name="connsiteY5" fmla="*/ 309 h 10000"/>
              <a:gd name="connsiteX6" fmla="*/ 5531 w 10000"/>
              <a:gd name="connsiteY6" fmla="*/ 491 h 10000"/>
              <a:gd name="connsiteX7" fmla="*/ 5725 w 10000"/>
              <a:gd name="connsiteY7" fmla="*/ 545 h 10000"/>
              <a:gd name="connsiteX8" fmla="*/ 5966 w 10000"/>
              <a:gd name="connsiteY8" fmla="*/ 927 h 10000"/>
              <a:gd name="connsiteX9" fmla="*/ 5990 w 10000"/>
              <a:gd name="connsiteY9" fmla="*/ 1491 h 10000"/>
              <a:gd name="connsiteX10" fmla="*/ 6232 w 10000"/>
              <a:gd name="connsiteY10" fmla="*/ 1709 h 10000"/>
              <a:gd name="connsiteX11" fmla="*/ 6812 w 10000"/>
              <a:gd name="connsiteY11" fmla="*/ 1709 h 10000"/>
              <a:gd name="connsiteX12" fmla="*/ 7174 w 10000"/>
              <a:gd name="connsiteY12" fmla="*/ 2509 h 10000"/>
              <a:gd name="connsiteX13" fmla="*/ 7174 w 10000"/>
              <a:gd name="connsiteY13" fmla="*/ 3055 h 10000"/>
              <a:gd name="connsiteX14" fmla="*/ 7440 w 10000"/>
              <a:gd name="connsiteY14" fmla="*/ 3418 h 10000"/>
              <a:gd name="connsiteX15" fmla="*/ 7705 w 10000"/>
              <a:gd name="connsiteY15" fmla="*/ 3418 h 10000"/>
              <a:gd name="connsiteX16" fmla="*/ 8285 w 10000"/>
              <a:gd name="connsiteY16" fmla="*/ 3055 h 10000"/>
              <a:gd name="connsiteX17" fmla="*/ 8623 w 10000"/>
              <a:gd name="connsiteY17" fmla="*/ 3291 h 10000"/>
              <a:gd name="connsiteX18" fmla="*/ 8647 w 10000"/>
              <a:gd name="connsiteY18" fmla="*/ 3745 h 10000"/>
              <a:gd name="connsiteX19" fmla="*/ 9275 w 10000"/>
              <a:gd name="connsiteY19" fmla="*/ 4036 h 10000"/>
              <a:gd name="connsiteX20" fmla="*/ 9179 w 10000"/>
              <a:gd name="connsiteY20" fmla="*/ 4527 h 10000"/>
              <a:gd name="connsiteX21" fmla="*/ 9203 w 10000"/>
              <a:gd name="connsiteY21" fmla="*/ 4655 h 10000"/>
              <a:gd name="connsiteX22" fmla="*/ 9300 w 10000"/>
              <a:gd name="connsiteY22" fmla="*/ 4727 h 10000"/>
              <a:gd name="connsiteX23" fmla="*/ 9082 w 10000"/>
              <a:gd name="connsiteY23" fmla="*/ 4982 h 10000"/>
              <a:gd name="connsiteX24" fmla="*/ 9010 w 10000"/>
              <a:gd name="connsiteY24" fmla="*/ 5291 h 10000"/>
              <a:gd name="connsiteX25" fmla="*/ 9348 w 10000"/>
              <a:gd name="connsiteY25" fmla="*/ 5927 h 10000"/>
              <a:gd name="connsiteX26" fmla="*/ 9855 w 10000"/>
              <a:gd name="connsiteY26" fmla="*/ 6000 h 10000"/>
              <a:gd name="connsiteX27" fmla="*/ 10000 w 10000"/>
              <a:gd name="connsiteY27" fmla="*/ 6309 h 10000"/>
              <a:gd name="connsiteX28" fmla="*/ 9855 w 10000"/>
              <a:gd name="connsiteY28" fmla="*/ 6927 h 10000"/>
              <a:gd name="connsiteX29" fmla="*/ 9106 w 10000"/>
              <a:gd name="connsiteY29" fmla="*/ 7473 h 10000"/>
              <a:gd name="connsiteX30" fmla="*/ 9300 w 10000"/>
              <a:gd name="connsiteY30" fmla="*/ 8455 h 10000"/>
              <a:gd name="connsiteX31" fmla="*/ 9010 w 10000"/>
              <a:gd name="connsiteY31" fmla="*/ 8873 h 10000"/>
              <a:gd name="connsiteX32" fmla="*/ 9203 w 10000"/>
              <a:gd name="connsiteY32" fmla="*/ 9327 h 10000"/>
              <a:gd name="connsiteX33" fmla="*/ 8285 w 10000"/>
              <a:gd name="connsiteY33" fmla="*/ 9182 h 10000"/>
              <a:gd name="connsiteX34" fmla="*/ 7826 w 10000"/>
              <a:gd name="connsiteY34" fmla="*/ 9327 h 10000"/>
              <a:gd name="connsiteX35" fmla="*/ 7367 w 10000"/>
              <a:gd name="connsiteY35" fmla="*/ 9327 h 10000"/>
              <a:gd name="connsiteX36" fmla="*/ 6812 w 10000"/>
              <a:gd name="connsiteY36" fmla="*/ 9455 h 10000"/>
              <a:gd name="connsiteX37" fmla="*/ 6256 w 10000"/>
              <a:gd name="connsiteY37" fmla="*/ 9545 h 10000"/>
              <a:gd name="connsiteX38" fmla="*/ 5411 w 10000"/>
              <a:gd name="connsiteY38" fmla="*/ 10000 h 10000"/>
              <a:gd name="connsiteX39" fmla="*/ 5435 w 10000"/>
              <a:gd name="connsiteY39" fmla="*/ 9109 h 10000"/>
              <a:gd name="connsiteX40" fmla="*/ 5266 w 10000"/>
              <a:gd name="connsiteY40" fmla="*/ 8873 h 10000"/>
              <a:gd name="connsiteX41" fmla="*/ 4686 w 10000"/>
              <a:gd name="connsiteY41" fmla="*/ 8782 h 10000"/>
              <a:gd name="connsiteX42" fmla="*/ 4493 w 10000"/>
              <a:gd name="connsiteY42" fmla="*/ 8400 h 10000"/>
              <a:gd name="connsiteX43" fmla="*/ 4130 w 10000"/>
              <a:gd name="connsiteY43" fmla="*/ 8382 h 10000"/>
              <a:gd name="connsiteX44" fmla="*/ 3961 w 10000"/>
              <a:gd name="connsiteY44" fmla="*/ 8473 h 10000"/>
              <a:gd name="connsiteX45" fmla="*/ 3213 w 10000"/>
              <a:gd name="connsiteY45" fmla="*/ 8382 h 10000"/>
              <a:gd name="connsiteX46" fmla="*/ 2923 w 10000"/>
              <a:gd name="connsiteY46" fmla="*/ 8564 h 10000"/>
              <a:gd name="connsiteX47" fmla="*/ 3406 w 10000"/>
              <a:gd name="connsiteY47" fmla="*/ 8173 h 10000"/>
              <a:gd name="connsiteX48" fmla="*/ 2464 w 10000"/>
              <a:gd name="connsiteY48" fmla="*/ 9800 h 10000"/>
              <a:gd name="connsiteX49" fmla="*/ 2000 w 10000"/>
              <a:gd name="connsiteY49" fmla="*/ 7090 h 10000"/>
              <a:gd name="connsiteX50" fmla="*/ 0 w 10000"/>
              <a:gd name="connsiteY50" fmla="*/ 7527 h 10000"/>
              <a:gd name="connsiteX51" fmla="*/ 556 w 10000"/>
              <a:gd name="connsiteY51" fmla="*/ 7309 h 10000"/>
              <a:gd name="connsiteX52" fmla="*/ 1014 w 10000"/>
              <a:gd name="connsiteY52" fmla="*/ 7127 h 10000"/>
              <a:gd name="connsiteX53" fmla="*/ 1014 w 10000"/>
              <a:gd name="connsiteY53" fmla="*/ 6545 h 10000"/>
              <a:gd name="connsiteX54" fmla="*/ 1473 w 10000"/>
              <a:gd name="connsiteY54" fmla="*/ 6309 h 10000"/>
              <a:gd name="connsiteX55" fmla="*/ 1667 w 10000"/>
              <a:gd name="connsiteY55" fmla="*/ 5891 h 10000"/>
              <a:gd name="connsiteX56" fmla="*/ 2198 w 10000"/>
              <a:gd name="connsiteY56" fmla="*/ 5618 h 10000"/>
              <a:gd name="connsiteX57" fmla="*/ 2295 w 10000"/>
              <a:gd name="connsiteY57" fmla="*/ 5218 h 10000"/>
              <a:gd name="connsiteX58" fmla="*/ 2222 w 10000"/>
              <a:gd name="connsiteY58" fmla="*/ 4800 h 10000"/>
              <a:gd name="connsiteX59" fmla="*/ 2560 w 10000"/>
              <a:gd name="connsiteY59" fmla="*/ 4582 h 10000"/>
              <a:gd name="connsiteX60" fmla="*/ 2101 w 10000"/>
              <a:gd name="connsiteY60" fmla="*/ 3982 h 10000"/>
              <a:gd name="connsiteX61" fmla="*/ 2585 w 10000"/>
              <a:gd name="connsiteY61" fmla="*/ 3182 h 10000"/>
              <a:gd name="connsiteX62" fmla="*/ 2053 w 10000"/>
              <a:gd name="connsiteY62" fmla="*/ 2636 h 10000"/>
              <a:gd name="connsiteX63" fmla="*/ 2198 w 10000"/>
              <a:gd name="connsiteY63" fmla="*/ 2036 h 10000"/>
              <a:gd name="connsiteX64" fmla="*/ 1667 w 10000"/>
              <a:gd name="connsiteY64" fmla="*/ 1491 h 10000"/>
              <a:gd name="connsiteX65" fmla="*/ 1667 w 10000"/>
              <a:gd name="connsiteY65" fmla="*/ 691 h 10000"/>
              <a:gd name="connsiteX0" fmla="*/ 1667 w 10000"/>
              <a:gd name="connsiteY0" fmla="*/ 691 h 10000"/>
              <a:gd name="connsiteX1" fmla="*/ 3671 w 10000"/>
              <a:gd name="connsiteY1" fmla="*/ 73 h 10000"/>
              <a:gd name="connsiteX2" fmla="*/ 4589 w 10000"/>
              <a:gd name="connsiteY2" fmla="*/ 0 h 10000"/>
              <a:gd name="connsiteX3" fmla="*/ 5145 w 10000"/>
              <a:gd name="connsiteY3" fmla="*/ 18 h 10000"/>
              <a:gd name="connsiteX4" fmla="*/ 5338 w 10000"/>
              <a:gd name="connsiteY4" fmla="*/ 145 h 10000"/>
              <a:gd name="connsiteX5" fmla="*/ 5507 w 10000"/>
              <a:gd name="connsiteY5" fmla="*/ 309 h 10000"/>
              <a:gd name="connsiteX6" fmla="*/ 5531 w 10000"/>
              <a:gd name="connsiteY6" fmla="*/ 491 h 10000"/>
              <a:gd name="connsiteX7" fmla="*/ 5725 w 10000"/>
              <a:gd name="connsiteY7" fmla="*/ 545 h 10000"/>
              <a:gd name="connsiteX8" fmla="*/ 5966 w 10000"/>
              <a:gd name="connsiteY8" fmla="*/ 927 h 10000"/>
              <a:gd name="connsiteX9" fmla="*/ 5990 w 10000"/>
              <a:gd name="connsiteY9" fmla="*/ 1491 h 10000"/>
              <a:gd name="connsiteX10" fmla="*/ 6232 w 10000"/>
              <a:gd name="connsiteY10" fmla="*/ 1709 h 10000"/>
              <a:gd name="connsiteX11" fmla="*/ 6812 w 10000"/>
              <a:gd name="connsiteY11" fmla="*/ 1709 h 10000"/>
              <a:gd name="connsiteX12" fmla="*/ 7174 w 10000"/>
              <a:gd name="connsiteY12" fmla="*/ 2509 h 10000"/>
              <a:gd name="connsiteX13" fmla="*/ 7174 w 10000"/>
              <a:gd name="connsiteY13" fmla="*/ 3055 h 10000"/>
              <a:gd name="connsiteX14" fmla="*/ 7440 w 10000"/>
              <a:gd name="connsiteY14" fmla="*/ 3418 h 10000"/>
              <a:gd name="connsiteX15" fmla="*/ 7705 w 10000"/>
              <a:gd name="connsiteY15" fmla="*/ 3418 h 10000"/>
              <a:gd name="connsiteX16" fmla="*/ 8285 w 10000"/>
              <a:gd name="connsiteY16" fmla="*/ 3055 h 10000"/>
              <a:gd name="connsiteX17" fmla="*/ 8623 w 10000"/>
              <a:gd name="connsiteY17" fmla="*/ 3291 h 10000"/>
              <a:gd name="connsiteX18" fmla="*/ 8647 w 10000"/>
              <a:gd name="connsiteY18" fmla="*/ 3745 h 10000"/>
              <a:gd name="connsiteX19" fmla="*/ 9275 w 10000"/>
              <a:gd name="connsiteY19" fmla="*/ 4036 h 10000"/>
              <a:gd name="connsiteX20" fmla="*/ 9179 w 10000"/>
              <a:gd name="connsiteY20" fmla="*/ 4527 h 10000"/>
              <a:gd name="connsiteX21" fmla="*/ 9203 w 10000"/>
              <a:gd name="connsiteY21" fmla="*/ 4655 h 10000"/>
              <a:gd name="connsiteX22" fmla="*/ 9300 w 10000"/>
              <a:gd name="connsiteY22" fmla="*/ 4727 h 10000"/>
              <a:gd name="connsiteX23" fmla="*/ 9082 w 10000"/>
              <a:gd name="connsiteY23" fmla="*/ 4982 h 10000"/>
              <a:gd name="connsiteX24" fmla="*/ 9010 w 10000"/>
              <a:gd name="connsiteY24" fmla="*/ 5291 h 10000"/>
              <a:gd name="connsiteX25" fmla="*/ 9348 w 10000"/>
              <a:gd name="connsiteY25" fmla="*/ 5927 h 10000"/>
              <a:gd name="connsiteX26" fmla="*/ 9855 w 10000"/>
              <a:gd name="connsiteY26" fmla="*/ 6000 h 10000"/>
              <a:gd name="connsiteX27" fmla="*/ 10000 w 10000"/>
              <a:gd name="connsiteY27" fmla="*/ 6309 h 10000"/>
              <a:gd name="connsiteX28" fmla="*/ 9855 w 10000"/>
              <a:gd name="connsiteY28" fmla="*/ 6927 h 10000"/>
              <a:gd name="connsiteX29" fmla="*/ 9106 w 10000"/>
              <a:gd name="connsiteY29" fmla="*/ 7473 h 10000"/>
              <a:gd name="connsiteX30" fmla="*/ 9300 w 10000"/>
              <a:gd name="connsiteY30" fmla="*/ 8455 h 10000"/>
              <a:gd name="connsiteX31" fmla="*/ 9010 w 10000"/>
              <a:gd name="connsiteY31" fmla="*/ 8873 h 10000"/>
              <a:gd name="connsiteX32" fmla="*/ 9203 w 10000"/>
              <a:gd name="connsiteY32" fmla="*/ 9327 h 10000"/>
              <a:gd name="connsiteX33" fmla="*/ 8285 w 10000"/>
              <a:gd name="connsiteY33" fmla="*/ 9182 h 10000"/>
              <a:gd name="connsiteX34" fmla="*/ 7826 w 10000"/>
              <a:gd name="connsiteY34" fmla="*/ 9327 h 10000"/>
              <a:gd name="connsiteX35" fmla="*/ 7367 w 10000"/>
              <a:gd name="connsiteY35" fmla="*/ 9327 h 10000"/>
              <a:gd name="connsiteX36" fmla="*/ 6812 w 10000"/>
              <a:gd name="connsiteY36" fmla="*/ 9455 h 10000"/>
              <a:gd name="connsiteX37" fmla="*/ 6256 w 10000"/>
              <a:gd name="connsiteY37" fmla="*/ 9545 h 10000"/>
              <a:gd name="connsiteX38" fmla="*/ 5411 w 10000"/>
              <a:gd name="connsiteY38" fmla="*/ 10000 h 10000"/>
              <a:gd name="connsiteX39" fmla="*/ 5435 w 10000"/>
              <a:gd name="connsiteY39" fmla="*/ 9109 h 10000"/>
              <a:gd name="connsiteX40" fmla="*/ 5266 w 10000"/>
              <a:gd name="connsiteY40" fmla="*/ 8873 h 10000"/>
              <a:gd name="connsiteX41" fmla="*/ 4686 w 10000"/>
              <a:gd name="connsiteY41" fmla="*/ 8782 h 10000"/>
              <a:gd name="connsiteX42" fmla="*/ 4493 w 10000"/>
              <a:gd name="connsiteY42" fmla="*/ 8400 h 10000"/>
              <a:gd name="connsiteX43" fmla="*/ 4130 w 10000"/>
              <a:gd name="connsiteY43" fmla="*/ 8382 h 10000"/>
              <a:gd name="connsiteX44" fmla="*/ 3961 w 10000"/>
              <a:gd name="connsiteY44" fmla="*/ 8473 h 10000"/>
              <a:gd name="connsiteX45" fmla="*/ 3213 w 10000"/>
              <a:gd name="connsiteY45" fmla="*/ 8382 h 10000"/>
              <a:gd name="connsiteX46" fmla="*/ 2923 w 10000"/>
              <a:gd name="connsiteY46" fmla="*/ 8564 h 10000"/>
              <a:gd name="connsiteX47" fmla="*/ 3406 w 10000"/>
              <a:gd name="connsiteY47" fmla="*/ 8173 h 10000"/>
              <a:gd name="connsiteX48" fmla="*/ 3989 w 10000"/>
              <a:gd name="connsiteY48" fmla="*/ 7969 h 10000"/>
              <a:gd name="connsiteX49" fmla="*/ 2000 w 10000"/>
              <a:gd name="connsiteY49" fmla="*/ 7090 h 10000"/>
              <a:gd name="connsiteX50" fmla="*/ 0 w 10000"/>
              <a:gd name="connsiteY50" fmla="*/ 7527 h 10000"/>
              <a:gd name="connsiteX51" fmla="*/ 556 w 10000"/>
              <a:gd name="connsiteY51" fmla="*/ 7309 h 10000"/>
              <a:gd name="connsiteX52" fmla="*/ 1014 w 10000"/>
              <a:gd name="connsiteY52" fmla="*/ 7127 h 10000"/>
              <a:gd name="connsiteX53" fmla="*/ 1014 w 10000"/>
              <a:gd name="connsiteY53" fmla="*/ 6545 h 10000"/>
              <a:gd name="connsiteX54" fmla="*/ 1473 w 10000"/>
              <a:gd name="connsiteY54" fmla="*/ 6309 h 10000"/>
              <a:gd name="connsiteX55" fmla="*/ 1667 w 10000"/>
              <a:gd name="connsiteY55" fmla="*/ 5891 h 10000"/>
              <a:gd name="connsiteX56" fmla="*/ 2198 w 10000"/>
              <a:gd name="connsiteY56" fmla="*/ 5618 h 10000"/>
              <a:gd name="connsiteX57" fmla="*/ 2295 w 10000"/>
              <a:gd name="connsiteY57" fmla="*/ 5218 h 10000"/>
              <a:gd name="connsiteX58" fmla="*/ 2222 w 10000"/>
              <a:gd name="connsiteY58" fmla="*/ 4800 h 10000"/>
              <a:gd name="connsiteX59" fmla="*/ 2560 w 10000"/>
              <a:gd name="connsiteY59" fmla="*/ 4582 h 10000"/>
              <a:gd name="connsiteX60" fmla="*/ 2101 w 10000"/>
              <a:gd name="connsiteY60" fmla="*/ 3982 h 10000"/>
              <a:gd name="connsiteX61" fmla="*/ 2585 w 10000"/>
              <a:gd name="connsiteY61" fmla="*/ 3182 h 10000"/>
              <a:gd name="connsiteX62" fmla="*/ 2053 w 10000"/>
              <a:gd name="connsiteY62" fmla="*/ 2636 h 10000"/>
              <a:gd name="connsiteX63" fmla="*/ 2198 w 10000"/>
              <a:gd name="connsiteY63" fmla="*/ 2036 h 10000"/>
              <a:gd name="connsiteX64" fmla="*/ 1667 w 10000"/>
              <a:gd name="connsiteY64" fmla="*/ 1491 h 10000"/>
              <a:gd name="connsiteX65" fmla="*/ 1667 w 10000"/>
              <a:gd name="connsiteY65" fmla="*/ 691 h 10000"/>
              <a:gd name="connsiteX0" fmla="*/ 1111 w 9444"/>
              <a:gd name="connsiteY0" fmla="*/ 691 h 10000"/>
              <a:gd name="connsiteX1" fmla="*/ 3115 w 9444"/>
              <a:gd name="connsiteY1" fmla="*/ 73 h 10000"/>
              <a:gd name="connsiteX2" fmla="*/ 4033 w 9444"/>
              <a:gd name="connsiteY2" fmla="*/ 0 h 10000"/>
              <a:gd name="connsiteX3" fmla="*/ 4589 w 9444"/>
              <a:gd name="connsiteY3" fmla="*/ 18 h 10000"/>
              <a:gd name="connsiteX4" fmla="*/ 4782 w 9444"/>
              <a:gd name="connsiteY4" fmla="*/ 145 h 10000"/>
              <a:gd name="connsiteX5" fmla="*/ 4951 w 9444"/>
              <a:gd name="connsiteY5" fmla="*/ 309 h 10000"/>
              <a:gd name="connsiteX6" fmla="*/ 4975 w 9444"/>
              <a:gd name="connsiteY6" fmla="*/ 491 h 10000"/>
              <a:gd name="connsiteX7" fmla="*/ 5169 w 9444"/>
              <a:gd name="connsiteY7" fmla="*/ 545 h 10000"/>
              <a:gd name="connsiteX8" fmla="*/ 5410 w 9444"/>
              <a:gd name="connsiteY8" fmla="*/ 927 h 10000"/>
              <a:gd name="connsiteX9" fmla="*/ 5434 w 9444"/>
              <a:gd name="connsiteY9" fmla="*/ 1491 h 10000"/>
              <a:gd name="connsiteX10" fmla="*/ 5676 w 9444"/>
              <a:gd name="connsiteY10" fmla="*/ 1709 h 10000"/>
              <a:gd name="connsiteX11" fmla="*/ 6256 w 9444"/>
              <a:gd name="connsiteY11" fmla="*/ 1709 h 10000"/>
              <a:gd name="connsiteX12" fmla="*/ 6618 w 9444"/>
              <a:gd name="connsiteY12" fmla="*/ 2509 h 10000"/>
              <a:gd name="connsiteX13" fmla="*/ 6618 w 9444"/>
              <a:gd name="connsiteY13" fmla="*/ 3055 h 10000"/>
              <a:gd name="connsiteX14" fmla="*/ 6884 w 9444"/>
              <a:gd name="connsiteY14" fmla="*/ 3418 h 10000"/>
              <a:gd name="connsiteX15" fmla="*/ 7149 w 9444"/>
              <a:gd name="connsiteY15" fmla="*/ 3418 h 10000"/>
              <a:gd name="connsiteX16" fmla="*/ 7729 w 9444"/>
              <a:gd name="connsiteY16" fmla="*/ 3055 h 10000"/>
              <a:gd name="connsiteX17" fmla="*/ 8067 w 9444"/>
              <a:gd name="connsiteY17" fmla="*/ 3291 h 10000"/>
              <a:gd name="connsiteX18" fmla="*/ 8091 w 9444"/>
              <a:gd name="connsiteY18" fmla="*/ 3745 h 10000"/>
              <a:gd name="connsiteX19" fmla="*/ 8719 w 9444"/>
              <a:gd name="connsiteY19" fmla="*/ 4036 h 10000"/>
              <a:gd name="connsiteX20" fmla="*/ 8623 w 9444"/>
              <a:gd name="connsiteY20" fmla="*/ 4527 h 10000"/>
              <a:gd name="connsiteX21" fmla="*/ 8647 w 9444"/>
              <a:gd name="connsiteY21" fmla="*/ 4655 h 10000"/>
              <a:gd name="connsiteX22" fmla="*/ 8744 w 9444"/>
              <a:gd name="connsiteY22" fmla="*/ 4727 h 10000"/>
              <a:gd name="connsiteX23" fmla="*/ 8526 w 9444"/>
              <a:gd name="connsiteY23" fmla="*/ 4982 h 10000"/>
              <a:gd name="connsiteX24" fmla="*/ 8454 w 9444"/>
              <a:gd name="connsiteY24" fmla="*/ 5291 h 10000"/>
              <a:gd name="connsiteX25" fmla="*/ 8792 w 9444"/>
              <a:gd name="connsiteY25" fmla="*/ 5927 h 10000"/>
              <a:gd name="connsiteX26" fmla="*/ 9299 w 9444"/>
              <a:gd name="connsiteY26" fmla="*/ 6000 h 10000"/>
              <a:gd name="connsiteX27" fmla="*/ 9444 w 9444"/>
              <a:gd name="connsiteY27" fmla="*/ 6309 h 10000"/>
              <a:gd name="connsiteX28" fmla="*/ 9299 w 9444"/>
              <a:gd name="connsiteY28" fmla="*/ 6927 h 10000"/>
              <a:gd name="connsiteX29" fmla="*/ 8550 w 9444"/>
              <a:gd name="connsiteY29" fmla="*/ 7473 h 10000"/>
              <a:gd name="connsiteX30" fmla="*/ 8744 w 9444"/>
              <a:gd name="connsiteY30" fmla="*/ 8455 h 10000"/>
              <a:gd name="connsiteX31" fmla="*/ 8454 w 9444"/>
              <a:gd name="connsiteY31" fmla="*/ 8873 h 10000"/>
              <a:gd name="connsiteX32" fmla="*/ 8647 w 9444"/>
              <a:gd name="connsiteY32" fmla="*/ 9327 h 10000"/>
              <a:gd name="connsiteX33" fmla="*/ 7729 w 9444"/>
              <a:gd name="connsiteY33" fmla="*/ 9182 h 10000"/>
              <a:gd name="connsiteX34" fmla="*/ 7270 w 9444"/>
              <a:gd name="connsiteY34" fmla="*/ 9327 h 10000"/>
              <a:gd name="connsiteX35" fmla="*/ 6811 w 9444"/>
              <a:gd name="connsiteY35" fmla="*/ 9327 h 10000"/>
              <a:gd name="connsiteX36" fmla="*/ 6256 w 9444"/>
              <a:gd name="connsiteY36" fmla="*/ 9455 h 10000"/>
              <a:gd name="connsiteX37" fmla="*/ 5700 w 9444"/>
              <a:gd name="connsiteY37" fmla="*/ 9545 h 10000"/>
              <a:gd name="connsiteX38" fmla="*/ 4855 w 9444"/>
              <a:gd name="connsiteY38" fmla="*/ 10000 h 10000"/>
              <a:gd name="connsiteX39" fmla="*/ 4879 w 9444"/>
              <a:gd name="connsiteY39" fmla="*/ 9109 h 10000"/>
              <a:gd name="connsiteX40" fmla="*/ 4710 w 9444"/>
              <a:gd name="connsiteY40" fmla="*/ 8873 h 10000"/>
              <a:gd name="connsiteX41" fmla="*/ 4130 w 9444"/>
              <a:gd name="connsiteY41" fmla="*/ 8782 h 10000"/>
              <a:gd name="connsiteX42" fmla="*/ 3937 w 9444"/>
              <a:gd name="connsiteY42" fmla="*/ 8400 h 10000"/>
              <a:gd name="connsiteX43" fmla="*/ 3574 w 9444"/>
              <a:gd name="connsiteY43" fmla="*/ 8382 h 10000"/>
              <a:gd name="connsiteX44" fmla="*/ 3405 w 9444"/>
              <a:gd name="connsiteY44" fmla="*/ 8473 h 10000"/>
              <a:gd name="connsiteX45" fmla="*/ 2657 w 9444"/>
              <a:gd name="connsiteY45" fmla="*/ 8382 h 10000"/>
              <a:gd name="connsiteX46" fmla="*/ 2367 w 9444"/>
              <a:gd name="connsiteY46" fmla="*/ 8564 h 10000"/>
              <a:gd name="connsiteX47" fmla="*/ 2850 w 9444"/>
              <a:gd name="connsiteY47" fmla="*/ 8173 h 10000"/>
              <a:gd name="connsiteX48" fmla="*/ 3433 w 9444"/>
              <a:gd name="connsiteY48" fmla="*/ 7969 h 10000"/>
              <a:gd name="connsiteX49" fmla="*/ 1444 w 9444"/>
              <a:gd name="connsiteY49" fmla="*/ 7090 h 10000"/>
              <a:gd name="connsiteX50" fmla="*/ 1238 w 9444"/>
              <a:gd name="connsiteY50" fmla="*/ 6861 h 10000"/>
              <a:gd name="connsiteX51" fmla="*/ 0 w 9444"/>
              <a:gd name="connsiteY51" fmla="*/ 7309 h 10000"/>
              <a:gd name="connsiteX52" fmla="*/ 458 w 9444"/>
              <a:gd name="connsiteY52" fmla="*/ 7127 h 10000"/>
              <a:gd name="connsiteX53" fmla="*/ 458 w 9444"/>
              <a:gd name="connsiteY53" fmla="*/ 6545 h 10000"/>
              <a:gd name="connsiteX54" fmla="*/ 917 w 9444"/>
              <a:gd name="connsiteY54" fmla="*/ 6309 h 10000"/>
              <a:gd name="connsiteX55" fmla="*/ 1111 w 9444"/>
              <a:gd name="connsiteY55" fmla="*/ 5891 h 10000"/>
              <a:gd name="connsiteX56" fmla="*/ 1642 w 9444"/>
              <a:gd name="connsiteY56" fmla="*/ 5618 h 10000"/>
              <a:gd name="connsiteX57" fmla="*/ 1739 w 9444"/>
              <a:gd name="connsiteY57" fmla="*/ 5218 h 10000"/>
              <a:gd name="connsiteX58" fmla="*/ 1666 w 9444"/>
              <a:gd name="connsiteY58" fmla="*/ 4800 h 10000"/>
              <a:gd name="connsiteX59" fmla="*/ 2004 w 9444"/>
              <a:gd name="connsiteY59" fmla="*/ 4582 h 10000"/>
              <a:gd name="connsiteX60" fmla="*/ 1545 w 9444"/>
              <a:gd name="connsiteY60" fmla="*/ 3982 h 10000"/>
              <a:gd name="connsiteX61" fmla="*/ 2029 w 9444"/>
              <a:gd name="connsiteY61" fmla="*/ 3182 h 10000"/>
              <a:gd name="connsiteX62" fmla="*/ 1497 w 9444"/>
              <a:gd name="connsiteY62" fmla="*/ 2636 h 10000"/>
              <a:gd name="connsiteX63" fmla="*/ 1642 w 9444"/>
              <a:gd name="connsiteY63" fmla="*/ 2036 h 10000"/>
              <a:gd name="connsiteX64" fmla="*/ 1111 w 9444"/>
              <a:gd name="connsiteY64" fmla="*/ 1491 h 10000"/>
              <a:gd name="connsiteX65" fmla="*/ 1111 w 9444"/>
              <a:gd name="connsiteY65" fmla="*/ 691 h 10000"/>
              <a:gd name="connsiteX0" fmla="*/ 691 w 9515"/>
              <a:gd name="connsiteY0" fmla="*/ 691 h 10000"/>
              <a:gd name="connsiteX1" fmla="*/ 2813 w 9515"/>
              <a:gd name="connsiteY1" fmla="*/ 73 h 10000"/>
              <a:gd name="connsiteX2" fmla="*/ 3785 w 9515"/>
              <a:gd name="connsiteY2" fmla="*/ 0 h 10000"/>
              <a:gd name="connsiteX3" fmla="*/ 4374 w 9515"/>
              <a:gd name="connsiteY3" fmla="*/ 18 h 10000"/>
              <a:gd name="connsiteX4" fmla="*/ 4579 w 9515"/>
              <a:gd name="connsiteY4" fmla="*/ 145 h 10000"/>
              <a:gd name="connsiteX5" fmla="*/ 4757 w 9515"/>
              <a:gd name="connsiteY5" fmla="*/ 309 h 10000"/>
              <a:gd name="connsiteX6" fmla="*/ 4783 w 9515"/>
              <a:gd name="connsiteY6" fmla="*/ 491 h 10000"/>
              <a:gd name="connsiteX7" fmla="*/ 4988 w 9515"/>
              <a:gd name="connsiteY7" fmla="*/ 545 h 10000"/>
              <a:gd name="connsiteX8" fmla="*/ 5244 w 9515"/>
              <a:gd name="connsiteY8" fmla="*/ 927 h 10000"/>
              <a:gd name="connsiteX9" fmla="*/ 5269 w 9515"/>
              <a:gd name="connsiteY9" fmla="*/ 1491 h 10000"/>
              <a:gd name="connsiteX10" fmla="*/ 5525 w 9515"/>
              <a:gd name="connsiteY10" fmla="*/ 1709 h 10000"/>
              <a:gd name="connsiteX11" fmla="*/ 6139 w 9515"/>
              <a:gd name="connsiteY11" fmla="*/ 1709 h 10000"/>
              <a:gd name="connsiteX12" fmla="*/ 6523 w 9515"/>
              <a:gd name="connsiteY12" fmla="*/ 2509 h 10000"/>
              <a:gd name="connsiteX13" fmla="*/ 6523 w 9515"/>
              <a:gd name="connsiteY13" fmla="*/ 3055 h 10000"/>
              <a:gd name="connsiteX14" fmla="*/ 6804 w 9515"/>
              <a:gd name="connsiteY14" fmla="*/ 3418 h 10000"/>
              <a:gd name="connsiteX15" fmla="*/ 7085 w 9515"/>
              <a:gd name="connsiteY15" fmla="*/ 3418 h 10000"/>
              <a:gd name="connsiteX16" fmla="*/ 7699 w 9515"/>
              <a:gd name="connsiteY16" fmla="*/ 3055 h 10000"/>
              <a:gd name="connsiteX17" fmla="*/ 8057 w 9515"/>
              <a:gd name="connsiteY17" fmla="*/ 3291 h 10000"/>
              <a:gd name="connsiteX18" fmla="*/ 8082 w 9515"/>
              <a:gd name="connsiteY18" fmla="*/ 3745 h 10000"/>
              <a:gd name="connsiteX19" fmla="*/ 8747 w 9515"/>
              <a:gd name="connsiteY19" fmla="*/ 4036 h 10000"/>
              <a:gd name="connsiteX20" fmla="*/ 8646 w 9515"/>
              <a:gd name="connsiteY20" fmla="*/ 4527 h 10000"/>
              <a:gd name="connsiteX21" fmla="*/ 8671 w 9515"/>
              <a:gd name="connsiteY21" fmla="*/ 4655 h 10000"/>
              <a:gd name="connsiteX22" fmla="*/ 8774 w 9515"/>
              <a:gd name="connsiteY22" fmla="*/ 4727 h 10000"/>
              <a:gd name="connsiteX23" fmla="*/ 8543 w 9515"/>
              <a:gd name="connsiteY23" fmla="*/ 4982 h 10000"/>
              <a:gd name="connsiteX24" fmla="*/ 8467 w 9515"/>
              <a:gd name="connsiteY24" fmla="*/ 5291 h 10000"/>
              <a:gd name="connsiteX25" fmla="*/ 8825 w 9515"/>
              <a:gd name="connsiteY25" fmla="*/ 5927 h 10000"/>
              <a:gd name="connsiteX26" fmla="*/ 9361 w 9515"/>
              <a:gd name="connsiteY26" fmla="*/ 6000 h 10000"/>
              <a:gd name="connsiteX27" fmla="*/ 9515 w 9515"/>
              <a:gd name="connsiteY27" fmla="*/ 6309 h 10000"/>
              <a:gd name="connsiteX28" fmla="*/ 9361 w 9515"/>
              <a:gd name="connsiteY28" fmla="*/ 6927 h 10000"/>
              <a:gd name="connsiteX29" fmla="*/ 8568 w 9515"/>
              <a:gd name="connsiteY29" fmla="*/ 7473 h 10000"/>
              <a:gd name="connsiteX30" fmla="*/ 8774 w 9515"/>
              <a:gd name="connsiteY30" fmla="*/ 8455 h 10000"/>
              <a:gd name="connsiteX31" fmla="*/ 8467 w 9515"/>
              <a:gd name="connsiteY31" fmla="*/ 8873 h 10000"/>
              <a:gd name="connsiteX32" fmla="*/ 8671 w 9515"/>
              <a:gd name="connsiteY32" fmla="*/ 9327 h 10000"/>
              <a:gd name="connsiteX33" fmla="*/ 7699 w 9515"/>
              <a:gd name="connsiteY33" fmla="*/ 9182 h 10000"/>
              <a:gd name="connsiteX34" fmla="*/ 7213 w 9515"/>
              <a:gd name="connsiteY34" fmla="*/ 9327 h 10000"/>
              <a:gd name="connsiteX35" fmla="*/ 6727 w 9515"/>
              <a:gd name="connsiteY35" fmla="*/ 9327 h 10000"/>
              <a:gd name="connsiteX36" fmla="*/ 6139 w 9515"/>
              <a:gd name="connsiteY36" fmla="*/ 9455 h 10000"/>
              <a:gd name="connsiteX37" fmla="*/ 5551 w 9515"/>
              <a:gd name="connsiteY37" fmla="*/ 9545 h 10000"/>
              <a:gd name="connsiteX38" fmla="*/ 4656 w 9515"/>
              <a:gd name="connsiteY38" fmla="*/ 10000 h 10000"/>
              <a:gd name="connsiteX39" fmla="*/ 4681 w 9515"/>
              <a:gd name="connsiteY39" fmla="*/ 9109 h 10000"/>
              <a:gd name="connsiteX40" fmla="*/ 4502 w 9515"/>
              <a:gd name="connsiteY40" fmla="*/ 8873 h 10000"/>
              <a:gd name="connsiteX41" fmla="*/ 3888 w 9515"/>
              <a:gd name="connsiteY41" fmla="*/ 8782 h 10000"/>
              <a:gd name="connsiteX42" fmla="*/ 3684 w 9515"/>
              <a:gd name="connsiteY42" fmla="*/ 8400 h 10000"/>
              <a:gd name="connsiteX43" fmla="*/ 3299 w 9515"/>
              <a:gd name="connsiteY43" fmla="*/ 8382 h 10000"/>
              <a:gd name="connsiteX44" fmla="*/ 3120 w 9515"/>
              <a:gd name="connsiteY44" fmla="*/ 8473 h 10000"/>
              <a:gd name="connsiteX45" fmla="*/ 2328 w 9515"/>
              <a:gd name="connsiteY45" fmla="*/ 8382 h 10000"/>
              <a:gd name="connsiteX46" fmla="*/ 2021 w 9515"/>
              <a:gd name="connsiteY46" fmla="*/ 8564 h 10000"/>
              <a:gd name="connsiteX47" fmla="*/ 2533 w 9515"/>
              <a:gd name="connsiteY47" fmla="*/ 8173 h 10000"/>
              <a:gd name="connsiteX48" fmla="*/ 3150 w 9515"/>
              <a:gd name="connsiteY48" fmla="*/ 7969 h 10000"/>
              <a:gd name="connsiteX49" fmla="*/ 1044 w 9515"/>
              <a:gd name="connsiteY49" fmla="*/ 7090 h 10000"/>
              <a:gd name="connsiteX50" fmla="*/ 826 w 9515"/>
              <a:gd name="connsiteY50" fmla="*/ 6861 h 10000"/>
              <a:gd name="connsiteX51" fmla="*/ 1034 w 9515"/>
              <a:gd name="connsiteY51" fmla="*/ 6726 h 10000"/>
              <a:gd name="connsiteX52" fmla="*/ 0 w 9515"/>
              <a:gd name="connsiteY52" fmla="*/ 7127 h 10000"/>
              <a:gd name="connsiteX53" fmla="*/ 0 w 9515"/>
              <a:gd name="connsiteY53" fmla="*/ 6545 h 10000"/>
              <a:gd name="connsiteX54" fmla="*/ 486 w 9515"/>
              <a:gd name="connsiteY54" fmla="*/ 6309 h 10000"/>
              <a:gd name="connsiteX55" fmla="*/ 691 w 9515"/>
              <a:gd name="connsiteY55" fmla="*/ 5891 h 10000"/>
              <a:gd name="connsiteX56" fmla="*/ 1254 w 9515"/>
              <a:gd name="connsiteY56" fmla="*/ 5618 h 10000"/>
              <a:gd name="connsiteX57" fmla="*/ 1356 w 9515"/>
              <a:gd name="connsiteY57" fmla="*/ 5218 h 10000"/>
              <a:gd name="connsiteX58" fmla="*/ 1279 w 9515"/>
              <a:gd name="connsiteY58" fmla="*/ 4800 h 10000"/>
              <a:gd name="connsiteX59" fmla="*/ 1637 w 9515"/>
              <a:gd name="connsiteY59" fmla="*/ 4582 h 10000"/>
              <a:gd name="connsiteX60" fmla="*/ 1151 w 9515"/>
              <a:gd name="connsiteY60" fmla="*/ 3982 h 10000"/>
              <a:gd name="connsiteX61" fmla="*/ 1663 w 9515"/>
              <a:gd name="connsiteY61" fmla="*/ 3182 h 10000"/>
              <a:gd name="connsiteX62" fmla="*/ 1100 w 9515"/>
              <a:gd name="connsiteY62" fmla="*/ 2636 h 10000"/>
              <a:gd name="connsiteX63" fmla="*/ 1254 w 9515"/>
              <a:gd name="connsiteY63" fmla="*/ 2036 h 10000"/>
              <a:gd name="connsiteX64" fmla="*/ 691 w 9515"/>
              <a:gd name="connsiteY64" fmla="*/ 1491 h 10000"/>
              <a:gd name="connsiteX65" fmla="*/ 691 w 9515"/>
              <a:gd name="connsiteY65" fmla="*/ 691 h 10000"/>
              <a:gd name="connsiteX0" fmla="*/ 726 w 10000"/>
              <a:gd name="connsiteY0" fmla="*/ 691 h 10000"/>
              <a:gd name="connsiteX1" fmla="*/ 2956 w 10000"/>
              <a:gd name="connsiteY1" fmla="*/ 73 h 10000"/>
              <a:gd name="connsiteX2" fmla="*/ 3978 w 10000"/>
              <a:gd name="connsiteY2" fmla="*/ 0 h 10000"/>
              <a:gd name="connsiteX3" fmla="*/ 4597 w 10000"/>
              <a:gd name="connsiteY3" fmla="*/ 18 h 10000"/>
              <a:gd name="connsiteX4" fmla="*/ 4812 w 10000"/>
              <a:gd name="connsiteY4" fmla="*/ 145 h 10000"/>
              <a:gd name="connsiteX5" fmla="*/ 4999 w 10000"/>
              <a:gd name="connsiteY5" fmla="*/ 309 h 10000"/>
              <a:gd name="connsiteX6" fmla="*/ 5027 w 10000"/>
              <a:gd name="connsiteY6" fmla="*/ 491 h 10000"/>
              <a:gd name="connsiteX7" fmla="*/ 5242 w 10000"/>
              <a:gd name="connsiteY7" fmla="*/ 545 h 10000"/>
              <a:gd name="connsiteX8" fmla="*/ 5511 w 10000"/>
              <a:gd name="connsiteY8" fmla="*/ 927 h 10000"/>
              <a:gd name="connsiteX9" fmla="*/ 5538 w 10000"/>
              <a:gd name="connsiteY9" fmla="*/ 1491 h 10000"/>
              <a:gd name="connsiteX10" fmla="*/ 5807 w 10000"/>
              <a:gd name="connsiteY10" fmla="*/ 1709 h 10000"/>
              <a:gd name="connsiteX11" fmla="*/ 6452 w 10000"/>
              <a:gd name="connsiteY11" fmla="*/ 1709 h 10000"/>
              <a:gd name="connsiteX12" fmla="*/ 6855 w 10000"/>
              <a:gd name="connsiteY12" fmla="*/ 2509 h 10000"/>
              <a:gd name="connsiteX13" fmla="*/ 6855 w 10000"/>
              <a:gd name="connsiteY13" fmla="*/ 3055 h 10000"/>
              <a:gd name="connsiteX14" fmla="*/ 7151 w 10000"/>
              <a:gd name="connsiteY14" fmla="*/ 3418 h 10000"/>
              <a:gd name="connsiteX15" fmla="*/ 7446 w 10000"/>
              <a:gd name="connsiteY15" fmla="*/ 3418 h 10000"/>
              <a:gd name="connsiteX16" fmla="*/ 8091 w 10000"/>
              <a:gd name="connsiteY16" fmla="*/ 3055 h 10000"/>
              <a:gd name="connsiteX17" fmla="*/ 8468 w 10000"/>
              <a:gd name="connsiteY17" fmla="*/ 3291 h 10000"/>
              <a:gd name="connsiteX18" fmla="*/ 8494 w 10000"/>
              <a:gd name="connsiteY18" fmla="*/ 3745 h 10000"/>
              <a:gd name="connsiteX19" fmla="*/ 9193 w 10000"/>
              <a:gd name="connsiteY19" fmla="*/ 4036 h 10000"/>
              <a:gd name="connsiteX20" fmla="*/ 9087 w 10000"/>
              <a:gd name="connsiteY20" fmla="*/ 4527 h 10000"/>
              <a:gd name="connsiteX21" fmla="*/ 9113 w 10000"/>
              <a:gd name="connsiteY21" fmla="*/ 4655 h 10000"/>
              <a:gd name="connsiteX22" fmla="*/ 9221 w 10000"/>
              <a:gd name="connsiteY22" fmla="*/ 4727 h 10000"/>
              <a:gd name="connsiteX23" fmla="*/ 8978 w 10000"/>
              <a:gd name="connsiteY23" fmla="*/ 4982 h 10000"/>
              <a:gd name="connsiteX24" fmla="*/ 8899 w 10000"/>
              <a:gd name="connsiteY24" fmla="*/ 5291 h 10000"/>
              <a:gd name="connsiteX25" fmla="*/ 9275 w 10000"/>
              <a:gd name="connsiteY25" fmla="*/ 5927 h 10000"/>
              <a:gd name="connsiteX26" fmla="*/ 9838 w 10000"/>
              <a:gd name="connsiteY26" fmla="*/ 6000 h 10000"/>
              <a:gd name="connsiteX27" fmla="*/ 10000 w 10000"/>
              <a:gd name="connsiteY27" fmla="*/ 6309 h 10000"/>
              <a:gd name="connsiteX28" fmla="*/ 9838 w 10000"/>
              <a:gd name="connsiteY28" fmla="*/ 6927 h 10000"/>
              <a:gd name="connsiteX29" fmla="*/ 9005 w 10000"/>
              <a:gd name="connsiteY29" fmla="*/ 7473 h 10000"/>
              <a:gd name="connsiteX30" fmla="*/ 9221 w 10000"/>
              <a:gd name="connsiteY30" fmla="*/ 8455 h 10000"/>
              <a:gd name="connsiteX31" fmla="*/ 8899 w 10000"/>
              <a:gd name="connsiteY31" fmla="*/ 8873 h 10000"/>
              <a:gd name="connsiteX32" fmla="*/ 9113 w 10000"/>
              <a:gd name="connsiteY32" fmla="*/ 9327 h 10000"/>
              <a:gd name="connsiteX33" fmla="*/ 8091 w 10000"/>
              <a:gd name="connsiteY33" fmla="*/ 9182 h 10000"/>
              <a:gd name="connsiteX34" fmla="*/ 7581 w 10000"/>
              <a:gd name="connsiteY34" fmla="*/ 9327 h 10000"/>
              <a:gd name="connsiteX35" fmla="*/ 7070 w 10000"/>
              <a:gd name="connsiteY35" fmla="*/ 9327 h 10000"/>
              <a:gd name="connsiteX36" fmla="*/ 6452 w 10000"/>
              <a:gd name="connsiteY36" fmla="*/ 9455 h 10000"/>
              <a:gd name="connsiteX37" fmla="*/ 5834 w 10000"/>
              <a:gd name="connsiteY37" fmla="*/ 9545 h 10000"/>
              <a:gd name="connsiteX38" fmla="*/ 4893 w 10000"/>
              <a:gd name="connsiteY38" fmla="*/ 10000 h 10000"/>
              <a:gd name="connsiteX39" fmla="*/ 4920 w 10000"/>
              <a:gd name="connsiteY39" fmla="*/ 9109 h 10000"/>
              <a:gd name="connsiteX40" fmla="*/ 4731 w 10000"/>
              <a:gd name="connsiteY40" fmla="*/ 8873 h 10000"/>
              <a:gd name="connsiteX41" fmla="*/ 4086 w 10000"/>
              <a:gd name="connsiteY41" fmla="*/ 8782 h 10000"/>
              <a:gd name="connsiteX42" fmla="*/ 3872 w 10000"/>
              <a:gd name="connsiteY42" fmla="*/ 8400 h 10000"/>
              <a:gd name="connsiteX43" fmla="*/ 3467 w 10000"/>
              <a:gd name="connsiteY43" fmla="*/ 8382 h 10000"/>
              <a:gd name="connsiteX44" fmla="*/ 3279 w 10000"/>
              <a:gd name="connsiteY44" fmla="*/ 8473 h 10000"/>
              <a:gd name="connsiteX45" fmla="*/ 2447 w 10000"/>
              <a:gd name="connsiteY45" fmla="*/ 8382 h 10000"/>
              <a:gd name="connsiteX46" fmla="*/ 2124 w 10000"/>
              <a:gd name="connsiteY46" fmla="*/ 8564 h 10000"/>
              <a:gd name="connsiteX47" fmla="*/ 2662 w 10000"/>
              <a:gd name="connsiteY47" fmla="*/ 8173 h 10000"/>
              <a:gd name="connsiteX48" fmla="*/ 3311 w 10000"/>
              <a:gd name="connsiteY48" fmla="*/ 7969 h 10000"/>
              <a:gd name="connsiteX49" fmla="*/ 1097 w 10000"/>
              <a:gd name="connsiteY49" fmla="*/ 7090 h 10000"/>
              <a:gd name="connsiteX50" fmla="*/ 868 w 10000"/>
              <a:gd name="connsiteY50" fmla="*/ 6861 h 10000"/>
              <a:gd name="connsiteX51" fmla="*/ 1087 w 10000"/>
              <a:gd name="connsiteY51" fmla="*/ 6726 h 10000"/>
              <a:gd name="connsiteX52" fmla="*/ 1497 w 10000"/>
              <a:gd name="connsiteY52" fmla="*/ 6877 h 10000"/>
              <a:gd name="connsiteX53" fmla="*/ 0 w 10000"/>
              <a:gd name="connsiteY53" fmla="*/ 6545 h 10000"/>
              <a:gd name="connsiteX54" fmla="*/ 511 w 10000"/>
              <a:gd name="connsiteY54" fmla="*/ 6309 h 10000"/>
              <a:gd name="connsiteX55" fmla="*/ 726 w 10000"/>
              <a:gd name="connsiteY55" fmla="*/ 5891 h 10000"/>
              <a:gd name="connsiteX56" fmla="*/ 1318 w 10000"/>
              <a:gd name="connsiteY56" fmla="*/ 5618 h 10000"/>
              <a:gd name="connsiteX57" fmla="*/ 1425 w 10000"/>
              <a:gd name="connsiteY57" fmla="*/ 5218 h 10000"/>
              <a:gd name="connsiteX58" fmla="*/ 1344 w 10000"/>
              <a:gd name="connsiteY58" fmla="*/ 4800 h 10000"/>
              <a:gd name="connsiteX59" fmla="*/ 1720 w 10000"/>
              <a:gd name="connsiteY59" fmla="*/ 4582 h 10000"/>
              <a:gd name="connsiteX60" fmla="*/ 1210 w 10000"/>
              <a:gd name="connsiteY60" fmla="*/ 3982 h 10000"/>
              <a:gd name="connsiteX61" fmla="*/ 1748 w 10000"/>
              <a:gd name="connsiteY61" fmla="*/ 3182 h 10000"/>
              <a:gd name="connsiteX62" fmla="*/ 1156 w 10000"/>
              <a:gd name="connsiteY62" fmla="*/ 2636 h 10000"/>
              <a:gd name="connsiteX63" fmla="*/ 1318 w 10000"/>
              <a:gd name="connsiteY63" fmla="*/ 2036 h 10000"/>
              <a:gd name="connsiteX64" fmla="*/ 726 w 10000"/>
              <a:gd name="connsiteY64" fmla="*/ 1491 h 10000"/>
              <a:gd name="connsiteX65" fmla="*/ 726 w 10000"/>
              <a:gd name="connsiteY65" fmla="*/ 691 h 10000"/>
              <a:gd name="connsiteX0" fmla="*/ 215 w 9489"/>
              <a:gd name="connsiteY0" fmla="*/ 691 h 10000"/>
              <a:gd name="connsiteX1" fmla="*/ 2445 w 9489"/>
              <a:gd name="connsiteY1" fmla="*/ 73 h 10000"/>
              <a:gd name="connsiteX2" fmla="*/ 3467 w 9489"/>
              <a:gd name="connsiteY2" fmla="*/ 0 h 10000"/>
              <a:gd name="connsiteX3" fmla="*/ 4086 w 9489"/>
              <a:gd name="connsiteY3" fmla="*/ 18 h 10000"/>
              <a:gd name="connsiteX4" fmla="*/ 4301 w 9489"/>
              <a:gd name="connsiteY4" fmla="*/ 145 h 10000"/>
              <a:gd name="connsiteX5" fmla="*/ 4488 w 9489"/>
              <a:gd name="connsiteY5" fmla="*/ 309 h 10000"/>
              <a:gd name="connsiteX6" fmla="*/ 4516 w 9489"/>
              <a:gd name="connsiteY6" fmla="*/ 491 h 10000"/>
              <a:gd name="connsiteX7" fmla="*/ 4731 w 9489"/>
              <a:gd name="connsiteY7" fmla="*/ 545 h 10000"/>
              <a:gd name="connsiteX8" fmla="*/ 5000 w 9489"/>
              <a:gd name="connsiteY8" fmla="*/ 927 h 10000"/>
              <a:gd name="connsiteX9" fmla="*/ 5027 w 9489"/>
              <a:gd name="connsiteY9" fmla="*/ 1491 h 10000"/>
              <a:gd name="connsiteX10" fmla="*/ 5296 w 9489"/>
              <a:gd name="connsiteY10" fmla="*/ 1709 h 10000"/>
              <a:gd name="connsiteX11" fmla="*/ 5941 w 9489"/>
              <a:gd name="connsiteY11" fmla="*/ 1709 h 10000"/>
              <a:gd name="connsiteX12" fmla="*/ 6344 w 9489"/>
              <a:gd name="connsiteY12" fmla="*/ 2509 h 10000"/>
              <a:gd name="connsiteX13" fmla="*/ 6344 w 9489"/>
              <a:gd name="connsiteY13" fmla="*/ 3055 h 10000"/>
              <a:gd name="connsiteX14" fmla="*/ 6640 w 9489"/>
              <a:gd name="connsiteY14" fmla="*/ 3418 h 10000"/>
              <a:gd name="connsiteX15" fmla="*/ 6935 w 9489"/>
              <a:gd name="connsiteY15" fmla="*/ 3418 h 10000"/>
              <a:gd name="connsiteX16" fmla="*/ 7580 w 9489"/>
              <a:gd name="connsiteY16" fmla="*/ 3055 h 10000"/>
              <a:gd name="connsiteX17" fmla="*/ 7957 w 9489"/>
              <a:gd name="connsiteY17" fmla="*/ 3291 h 10000"/>
              <a:gd name="connsiteX18" fmla="*/ 7983 w 9489"/>
              <a:gd name="connsiteY18" fmla="*/ 3745 h 10000"/>
              <a:gd name="connsiteX19" fmla="*/ 8682 w 9489"/>
              <a:gd name="connsiteY19" fmla="*/ 4036 h 10000"/>
              <a:gd name="connsiteX20" fmla="*/ 8576 w 9489"/>
              <a:gd name="connsiteY20" fmla="*/ 4527 h 10000"/>
              <a:gd name="connsiteX21" fmla="*/ 8602 w 9489"/>
              <a:gd name="connsiteY21" fmla="*/ 4655 h 10000"/>
              <a:gd name="connsiteX22" fmla="*/ 8710 w 9489"/>
              <a:gd name="connsiteY22" fmla="*/ 4727 h 10000"/>
              <a:gd name="connsiteX23" fmla="*/ 8467 w 9489"/>
              <a:gd name="connsiteY23" fmla="*/ 4982 h 10000"/>
              <a:gd name="connsiteX24" fmla="*/ 8388 w 9489"/>
              <a:gd name="connsiteY24" fmla="*/ 5291 h 10000"/>
              <a:gd name="connsiteX25" fmla="*/ 8764 w 9489"/>
              <a:gd name="connsiteY25" fmla="*/ 5927 h 10000"/>
              <a:gd name="connsiteX26" fmla="*/ 9327 w 9489"/>
              <a:gd name="connsiteY26" fmla="*/ 6000 h 10000"/>
              <a:gd name="connsiteX27" fmla="*/ 9489 w 9489"/>
              <a:gd name="connsiteY27" fmla="*/ 6309 h 10000"/>
              <a:gd name="connsiteX28" fmla="*/ 9327 w 9489"/>
              <a:gd name="connsiteY28" fmla="*/ 6927 h 10000"/>
              <a:gd name="connsiteX29" fmla="*/ 8494 w 9489"/>
              <a:gd name="connsiteY29" fmla="*/ 7473 h 10000"/>
              <a:gd name="connsiteX30" fmla="*/ 8710 w 9489"/>
              <a:gd name="connsiteY30" fmla="*/ 8455 h 10000"/>
              <a:gd name="connsiteX31" fmla="*/ 8388 w 9489"/>
              <a:gd name="connsiteY31" fmla="*/ 8873 h 10000"/>
              <a:gd name="connsiteX32" fmla="*/ 8602 w 9489"/>
              <a:gd name="connsiteY32" fmla="*/ 9327 h 10000"/>
              <a:gd name="connsiteX33" fmla="*/ 7580 w 9489"/>
              <a:gd name="connsiteY33" fmla="*/ 9182 h 10000"/>
              <a:gd name="connsiteX34" fmla="*/ 7070 w 9489"/>
              <a:gd name="connsiteY34" fmla="*/ 9327 h 10000"/>
              <a:gd name="connsiteX35" fmla="*/ 6559 w 9489"/>
              <a:gd name="connsiteY35" fmla="*/ 9327 h 10000"/>
              <a:gd name="connsiteX36" fmla="*/ 5941 w 9489"/>
              <a:gd name="connsiteY36" fmla="*/ 9455 h 10000"/>
              <a:gd name="connsiteX37" fmla="*/ 5323 w 9489"/>
              <a:gd name="connsiteY37" fmla="*/ 9545 h 10000"/>
              <a:gd name="connsiteX38" fmla="*/ 4382 w 9489"/>
              <a:gd name="connsiteY38" fmla="*/ 10000 h 10000"/>
              <a:gd name="connsiteX39" fmla="*/ 4409 w 9489"/>
              <a:gd name="connsiteY39" fmla="*/ 9109 h 10000"/>
              <a:gd name="connsiteX40" fmla="*/ 4220 w 9489"/>
              <a:gd name="connsiteY40" fmla="*/ 8873 h 10000"/>
              <a:gd name="connsiteX41" fmla="*/ 3575 w 9489"/>
              <a:gd name="connsiteY41" fmla="*/ 8782 h 10000"/>
              <a:gd name="connsiteX42" fmla="*/ 3361 w 9489"/>
              <a:gd name="connsiteY42" fmla="*/ 8400 h 10000"/>
              <a:gd name="connsiteX43" fmla="*/ 2956 w 9489"/>
              <a:gd name="connsiteY43" fmla="*/ 8382 h 10000"/>
              <a:gd name="connsiteX44" fmla="*/ 2768 w 9489"/>
              <a:gd name="connsiteY44" fmla="*/ 8473 h 10000"/>
              <a:gd name="connsiteX45" fmla="*/ 1936 w 9489"/>
              <a:gd name="connsiteY45" fmla="*/ 8382 h 10000"/>
              <a:gd name="connsiteX46" fmla="*/ 1613 w 9489"/>
              <a:gd name="connsiteY46" fmla="*/ 8564 h 10000"/>
              <a:gd name="connsiteX47" fmla="*/ 2151 w 9489"/>
              <a:gd name="connsiteY47" fmla="*/ 8173 h 10000"/>
              <a:gd name="connsiteX48" fmla="*/ 2800 w 9489"/>
              <a:gd name="connsiteY48" fmla="*/ 7969 h 10000"/>
              <a:gd name="connsiteX49" fmla="*/ 586 w 9489"/>
              <a:gd name="connsiteY49" fmla="*/ 7090 h 10000"/>
              <a:gd name="connsiteX50" fmla="*/ 357 w 9489"/>
              <a:gd name="connsiteY50" fmla="*/ 6861 h 10000"/>
              <a:gd name="connsiteX51" fmla="*/ 576 w 9489"/>
              <a:gd name="connsiteY51" fmla="*/ 6726 h 10000"/>
              <a:gd name="connsiteX52" fmla="*/ 986 w 9489"/>
              <a:gd name="connsiteY52" fmla="*/ 6877 h 10000"/>
              <a:gd name="connsiteX53" fmla="*/ 587 w 9489"/>
              <a:gd name="connsiteY53" fmla="*/ 6295 h 10000"/>
              <a:gd name="connsiteX54" fmla="*/ 0 w 9489"/>
              <a:gd name="connsiteY54" fmla="*/ 6309 h 10000"/>
              <a:gd name="connsiteX55" fmla="*/ 215 w 9489"/>
              <a:gd name="connsiteY55" fmla="*/ 5891 h 10000"/>
              <a:gd name="connsiteX56" fmla="*/ 807 w 9489"/>
              <a:gd name="connsiteY56" fmla="*/ 5618 h 10000"/>
              <a:gd name="connsiteX57" fmla="*/ 914 w 9489"/>
              <a:gd name="connsiteY57" fmla="*/ 5218 h 10000"/>
              <a:gd name="connsiteX58" fmla="*/ 833 w 9489"/>
              <a:gd name="connsiteY58" fmla="*/ 4800 h 10000"/>
              <a:gd name="connsiteX59" fmla="*/ 1209 w 9489"/>
              <a:gd name="connsiteY59" fmla="*/ 4582 h 10000"/>
              <a:gd name="connsiteX60" fmla="*/ 699 w 9489"/>
              <a:gd name="connsiteY60" fmla="*/ 3982 h 10000"/>
              <a:gd name="connsiteX61" fmla="*/ 1237 w 9489"/>
              <a:gd name="connsiteY61" fmla="*/ 3182 h 10000"/>
              <a:gd name="connsiteX62" fmla="*/ 645 w 9489"/>
              <a:gd name="connsiteY62" fmla="*/ 2636 h 10000"/>
              <a:gd name="connsiteX63" fmla="*/ 807 w 9489"/>
              <a:gd name="connsiteY63" fmla="*/ 2036 h 10000"/>
              <a:gd name="connsiteX64" fmla="*/ 215 w 9489"/>
              <a:gd name="connsiteY64" fmla="*/ 1491 h 10000"/>
              <a:gd name="connsiteX65" fmla="*/ 215 w 9489"/>
              <a:gd name="connsiteY65" fmla="*/ 691 h 10000"/>
              <a:gd name="connsiteX0" fmla="*/ 227 w 10000"/>
              <a:gd name="connsiteY0" fmla="*/ 691 h 10000"/>
              <a:gd name="connsiteX1" fmla="*/ 2577 w 10000"/>
              <a:gd name="connsiteY1" fmla="*/ 73 h 10000"/>
              <a:gd name="connsiteX2" fmla="*/ 3654 w 10000"/>
              <a:gd name="connsiteY2" fmla="*/ 0 h 10000"/>
              <a:gd name="connsiteX3" fmla="*/ 4306 w 10000"/>
              <a:gd name="connsiteY3" fmla="*/ 18 h 10000"/>
              <a:gd name="connsiteX4" fmla="*/ 4533 w 10000"/>
              <a:gd name="connsiteY4" fmla="*/ 145 h 10000"/>
              <a:gd name="connsiteX5" fmla="*/ 4730 w 10000"/>
              <a:gd name="connsiteY5" fmla="*/ 309 h 10000"/>
              <a:gd name="connsiteX6" fmla="*/ 4759 w 10000"/>
              <a:gd name="connsiteY6" fmla="*/ 491 h 10000"/>
              <a:gd name="connsiteX7" fmla="*/ 4986 w 10000"/>
              <a:gd name="connsiteY7" fmla="*/ 545 h 10000"/>
              <a:gd name="connsiteX8" fmla="*/ 5269 w 10000"/>
              <a:gd name="connsiteY8" fmla="*/ 927 h 10000"/>
              <a:gd name="connsiteX9" fmla="*/ 5298 w 10000"/>
              <a:gd name="connsiteY9" fmla="*/ 1491 h 10000"/>
              <a:gd name="connsiteX10" fmla="*/ 5581 w 10000"/>
              <a:gd name="connsiteY10" fmla="*/ 1709 h 10000"/>
              <a:gd name="connsiteX11" fmla="*/ 6261 w 10000"/>
              <a:gd name="connsiteY11" fmla="*/ 1709 h 10000"/>
              <a:gd name="connsiteX12" fmla="*/ 6686 w 10000"/>
              <a:gd name="connsiteY12" fmla="*/ 2509 h 10000"/>
              <a:gd name="connsiteX13" fmla="*/ 6686 w 10000"/>
              <a:gd name="connsiteY13" fmla="*/ 3055 h 10000"/>
              <a:gd name="connsiteX14" fmla="*/ 6998 w 10000"/>
              <a:gd name="connsiteY14" fmla="*/ 3418 h 10000"/>
              <a:gd name="connsiteX15" fmla="*/ 7308 w 10000"/>
              <a:gd name="connsiteY15" fmla="*/ 3418 h 10000"/>
              <a:gd name="connsiteX16" fmla="*/ 7988 w 10000"/>
              <a:gd name="connsiteY16" fmla="*/ 3055 h 10000"/>
              <a:gd name="connsiteX17" fmla="*/ 8385 w 10000"/>
              <a:gd name="connsiteY17" fmla="*/ 3291 h 10000"/>
              <a:gd name="connsiteX18" fmla="*/ 8413 w 10000"/>
              <a:gd name="connsiteY18" fmla="*/ 3745 h 10000"/>
              <a:gd name="connsiteX19" fmla="*/ 9150 w 10000"/>
              <a:gd name="connsiteY19" fmla="*/ 4036 h 10000"/>
              <a:gd name="connsiteX20" fmla="*/ 9038 w 10000"/>
              <a:gd name="connsiteY20" fmla="*/ 4527 h 10000"/>
              <a:gd name="connsiteX21" fmla="*/ 9065 w 10000"/>
              <a:gd name="connsiteY21" fmla="*/ 4655 h 10000"/>
              <a:gd name="connsiteX22" fmla="*/ 9179 w 10000"/>
              <a:gd name="connsiteY22" fmla="*/ 4727 h 10000"/>
              <a:gd name="connsiteX23" fmla="*/ 8923 w 10000"/>
              <a:gd name="connsiteY23" fmla="*/ 4982 h 10000"/>
              <a:gd name="connsiteX24" fmla="*/ 8840 w 10000"/>
              <a:gd name="connsiteY24" fmla="*/ 5291 h 10000"/>
              <a:gd name="connsiteX25" fmla="*/ 9236 w 10000"/>
              <a:gd name="connsiteY25" fmla="*/ 5927 h 10000"/>
              <a:gd name="connsiteX26" fmla="*/ 9829 w 10000"/>
              <a:gd name="connsiteY26" fmla="*/ 6000 h 10000"/>
              <a:gd name="connsiteX27" fmla="*/ 10000 w 10000"/>
              <a:gd name="connsiteY27" fmla="*/ 6309 h 10000"/>
              <a:gd name="connsiteX28" fmla="*/ 9829 w 10000"/>
              <a:gd name="connsiteY28" fmla="*/ 6927 h 10000"/>
              <a:gd name="connsiteX29" fmla="*/ 8951 w 10000"/>
              <a:gd name="connsiteY29" fmla="*/ 7473 h 10000"/>
              <a:gd name="connsiteX30" fmla="*/ 9179 w 10000"/>
              <a:gd name="connsiteY30" fmla="*/ 8455 h 10000"/>
              <a:gd name="connsiteX31" fmla="*/ 8840 w 10000"/>
              <a:gd name="connsiteY31" fmla="*/ 8873 h 10000"/>
              <a:gd name="connsiteX32" fmla="*/ 9065 w 10000"/>
              <a:gd name="connsiteY32" fmla="*/ 9327 h 10000"/>
              <a:gd name="connsiteX33" fmla="*/ 7988 w 10000"/>
              <a:gd name="connsiteY33" fmla="*/ 9182 h 10000"/>
              <a:gd name="connsiteX34" fmla="*/ 7451 w 10000"/>
              <a:gd name="connsiteY34" fmla="*/ 9327 h 10000"/>
              <a:gd name="connsiteX35" fmla="*/ 6912 w 10000"/>
              <a:gd name="connsiteY35" fmla="*/ 9327 h 10000"/>
              <a:gd name="connsiteX36" fmla="*/ 6261 w 10000"/>
              <a:gd name="connsiteY36" fmla="*/ 9455 h 10000"/>
              <a:gd name="connsiteX37" fmla="*/ 5610 w 10000"/>
              <a:gd name="connsiteY37" fmla="*/ 9545 h 10000"/>
              <a:gd name="connsiteX38" fmla="*/ 4618 w 10000"/>
              <a:gd name="connsiteY38" fmla="*/ 10000 h 10000"/>
              <a:gd name="connsiteX39" fmla="*/ 4646 w 10000"/>
              <a:gd name="connsiteY39" fmla="*/ 9109 h 10000"/>
              <a:gd name="connsiteX40" fmla="*/ 4447 w 10000"/>
              <a:gd name="connsiteY40" fmla="*/ 8873 h 10000"/>
              <a:gd name="connsiteX41" fmla="*/ 3768 w 10000"/>
              <a:gd name="connsiteY41" fmla="*/ 8782 h 10000"/>
              <a:gd name="connsiteX42" fmla="*/ 3542 w 10000"/>
              <a:gd name="connsiteY42" fmla="*/ 8400 h 10000"/>
              <a:gd name="connsiteX43" fmla="*/ 3115 w 10000"/>
              <a:gd name="connsiteY43" fmla="*/ 8382 h 10000"/>
              <a:gd name="connsiteX44" fmla="*/ 2917 w 10000"/>
              <a:gd name="connsiteY44" fmla="*/ 8473 h 10000"/>
              <a:gd name="connsiteX45" fmla="*/ 2040 w 10000"/>
              <a:gd name="connsiteY45" fmla="*/ 8382 h 10000"/>
              <a:gd name="connsiteX46" fmla="*/ 1700 w 10000"/>
              <a:gd name="connsiteY46" fmla="*/ 8564 h 10000"/>
              <a:gd name="connsiteX47" fmla="*/ 2267 w 10000"/>
              <a:gd name="connsiteY47" fmla="*/ 8173 h 10000"/>
              <a:gd name="connsiteX48" fmla="*/ 2951 w 10000"/>
              <a:gd name="connsiteY48" fmla="*/ 7969 h 10000"/>
              <a:gd name="connsiteX49" fmla="*/ 618 w 10000"/>
              <a:gd name="connsiteY49" fmla="*/ 7090 h 10000"/>
              <a:gd name="connsiteX50" fmla="*/ 1112 w 10000"/>
              <a:gd name="connsiteY50" fmla="*/ 6778 h 10000"/>
              <a:gd name="connsiteX51" fmla="*/ 607 w 10000"/>
              <a:gd name="connsiteY51" fmla="*/ 6726 h 10000"/>
              <a:gd name="connsiteX52" fmla="*/ 1039 w 10000"/>
              <a:gd name="connsiteY52" fmla="*/ 6877 h 10000"/>
              <a:gd name="connsiteX53" fmla="*/ 619 w 10000"/>
              <a:gd name="connsiteY53" fmla="*/ 6295 h 10000"/>
              <a:gd name="connsiteX54" fmla="*/ 0 w 10000"/>
              <a:gd name="connsiteY54" fmla="*/ 6309 h 10000"/>
              <a:gd name="connsiteX55" fmla="*/ 227 w 10000"/>
              <a:gd name="connsiteY55" fmla="*/ 5891 h 10000"/>
              <a:gd name="connsiteX56" fmla="*/ 850 w 10000"/>
              <a:gd name="connsiteY56" fmla="*/ 5618 h 10000"/>
              <a:gd name="connsiteX57" fmla="*/ 963 w 10000"/>
              <a:gd name="connsiteY57" fmla="*/ 5218 h 10000"/>
              <a:gd name="connsiteX58" fmla="*/ 878 w 10000"/>
              <a:gd name="connsiteY58" fmla="*/ 4800 h 10000"/>
              <a:gd name="connsiteX59" fmla="*/ 1274 w 10000"/>
              <a:gd name="connsiteY59" fmla="*/ 4582 h 10000"/>
              <a:gd name="connsiteX60" fmla="*/ 737 w 10000"/>
              <a:gd name="connsiteY60" fmla="*/ 3982 h 10000"/>
              <a:gd name="connsiteX61" fmla="*/ 1304 w 10000"/>
              <a:gd name="connsiteY61" fmla="*/ 3182 h 10000"/>
              <a:gd name="connsiteX62" fmla="*/ 680 w 10000"/>
              <a:gd name="connsiteY62" fmla="*/ 2636 h 10000"/>
              <a:gd name="connsiteX63" fmla="*/ 850 w 10000"/>
              <a:gd name="connsiteY63" fmla="*/ 2036 h 10000"/>
              <a:gd name="connsiteX64" fmla="*/ 227 w 10000"/>
              <a:gd name="connsiteY64" fmla="*/ 1491 h 10000"/>
              <a:gd name="connsiteX65" fmla="*/ 227 w 10000"/>
              <a:gd name="connsiteY65" fmla="*/ 691 h 10000"/>
              <a:gd name="connsiteX0" fmla="*/ 227 w 10000"/>
              <a:gd name="connsiteY0" fmla="*/ 691 h 10000"/>
              <a:gd name="connsiteX1" fmla="*/ 2577 w 10000"/>
              <a:gd name="connsiteY1" fmla="*/ 73 h 10000"/>
              <a:gd name="connsiteX2" fmla="*/ 3654 w 10000"/>
              <a:gd name="connsiteY2" fmla="*/ 0 h 10000"/>
              <a:gd name="connsiteX3" fmla="*/ 4306 w 10000"/>
              <a:gd name="connsiteY3" fmla="*/ 18 h 10000"/>
              <a:gd name="connsiteX4" fmla="*/ 4533 w 10000"/>
              <a:gd name="connsiteY4" fmla="*/ 145 h 10000"/>
              <a:gd name="connsiteX5" fmla="*/ 4730 w 10000"/>
              <a:gd name="connsiteY5" fmla="*/ 309 h 10000"/>
              <a:gd name="connsiteX6" fmla="*/ 4759 w 10000"/>
              <a:gd name="connsiteY6" fmla="*/ 491 h 10000"/>
              <a:gd name="connsiteX7" fmla="*/ 4986 w 10000"/>
              <a:gd name="connsiteY7" fmla="*/ 545 h 10000"/>
              <a:gd name="connsiteX8" fmla="*/ 5269 w 10000"/>
              <a:gd name="connsiteY8" fmla="*/ 927 h 10000"/>
              <a:gd name="connsiteX9" fmla="*/ 5298 w 10000"/>
              <a:gd name="connsiteY9" fmla="*/ 1491 h 10000"/>
              <a:gd name="connsiteX10" fmla="*/ 5581 w 10000"/>
              <a:gd name="connsiteY10" fmla="*/ 1709 h 10000"/>
              <a:gd name="connsiteX11" fmla="*/ 6261 w 10000"/>
              <a:gd name="connsiteY11" fmla="*/ 1709 h 10000"/>
              <a:gd name="connsiteX12" fmla="*/ 6686 w 10000"/>
              <a:gd name="connsiteY12" fmla="*/ 2509 h 10000"/>
              <a:gd name="connsiteX13" fmla="*/ 6686 w 10000"/>
              <a:gd name="connsiteY13" fmla="*/ 3055 h 10000"/>
              <a:gd name="connsiteX14" fmla="*/ 6998 w 10000"/>
              <a:gd name="connsiteY14" fmla="*/ 3418 h 10000"/>
              <a:gd name="connsiteX15" fmla="*/ 7308 w 10000"/>
              <a:gd name="connsiteY15" fmla="*/ 3418 h 10000"/>
              <a:gd name="connsiteX16" fmla="*/ 7988 w 10000"/>
              <a:gd name="connsiteY16" fmla="*/ 3055 h 10000"/>
              <a:gd name="connsiteX17" fmla="*/ 8385 w 10000"/>
              <a:gd name="connsiteY17" fmla="*/ 3291 h 10000"/>
              <a:gd name="connsiteX18" fmla="*/ 8413 w 10000"/>
              <a:gd name="connsiteY18" fmla="*/ 3745 h 10000"/>
              <a:gd name="connsiteX19" fmla="*/ 9150 w 10000"/>
              <a:gd name="connsiteY19" fmla="*/ 4036 h 10000"/>
              <a:gd name="connsiteX20" fmla="*/ 9038 w 10000"/>
              <a:gd name="connsiteY20" fmla="*/ 4527 h 10000"/>
              <a:gd name="connsiteX21" fmla="*/ 9065 w 10000"/>
              <a:gd name="connsiteY21" fmla="*/ 4655 h 10000"/>
              <a:gd name="connsiteX22" fmla="*/ 9179 w 10000"/>
              <a:gd name="connsiteY22" fmla="*/ 4727 h 10000"/>
              <a:gd name="connsiteX23" fmla="*/ 8923 w 10000"/>
              <a:gd name="connsiteY23" fmla="*/ 4982 h 10000"/>
              <a:gd name="connsiteX24" fmla="*/ 8840 w 10000"/>
              <a:gd name="connsiteY24" fmla="*/ 5291 h 10000"/>
              <a:gd name="connsiteX25" fmla="*/ 9236 w 10000"/>
              <a:gd name="connsiteY25" fmla="*/ 5927 h 10000"/>
              <a:gd name="connsiteX26" fmla="*/ 9829 w 10000"/>
              <a:gd name="connsiteY26" fmla="*/ 6000 h 10000"/>
              <a:gd name="connsiteX27" fmla="*/ 10000 w 10000"/>
              <a:gd name="connsiteY27" fmla="*/ 6309 h 10000"/>
              <a:gd name="connsiteX28" fmla="*/ 9829 w 10000"/>
              <a:gd name="connsiteY28" fmla="*/ 6927 h 10000"/>
              <a:gd name="connsiteX29" fmla="*/ 8951 w 10000"/>
              <a:gd name="connsiteY29" fmla="*/ 7473 h 10000"/>
              <a:gd name="connsiteX30" fmla="*/ 9179 w 10000"/>
              <a:gd name="connsiteY30" fmla="*/ 8455 h 10000"/>
              <a:gd name="connsiteX31" fmla="*/ 8840 w 10000"/>
              <a:gd name="connsiteY31" fmla="*/ 8873 h 10000"/>
              <a:gd name="connsiteX32" fmla="*/ 9065 w 10000"/>
              <a:gd name="connsiteY32" fmla="*/ 9327 h 10000"/>
              <a:gd name="connsiteX33" fmla="*/ 7988 w 10000"/>
              <a:gd name="connsiteY33" fmla="*/ 9182 h 10000"/>
              <a:gd name="connsiteX34" fmla="*/ 7451 w 10000"/>
              <a:gd name="connsiteY34" fmla="*/ 9327 h 10000"/>
              <a:gd name="connsiteX35" fmla="*/ 6912 w 10000"/>
              <a:gd name="connsiteY35" fmla="*/ 9327 h 10000"/>
              <a:gd name="connsiteX36" fmla="*/ 6261 w 10000"/>
              <a:gd name="connsiteY36" fmla="*/ 9455 h 10000"/>
              <a:gd name="connsiteX37" fmla="*/ 5610 w 10000"/>
              <a:gd name="connsiteY37" fmla="*/ 9545 h 10000"/>
              <a:gd name="connsiteX38" fmla="*/ 4618 w 10000"/>
              <a:gd name="connsiteY38" fmla="*/ 10000 h 10000"/>
              <a:gd name="connsiteX39" fmla="*/ 4646 w 10000"/>
              <a:gd name="connsiteY39" fmla="*/ 9109 h 10000"/>
              <a:gd name="connsiteX40" fmla="*/ 4447 w 10000"/>
              <a:gd name="connsiteY40" fmla="*/ 8873 h 10000"/>
              <a:gd name="connsiteX41" fmla="*/ 3768 w 10000"/>
              <a:gd name="connsiteY41" fmla="*/ 8782 h 10000"/>
              <a:gd name="connsiteX42" fmla="*/ 3542 w 10000"/>
              <a:gd name="connsiteY42" fmla="*/ 8400 h 10000"/>
              <a:gd name="connsiteX43" fmla="*/ 3115 w 10000"/>
              <a:gd name="connsiteY43" fmla="*/ 8382 h 10000"/>
              <a:gd name="connsiteX44" fmla="*/ 2917 w 10000"/>
              <a:gd name="connsiteY44" fmla="*/ 8473 h 10000"/>
              <a:gd name="connsiteX45" fmla="*/ 2040 w 10000"/>
              <a:gd name="connsiteY45" fmla="*/ 8382 h 10000"/>
              <a:gd name="connsiteX46" fmla="*/ 1700 w 10000"/>
              <a:gd name="connsiteY46" fmla="*/ 8564 h 10000"/>
              <a:gd name="connsiteX47" fmla="*/ 2267 w 10000"/>
              <a:gd name="connsiteY47" fmla="*/ 8173 h 10000"/>
              <a:gd name="connsiteX48" fmla="*/ 2951 w 10000"/>
              <a:gd name="connsiteY48" fmla="*/ 7969 h 10000"/>
              <a:gd name="connsiteX49" fmla="*/ 1901 w 10000"/>
              <a:gd name="connsiteY49" fmla="*/ 7254 h 10000"/>
              <a:gd name="connsiteX50" fmla="*/ 618 w 10000"/>
              <a:gd name="connsiteY50" fmla="*/ 7090 h 10000"/>
              <a:gd name="connsiteX51" fmla="*/ 1112 w 10000"/>
              <a:gd name="connsiteY51" fmla="*/ 6778 h 10000"/>
              <a:gd name="connsiteX52" fmla="*/ 607 w 10000"/>
              <a:gd name="connsiteY52" fmla="*/ 6726 h 10000"/>
              <a:gd name="connsiteX53" fmla="*/ 1039 w 10000"/>
              <a:gd name="connsiteY53" fmla="*/ 6877 h 10000"/>
              <a:gd name="connsiteX54" fmla="*/ 619 w 10000"/>
              <a:gd name="connsiteY54" fmla="*/ 6295 h 10000"/>
              <a:gd name="connsiteX55" fmla="*/ 0 w 10000"/>
              <a:gd name="connsiteY55" fmla="*/ 6309 h 10000"/>
              <a:gd name="connsiteX56" fmla="*/ 227 w 10000"/>
              <a:gd name="connsiteY56" fmla="*/ 5891 h 10000"/>
              <a:gd name="connsiteX57" fmla="*/ 850 w 10000"/>
              <a:gd name="connsiteY57" fmla="*/ 5618 h 10000"/>
              <a:gd name="connsiteX58" fmla="*/ 963 w 10000"/>
              <a:gd name="connsiteY58" fmla="*/ 5218 h 10000"/>
              <a:gd name="connsiteX59" fmla="*/ 878 w 10000"/>
              <a:gd name="connsiteY59" fmla="*/ 4800 h 10000"/>
              <a:gd name="connsiteX60" fmla="*/ 1274 w 10000"/>
              <a:gd name="connsiteY60" fmla="*/ 4582 h 10000"/>
              <a:gd name="connsiteX61" fmla="*/ 737 w 10000"/>
              <a:gd name="connsiteY61" fmla="*/ 3982 h 10000"/>
              <a:gd name="connsiteX62" fmla="*/ 1304 w 10000"/>
              <a:gd name="connsiteY62" fmla="*/ 3182 h 10000"/>
              <a:gd name="connsiteX63" fmla="*/ 680 w 10000"/>
              <a:gd name="connsiteY63" fmla="*/ 2636 h 10000"/>
              <a:gd name="connsiteX64" fmla="*/ 850 w 10000"/>
              <a:gd name="connsiteY64" fmla="*/ 2036 h 10000"/>
              <a:gd name="connsiteX65" fmla="*/ 227 w 10000"/>
              <a:gd name="connsiteY65" fmla="*/ 1491 h 10000"/>
              <a:gd name="connsiteX66" fmla="*/ 227 w 10000"/>
              <a:gd name="connsiteY66" fmla="*/ 691 h 10000"/>
              <a:gd name="connsiteX0" fmla="*/ 227 w 10000"/>
              <a:gd name="connsiteY0" fmla="*/ 691 h 10000"/>
              <a:gd name="connsiteX1" fmla="*/ 2577 w 10000"/>
              <a:gd name="connsiteY1" fmla="*/ 73 h 10000"/>
              <a:gd name="connsiteX2" fmla="*/ 3654 w 10000"/>
              <a:gd name="connsiteY2" fmla="*/ 0 h 10000"/>
              <a:gd name="connsiteX3" fmla="*/ 4306 w 10000"/>
              <a:gd name="connsiteY3" fmla="*/ 18 h 10000"/>
              <a:gd name="connsiteX4" fmla="*/ 4533 w 10000"/>
              <a:gd name="connsiteY4" fmla="*/ 145 h 10000"/>
              <a:gd name="connsiteX5" fmla="*/ 4730 w 10000"/>
              <a:gd name="connsiteY5" fmla="*/ 309 h 10000"/>
              <a:gd name="connsiteX6" fmla="*/ 4759 w 10000"/>
              <a:gd name="connsiteY6" fmla="*/ 491 h 10000"/>
              <a:gd name="connsiteX7" fmla="*/ 4986 w 10000"/>
              <a:gd name="connsiteY7" fmla="*/ 545 h 10000"/>
              <a:gd name="connsiteX8" fmla="*/ 5269 w 10000"/>
              <a:gd name="connsiteY8" fmla="*/ 927 h 10000"/>
              <a:gd name="connsiteX9" fmla="*/ 5298 w 10000"/>
              <a:gd name="connsiteY9" fmla="*/ 1491 h 10000"/>
              <a:gd name="connsiteX10" fmla="*/ 5581 w 10000"/>
              <a:gd name="connsiteY10" fmla="*/ 1709 h 10000"/>
              <a:gd name="connsiteX11" fmla="*/ 6261 w 10000"/>
              <a:gd name="connsiteY11" fmla="*/ 1709 h 10000"/>
              <a:gd name="connsiteX12" fmla="*/ 6686 w 10000"/>
              <a:gd name="connsiteY12" fmla="*/ 2509 h 10000"/>
              <a:gd name="connsiteX13" fmla="*/ 6686 w 10000"/>
              <a:gd name="connsiteY13" fmla="*/ 3055 h 10000"/>
              <a:gd name="connsiteX14" fmla="*/ 6998 w 10000"/>
              <a:gd name="connsiteY14" fmla="*/ 3418 h 10000"/>
              <a:gd name="connsiteX15" fmla="*/ 7308 w 10000"/>
              <a:gd name="connsiteY15" fmla="*/ 3418 h 10000"/>
              <a:gd name="connsiteX16" fmla="*/ 7988 w 10000"/>
              <a:gd name="connsiteY16" fmla="*/ 3055 h 10000"/>
              <a:gd name="connsiteX17" fmla="*/ 8385 w 10000"/>
              <a:gd name="connsiteY17" fmla="*/ 3291 h 10000"/>
              <a:gd name="connsiteX18" fmla="*/ 8413 w 10000"/>
              <a:gd name="connsiteY18" fmla="*/ 3745 h 10000"/>
              <a:gd name="connsiteX19" fmla="*/ 9150 w 10000"/>
              <a:gd name="connsiteY19" fmla="*/ 4036 h 10000"/>
              <a:gd name="connsiteX20" fmla="*/ 9038 w 10000"/>
              <a:gd name="connsiteY20" fmla="*/ 4527 h 10000"/>
              <a:gd name="connsiteX21" fmla="*/ 9065 w 10000"/>
              <a:gd name="connsiteY21" fmla="*/ 4655 h 10000"/>
              <a:gd name="connsiteX22" fmla="*/ 9179 w 10000"/>
              <a:gd name="connsiteY22" fmla="*/ 4727 h 10000"/>
              <a:gd name="connsiteX23" fmla="*/ 8923 w 10000"/>
              <a:gd name="connsiteY23" fmla="*/ 4982 h 10000"/>
              <a:gd name="connsiteX24" fmla="*/ 8840 w 10000"/>
              <a:gd name="connsiteY24" fmla="*/ 5291 h 10000"/>
              <a:gd name="connsiteX25" fmla="*/ 9236 w 10000"/>
              <a:gd name="connsiteY25" fmla="*/ 5927 h 10000"/>
              <a:gd name="connsiteX26" fmla="*/ 9829 w 10000"/>
              <a:gd name="connsiteY26" fmla="*/ 6000 h 10000"/>
              <a:gd name="connsiteX27" fmla="*/ 10000 w 10000"/>
              <a:gd name="connsiteY27" fmla="*/ 6309 h 10000"/>
              <a:gd name="connsiteX28" fmla="*/ 9829 w 10000"/>
              <a:gd name="connsiteY28" fmla="*/ 6927 h 10000"/>
              <a:gd name="connsiteX29" fmla="*/ 8951 w 10000"/>
              <a:gd name="connsiteY29" fmla="*/ 7473 h 10000"/>
              <a:gd name="connsiteX30" fmla="*/ 9179 w 10000"/>
              <a:gd name="connsiteY30" fmla="*/ 8455 h 10000"/>
              <a:gd name="connsiteX31" fmla="*/ 8840 w 10000"/>
              <a:gd name="connsiteY31" fmla="*/ 8873 h 10000"/>
              <a:gd name="connsiteX32" fmla="*/ 9065 w 10000"/>
              <a:gd name="connsiteY32" fmla="*/ 9327 h 10000"/>
              <a:gd name="connsiteX33" fmla="*/ 7988 w 10000"/>
              <a:gd name="connsiteY33" fmla="*/ 9182 h 10000"/>
              <a:gd name="connsiteX34" fmla="*/ 7451 w 10000"/>
              <a:gd name="connsiteY34" fmla="*/ 9327 h 10000"/>
              <a:gd name="connsiteX35" fmla="*/ 6912 w 10000"/>
              <a:gd name="connsiteY35" fmla="*/ 9327 h 10000"/>
              <a:gd name="connsiteX36" fmla="*/ 6261 w 10000"/>
              <a:gd name="connsiteY36" fmla="*/ 9455 h 10000"/>
              <a:gd name="connsiteX37" fmla="*/ 5610 w 10000"/>
              <a:gd name="connsiteY37" fmla="*/ 9545 h 10000"/>
              <a:gd name="connsiteX38" fmla="*/ 4618 w 10000"/>
              <a:gd name="connsiteY38" fmla="*/ 10000 h 10000"/>
              <a:gd name="connsiteX39" fmla="*/ 4646 w 10000"/>
              <a:gd name="connsiteY39" fmla="*/ 9109 h 10000"/>
              <a:gd name="connsiteX40" fmla="*/ 4447 w 10000"/>
              <a:gd name="connsiteY40" fmla="*/ 8873 h 10000"/>
              <a:gd name="connsiteX41" fmla="*/ 3768 w 10000"/>
              <a:gd name="connsiteY41" fmla="*/ 8782 h 10000"/>
              <a:gd name="connsiteX42" fmla="*/ 3542 w 10000"/>
              <a:gd name="connsiteY42" fmla="*/ 8400 h 10000"/>
              <a:gd name="connsiteX43" fmla="*/ 3115 w 10000"/>
              <a:gd name="connsiteY43" fmla="*/ 8382 h 10000"/>
              <a:gd name="connsiteX44" fmla="*/ 2917 w 10000"/>
              <a:gd name="connsiteY44" fmla="*/ 8473 h 10000"/>
              <a:gd name="connsiteX45" fmla="*/ 2040 w 10000"/>
              <a:gd name="connsiteY45" fmla="*/ 8382 h 10000"/>
              <a:gd name="connsiteX46" fmla="*/ 1700 w 10000"/>
              <a:gd name="connsiteY46" fmla="*/ 8564 h 10000"/>
              <a:gd name="connsiteX47" fmla="*/ 2267 w 10000"/>
              <a:gd name="connsiteY47" fmla="*/ 8173 h 10000"/>
              <a:gd name="connsiteX48" fmla="*/ 2951 w 10000"/>
              <a:gd name="connsiteY48" fmla="*/ 7969 h 10000"/>
              <a:gd name="connsiteX49" fmla="*/ 1901 w 10000"/>
              <a:gd name="connsiteY49" fmla="*/ 7254 h 10000"/>
              <a:gd name="connsiteX50" fmla="*/ 1144 w 10000"/>
              <a:gd name="connsiteY50" fmla="*/ 6840 h 10000"/>
              <a:gd name="connsiteX51" fmla="*/ 1112 w 10000"/>
              <a:gd name="connsiteY51" fmla="*/ 6778 h 10000"/>
              <a:gd name="connsiteX52" fmla="*/ 607 w 10000"/>
              <a:gd name="connsiteY52" fmla="*/ 6726 h 10000"/>
              <a:gd name="connsiteX53" fmla="*/ 1039 w 10000"/>
              <a:gd name="connsiteY53" fmla="*/ 6877 h 10000"/>
              <a:gd name="connsiteX54" fmla="*/ 619 w 10000"/>
              <a:gd name="connsiteY54" fmla="*/ 6295 h 10000"/>
              <a:gd name="connsiteX55" fmla="*/ 0 w 10000"/>
              <a:gd name="connsiteY55" fmla="*/ 6309 h 10000"/>
              <a:gd name="connsiteX56" fmla="*/ 227 w 10000"/>
              <a:gd name="connsiteY56" fmla="*/ 5891 h 10000"/>
              <a:gd name="connsiteX57" fmla="*/ 850 w 10000"/>
              <a:gd name="connsiteY57" fmla="*/ 5618 h 10000"/>
              <a:gd name="connsiteX58" fmla="*/ 963 w 10000"/>
              <a:gd name="connsiteY58" fmla="*/ 5218 h 10000"/>
              <a:gd name="connsiteX59" fmla="*/ 878 w 10000"/>
              <a:gd name="connsiteY59" fmla="*/ 4800 h 10000"/>
              <a:gd name="connsiteX60" fmla="*/ 1274 w 10000"/>
              <a:gd name="connsiteY60" fmla="*/ 4582 h 10000"/>
              <a:gd name="connsiteX61" fmla="*/ 737 w 10000"/>
              <a:gd name="connsiteY61" fmla="*/ 3982 h 10000"/>
              <a:gd name="connsiteX62" fmla="*/ 1304 w 10000"/>
              <a:gd name="connsiteY62" fmla="*/ 3182 h 10000"/>
              <a:gd name="connsiteX63" fmla="*/ 680 w 10000"/>
              <a:gd name="connsiteY63" fmla="*/ 2636 h 10000"/>
              <a:gd name="connsiteX64" fmla="*/ 850 w 10000"/>
              <a:gd name="connsiteY64" fmla="*/ 2036 h 10000"/>
              <a:gd name="connsiteX65" fmla="*/ 227 w 10000"/>
              <a:gd name="connsiteY65" fmla="*/ 1491 h 10000"/>
              <a:gd name="connsiteX66" fmla="*/ 227 w 10000"/>
              <a:gd name="connsiteY66" fmla="*/ 691 h 10000"/>
              <a:gd name="connsiteX0" fmla="*/ 227 w 10000"/>
              <a:gd name="connsiteY0" fmla="*/ 691 h 10000"/>
              <a:gd name="connsiteX1" fmla="*/ 2577 w 10000"/>
              <a:gd name="connsiteY1" fmla="*/ 73 h 10000"/>
              <a:gd name="connsiteX2" fmla="*/ 3654 w 10000"/>
              <a:gd name="connsiteY2" fmla="*/ 0 h 10000"/>
              <a:gd name="connsiteX3" fmla="*/ 4306 w 10000"/>
              <a:gd name="connsiteY3" fmla="*/ 18 h 10000"/>
              <a:gd name="connsiteX4" fmla="*/ 4533 w 10000"/>
              <a:gd name="connsiteY4" fmla="*/ 145 h 10000"/>
              <a:gd name="connsiteX5" fmla="*/ 4730 w 10000"/>
              <a:gd name="connsiteY5" fmla="*/ 309 h 10000"/>
              <a:gd name="connsiteX6" fmla="*/ 4759 w 10000"/>
              <a:gd name="connsiteY6" fmla="*/ 491 h 10000"/>
              <a:gd name="connsiteX7" fmla="*/ 4986 w 10000"/>
              <a:gd name="connsiteY7" fmla="*/ 545 h 10000"/>
              <a:gd name="connsiteX8" fmla="*/ 5269 w 10000"/>
              <a:gd name="connsiteY8" fmla="*/ 927 h 10000"/>
              <a:gd name="connsiteX9" fmla="*/ 5298 w 10000"/>
              <a:gd name="connsiteY9" fmla="*/ 1491 h 10000"/>
              <a:gd name="connsiteX10" fmla="*/ 5581 w 10000"/>
              <a:gd name="connsiteY10" fmla="*/ 1709 h 10000"/>
              <a:gd name="connsiteX11" fmla="*/ 6261 w 10000"/>
              <a:gd name="connsiteY11" fmla="*/ 1709 h 10000"/>
              <a:gd name="connsiteX12" fmla="*/ 6686 w 10000"/>
              <a:gd name="connsiteY12" fmla="*/ 2509 h 10000"/>
              <a:gd name="connsiteX13" fmla="*/ 6686 w 10000"/>
              <a:gd name="connsiteY13" fmla="*/ 3055 h 10000"/>
              <a:gd name="connsiteX14" fmla="*/ 6998 w 10000"/>
              <a:gd name="connsiteY14" fmla="*/ 3418 h 10000"/>
              <a:gd name="connsiteX15" fmla="*/ 7308 w 10000"/>
              <a:gd name="connsiteY15" fmla="*/ 3418 h 10000"/>
              <a:gd name="connsiteX16" fmla="*/ 7988 w 10000"/>
              <a:gd name="connsiteY16" fmla="*/ 3055 h 10000"/>
              <a:gd name="connsiteX17" fmla="*/ 8385 w 10000"/>
              <a:gd name="connsiteY17" fmla="*/ 3291 h 10000"/>
              <a:gd name="connsiteX18" fmla="*/ 8413 w 10000"/>
              <a:gd name="connsiteY18" fmla="*/ 3745 h 10000"/>
              <a:gd name="connsiteX19" fmla="*/ 9150 w 10000"/>
              <a:gd name="connsiteY19" fmla="*/ 4036 h 10000"/>
              <a:gd name="connsiteX20" fmla="*/ 9038 w 10000"/>
              <a:gd name="connsiteY20" fmla="*/ 4527 h 10000"/>
              <a:gd name="connsiteX21" fmla="*/ 9065 w 10000"/>
              <a:gd name="connsiteY21" fmla="*/ 4655 h 10000"/>
              <a:gd name="connsiteX22" fmla="*/ 9179 w 10000"/>
              <a:gd name="connsiteY22" fmla="*/ 4727 h 10000"/>
              <a:gd name="connsiteX23" fmla="*/ 8923 w 10000"/>
              <a:gd name="connsiteY23" fmla="*/ 4982 h 10000"/>
              <a:gd name="connsiteX24" fmla="*/ 8840 w 10000"/>
              <a:gd name="connsiteY24" fmla="*/ 5291 h 10000"/>
              <a:gd name="connsiteX25" fmla="*/ 9236 w 10000"/>
              <a:gd name="connsiteY25" fmla="*/ 5927 h 10000"/>
              <a:gd name="connsiteX26" fmla="*/ 9829 w 10000"/>
              <a:gd name="connsiteY26" fmla="*/ 6000 h 10000"/>
              <a:gd name="connsiteX27" fmla="*/ 10000 w 10000"/>
              <a:gd name="connsiteY27" fmla="*/ 6309 h 10000"/>
              <a:gd name="connsiteX28" fmla="*/ 9829 w 10000"/>
              <a:gd name="connsiteY28" fmla="*/ 6927 h 10000"/>
              <a:gd name="connsiteX29" fmla="*/ 8951 w 10000"/>
              <a:gd name="connsiteY29" fmla="*/ 7473 h 10000"/>
              <a:gd name="connsiteX30" fmla="*/ 9179 w 10000"/>
              <a:gd name="connsiteY30" fmla="*/ 8455 h 10000"/>
              <a:gd name="connsiteX31" fmla="*/ 8840 w 10000"/>
              <a:gd name="connsiteY31" fmla="*/ 8873 h 10000"/>
              <a:gd name="connsiteX32" fmla="*/ 9065 w 10000"/>
              <a:gd name="connsiteY32" fmla="*/ 9327 h 10000"/>
              <a:gd name="connsiteX33" fmla="*/ 7988 w 10000"/>
              <a:gd name="connsiteY33" fmla="*/ 9182 h 10000"/>
              <a:gd name="connsiteX34" fmla="*/ 7451 w 10000"/>
              <a:gd name="connsiteY34" fmla="*/ 9327 h 10000"/>
              <a:gd name="connsiteX35" fmla="*/ 6912 w 10000"/>
              <a:gd name="connsiteY35" fmla="*/ 9327 h 10000"/>
              <a:gd name="connsiteX36" fmla="*/ 6261 w 10000"/>
              <a:gd name="connsiteY36" fmla="*/ 9455 h 10000"/>
              <a:gd name="connsiteX37" fmla="*/ 5610 w 10000"/>
              <a:gd name="connsiteY37" fmla="*/ 9545 h 10000"/>
              <a:gd name="connsiteX38" fmla="*/ 4618 w 10000"/>
              <a:gd name="connsiteY38" fmla="*/ 10000 h 10000"/>
              <a:gd name="connsiteX39" fmla="*/ 4646 w 10000"/>
              <a:gd name="connsiteY39" fmla="*/ 9109 h 10000"/>
              <a:gd name="connsiteX40" fmla="*/ 4447 w 10000"/>
              <a:gd name="connsiteY40" fmla="*/ 8873 h 10000"/>
              <a:gd name="connsiteX41" fmla="*/ 3768 w 10000"/>
              <a:gd name="connsiteY41" fmla="*/ 8782 h 10000"/>
              <a:gd name="connsiteX42" fmla="*/ 3542 w 10000"/>
              <a:gd name="connsiteY42" fmla="*/ 8400 h 10000"/>
              <a:gd name="connsiteX43" fmla="*/ 3115 w 10000"/>
              <a:gd name="connsiteY43" fmla="*/ 8382 h 10000"/>
              <a:gd name="connsiteX44" fmla="*/ 2917 w 10000"/>
              <a:gd name="connsiteY44" fmla="*/ 8473 h 10000"/>
              <a:gd name="connsiteX45" fmla="*/ 2040 w 10000"/>
              <a:gd name="connsiteY45" fmla="*/ 8382 h 10000"/>
              <a:gd name="connsiteX46" fmla="*/ 1700 w 10000"/>
              <a:gd name="connsiteY46" fmla="*/ 8564 h 10000"/>
              <a:gd name="connsiteX47" fmla="*/ 2267 w 10000"/>
              <a:gd name="connsiteY47" fmla="*/ 8173 h 10000"/>
              <a:gd name="connsiteX48" fmla="*/ 2583 w 10000"/>
              <a:gd name="connsiteY48" fmla="*/ 8144 h 10000"/>
              <a:gd name="connsiteX49" fmla="*/ 1901 w 10000"/>
              <a:gd name="connsiteY49" fmla="*/ 7254 h 10000"/>
              <a:gd name="connsiteX50" fmla="*/ 1144 w 10000"/>
              <a:gd name="connsiteY50" fmla="*/ 6840 h 10000"/>
              <a:gd name="connsiteX51" fmla="*/ 1112 w 10000"/>
              <a:gd name="connsiteY51" fmla="*/ 6778 h 10000"/>
              <a:gd name="connsiteX52" fmla="*/ 607 w 10000"/>
              <a:gd name="connsiteY52" fmla="*/ 6726 h 10000"/>
              <a:gd name="connsiteX53" fmla="*/ 1039 w 10000"/>
              <a:gd name="connsiteY53" fmla="*/ 6877 h 10000"/>
              <a:gd name="connsiteX54" fmla="*/ 619 w 10000"/>
              <a:gd name="connsiteY54" fmla="*/ 6295 h 10000"/>
              <a:gd name="connsiteX55" fmla="*/ 0 w 10000"/>
              <a:gd name="connsiteY55" fmla="*/ 6309 h 10000"/>
              <a:gd name="connsiteX56" fmla="*/ 227 w 10000"/>
              <a:gd name="connsiteY56" fmla="*/ 5891 h 10000"/>
              <a:gd name="connsiteX57" fmla="*/ 850 w 10000"/>
              <a:gd name="connsiteY57" fmla="*/ 5618 h 10000"/>
              <a:gd name="connsiteX58" fmla="*/ 963 w 10000"/>
              <a:gd name="connsiteY58" fmla="*/ 5218 h 10000"/>
              <a:gd name="connsiteX59" fmla="*/ 878 w 10000"/>
              <a:gd name="connsiteY59" fmla="*/ 4800 h 10000"/>
              <a:gd name="connsiteX60" fmla="*/ 1274 w 10000"/>
              <a:gd name="connsiteY60" fmla="*/ 4582 h 10000"/>
              <a:gd name="connsiteX61" fmla="*/ 737 w 10000"/>
              <a:gd name="connsiteY61" fmla="*/ 3982 h 10000"/>
              <a:gd name="connsiteX62" fmla="*/ 1304 w 10000"/>
              <a:gd name="connsiteY62" fmla="*/ 3182 h 10000"/>
              <a:gd name="connsiteX63" fmla="*/ 680 w 10000"/>
              <a:gd name="connsiteY63" fmla="*/ 2636 h 10000"/>
              <a:gd name="connsiteX64" fmla="*/ 850 w 10000"/>
              <a:gd name="connsiteY64" fmla="*/ 2036 h 10000"/>
              <a:gd name="connsiteX65" fmla="*/ 227 w 10000"/>
              <a:gd name="connsiteY65" fmla="*/ 1491 h 10000"/>
              <a:gd name="connsiteX66" fmla="*/ 227 w 10000"/>
              <a:gd name="connsiteY66" fmla="*/ 69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0000" h="10000">
                <a:moveTo>
                  <a:pt x="227" y="691"/>
                </a:moveTo>
                <a:lnTo>
                  <a:pt x="2577" y="73"/>
                </a:lnTo>
                <a:lnTo>
                  <a:pt x="3654" y="0"/>
                </a:lnTo>
                <a:lnTo>
                  <a:pt x="4306" y="18"/>
                </a:lnTo>
                <a:lnTo>
                  <a:pt x="4533" y="145"/>
                </a:lnTo>
                <a:cubicBezTo>
                  <a:pt x="4598" y="200"/>
                  <a:pt x="4664" y="254"/>
                  <a:pt x="4730" y="309"/>
                </a:cubicBezTo>
                <a:cubicBezTo>
                  <a:pt x="4740" y="370"/>
                  <a:pt x="4749" y="430"/>
                  <a:pt x="4759" y="491"/>
                </a:cubicBezTo>
                <a:lnTo>
                  <a:pt x="4986" y="545"/>
                </a:lnTo>
                <a:lnTo>
                  <a:pt x="5269" y="927"/>
                </a:lnTo>
                <a:cubicBezTo>
                  <a:pt x="5279" y="1115"/>
                  <a:pt x="5288" y="1303"/>
                  <a:pt x="5298" y="1491"/>
                </a:cubicBezTo>
                <a:lnTo>
                  <a:pt x="5581" y="1709"/>
                </a:lnTo>
                <a:lnTo>
                  <a:pt x="6261" y="1709"/>
                </a:lnTo>
                <a:lnTo>
                  <a:pt x="6686" y="2509"/>
                </a:lnTo>
                <a:lnTo>
                  <a:pt x="6686" y="3055"/>
                </a:lnTo>
                <a:lnTo>
                  <a:pt x="6998" y="3418"/>
                </a:lnTo>
                <a:lnTo>
                  <a:pt x="7308" y="3418"/>
                </a:lnTo>
                <a:lnTo>
                  <a:pt x="7988" y="3055"/>
                </a:lnTo>
                <a:lnTo>
                  <a:pt x="8385" y="3291"/>
                </a:lnTo>
                <a:cubicBezTo>
                  <a:pt x="8394" y="3442"/>
                  <a:pt x="8404" y="3594"/>
                  <a:pt x="8413" y="3745"/>
                </a:cubicBezTo>
                <a:lnTo>
                  <a:pt x="9150" y="4036"/>
                </a:lnTo>
                <a:cubicBezTo>
                  <a:pt x="9112" y="4200"/>
                  <a:pt x="9075" y="4363"/>
                  <a:pt x="9038" y="4527"/>
                </a:cubicBezTo>
                <a:cubicBezTo>
                  <a:pt x="9046" y="4570"/>
                  <a:pt x="9057" y="4612"/>
                  <a:pt x="9065" y="4655"/>
                </a:cubicBezTo>
                <a:lnTo>
                  <a:pt x="9179" y="4727"/>
                </a:lnTo>
                <a:lnTo>
                  <a:pt x="8923" y="4982"/>
                </a:lnTo>
                <a:cubicBezTo>
                  <a:pt x="8896" y="5085"/>
                  <a:pt x="8867" y="5188"/>
                  <a:pt x="8840" y="5291"/>
                </a:cubicBezTo>
                <a:lnTo>
                  <a:pt x="9236" y="5927"/>
                </a:lnTo>
                <a:lnTo>
                  <a:pt x="9829" y="6000"/>
                </a:lnTo>
                <a:lnTo>
                  <a:pt x="10000" y="6309"/>
                </a:lnTo>
                <a:lnTo>
                  <a:pt x="9829" y="6927"/>
                </a:lnTo>
                <a:lnTo>
                  <a:pt x="8951" y="7473"/>
                </a:lnTo>
                <a:lnTo>
                  <a:pt x="9179" y="8455"/>
                </a:lnTo>
                <a:lnTo>
                  <a:pt x="8840" y="8873"/>
                </a:lnTo>
                <a:lnTo>
                  <a:pt x="9065" y="9327"/>
                </a:lnTo>
                <a:lnTo>
                  <a:pt x="7988" y="9182"/>
                </a:lnTo>
                <a:lnTo>
                  <a:pt x="7451" y="9327"/>
                </a:lnTo>
                <a:lnTo>
                  <a:pt x="6912" y="9327"/>
                </a:lnTo>
                <a:lnTo>
                  <a:pt x="6261" y="9455"/>
                </a:lnTo>
                <a:lnTo>
                  <a:pt x="5610" y="9545"/>
                </a:lnTo>
                <a:lnTo>
                  <a:pt x="4618" y="10000"/>
                </a:lnTo>
                <a:cubicBezTo>
                  <a:pt x="4627" y="9703"/>
                  <a:pt x="4637" y="9406"/>
                  <a:pt x="4646" y="9109"/>
                </a:cubicBezTo>
                <a:cubicBezTo>
                  <a:pt x="4581" y="9030"/>
                  <a:pt x="4515" y="8952"/>
                  <a:pt x="4447" y="8873"/>
                </a:cubicBezTo>
                <a:lnTo>
                  <a:pt x="3768" y="8782"/>
                </a:lnTo>
                <a:lnTo>
                  <a:pt x="3542" y="8400"/>
                </a:lnTo>
                <a:lnTo>
                  <a:pt x="3115" y="8382"/>
                </a:lnTo>
                <a:lnTo>
                  <a:pt x="2917" y="8473"/>
                </a:lnTo>
                <a:lnTo>
                  <a:pt x="2040" y="8382"/>
                </a:lnTo>
                <a:lnTo>
                  <a:pt x="1700" y="8564"/>
                </a:lnTo>
                <a:cubicBezTo>
                  <a:pt x="1644" y="8794"/>
                  <a:pt x="2324" y="7943"/>
                  <a:pt x="2267" y="8173"/>
                </a:cubicBezTo>
                <a:lnTo>
                  <a:pt x="2583" y="8144"/>
                </a:lnTo>
                <a:cubicBezTo>
                  <a:pt x="2364" y="8005"/>
                  <a:pt x="2290" y="7400"/>
                  <a:pt x="1901" y="7254"/>
                </a:cubicBezTo>
                <a:cubicBezTo>
                  <a:pt x="1512" y="7108"/>
                  <a:pt x="1118" y="6933"/>
                  <a:pt x="1144" y="6840"/>
                </a:cubicBezTo>
                <a:cubicBezTo>
                  <a:pt x="1133" y="6819"/>
                  <a:pt x="1123" y="6799"/>
                  <a:pt x="1112" y="6778"/>
                </a:cubicBezTo>
                <a:lnTo>
                  <a:pt x="607" y="6726"/>
                </a:lnTo>
                <a:lnTo>
                  <a:pt x="1039" y="6877"/>
                </a:lnTo>
                <a:lnTo>
                  <a:pt x="619" y="6295"/>
                </a:lnTo>
                <a:lnTo>
                  <a:pt x="0" y="6309"/>
                </a:lnTo>
                <a:cubicBezTo>
                  <a:pt x="76" y="6170"/>
                  <a:pt x="152" y="6030"/>
                  <a:pt x="227" y="5891"/>
                </a:cubicBezTo>
                <a:lnTo>
                  <a:pt x="850" y="5618"/>
                </a:lnTo>
                <a:cubicBezTo>
                  <a:pt x="888" y="5485"/>
                  <a:pt x="925" y="5351"/>
                  <a:pt x="963" y="5218"/>
                </a:cubicBezTo>
                <a:cubicBezTo>
                  <a:pt x="936" y="5079"/>
                  <a:pt x="905" y="4939"/>
                  <a:pt x="878" y="4800"/>
                </a:cubicBezTo>
                <a:lnTo>
                  <a:pt x="1274" y="4582"/>
                </a:lnTo>
                <a:lnTo>
                  <a:pt x="737" y="3982"/>
                </a:lnTo>
                <a:lnTo>
                  <a:pt x="1304" y="3182"/>
                </a:lnTo>
                <a:lnTo>
                  <a:pt x="680" y="2636"/>
                </a:lnTo>
                <a:cubicBezTo>
                  <a:pt x="737" y="2436"/>
                  <a:pt x="793" y="2236"/>
                  <a:pt x="850" y="2036"/>
                </a:cubicBezTo>
                <a:lnTo>
                  <a:pt x="227" y="1491"/>
                </a:lnTo>
                <a:lnTo>
                  <a:pt x="227" y="691"/>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1" name="AL"/>
          <p:cNvSpPr>
            <a:spLocks noChangeAspect="1"/>
          </p:cNvSpPr>
          <p:nvPr/>
        </p:nvSpPr>
        <p:spPr bwMode="auto">
          <a:xfrm>
            <a:off x="6745288" y="5126038"/>
            <a:ext cx="276225" cy="419100"/>
          </a:xfrm>
          <a:custGeom>
            <a:avLst/>
            <a:gdLst>
              <a:gd name="T0" fmla="*/ 14 w 188"/>
              <a:gd name="T1" fmla="*/ 80 h 353"/>
              <a:gd name="T2" fmla="*/ 26 w 188"/>
              <a:gd name="T3" fmla="*/ 90 h 353"/>
              <a:gd name="T4" fmla="*/ 26 w 188"/>
              <a:gd name="T5" fmla="*/ 106 h 353"/>
              <a:gd name="T6" fmla="*/ 24 w 188"/>
              <a:gd name="T7" fmla="*/ 116 h 353"/>
              <a:gd name="T8" fmla="*/ 17 w 188"/>
              <a:gd name="T9" fmla="*/ 130 h 353"/>
              <a:gd name="T10" fmla="*/ 17 w 188"/>
              <a:gd name="T11" fmla="*/ 164 h 353"/>
              <a:gd name="T12" fmla="*/ 22 w 188"/>
              <a:gd name="T13" fmla="*/ 177 h 353"/>
              <a:gd name="T14" fmla="*/ 5 w 188"/>
              <a:gd name="T15" fmla="*/ 205 h 353"/>
              <a:gd name="T16" fmla="*/ 9 w 188"/>
              <a:gd name="T17" fmla="*/ 211 h 353"/>
              <a:gd name="T18" fmla="*/ 0 w 188"/>
              <a:gd name="T19" fmla="*/ 226 h 353"/>
              <a:gd name="T20" fmla="*/ 8 w 188"/>
              <a:gd name="T21" fmla="*/ 242 h 353"/>
              <a:gd name="T22" fmla="*/ 9 w 188"/>
              <a:gd name="T23" fmla="*/ 253 h 353"/>
              <a:gd name="T24" fmla="*/ 14 w 188"/>
              <a:gd name="T25" fmla="*/ 239 h 353"/>
              <a:gd name="T26" fmla="*/ 28 w 188"/>
              <a:gd name="T27" fmla="*/ 258 h 353"/>
              <a:gd name="T28" fmla="*/ 26 w 188"/>
              <a:gd name="T29" fmla="*/ 276 h 353"/>
              <a:gd name="T30" fmla="*/ 19 w 188"/>
              <a:gd name="T31" fmla="*/ 285 h 353"/>
              <a:gd name="T32" fmla="*/ 28 w 188"/>
              <a:gd name="T33" fmla="*/ 300 h 353"/>
              <a:gd name="T34" fmla="*/ 40 w 188"/>
              <a:gd name="T35" fmla="*/ 306 h 353"/>
              <a:gd name="T36" fmla="*/ 59 w 188"/>
              <a:gd name="T37" fmla="*/ 319 h 353"/>
              <a:gd name="T38" fmla="*/ 75 w 188"/>
              <a:gd name="T39" fmla="*/ 335 h 353"/>
              <a:gd name="T40" fmla="*/ 78 w 188"/>
              <a:gd name="T41" fmla="*/ 345 h 353"/>
              <a:gd name="T42" fmla="*/ 97 w 188"/>
              <a:gd name="T43" fmla="*/ 353 h 353"/>
              <a:gd name="T44" fmla="*/ 113 w 188"/>
              <a:gd name="T45" fmla="*/ 345 h 353"/>
              <a:gd name="T46" fmla="*/ 133 w 188"/>
              <a:gd name="T47" fmla="*/ 332 h 353"/>
              <a:gd name="T48" fmla="*/ 143 w 188"/>
              <a:gd name="T49" fmla="*/ 309 h 353"/>
              <a:gd name="T50" fmla="*/ 152 w 188"/>
              <a:gd name="T51" fmla="*/ 295 h 353"/>
              <a:gd name="T52" fmla="*/ 169 w 188"/>
              <a:gd name="T53" fmla="*/ 261 h 353"/>
              <a:gd name="T54" fmla="*/ 174 w 188"/>
              <a:gd name="T55" fmla="*/ 235 h 353"/>
              <a:gd name="T56" fmla="*/ 176 w 188"/>
              <a:gd name="T57" fmla="*/ 211 h 353"/>
              <a:gd name="T58" fmla="*/ 188 w 188"/>
              <a:gd name="T59" fmla="*/ 195 h 353"/>
              <a:gd name="T60" fmla="*/ 169 w 188"/>
              <a:gd name="T61" fmla="*/ 189 h 353"/>
              <a:gd name="T62" fmla="*/ 162 w 188"/>
              <a:gd name="T63" fmla="*/ 180 h 353"/>
              <a:gd name="T64" fmla="*/ 152 w 188"/>
              <a:gd name="T65" fmla="*/ 182 h 353"/>
              <a:gd name="T66" fmla="*/ 136 w 188"/>
              <a:gd name="T67" fmla="*/ 174 h 353"/>
              <a:gd name="T68" fmla="*/ 132 w 188"/>
              <a:gd name="T69" fmla="*/ 150 h 353"/>
              <a:gd name="T70" fmla="*/ 127 w 188"/>
              <a:gd name="T71" fmla="*/ 133 h 353"/>
              <a:gd name="T72" fmla="*/ 136 w 188"/>
              <a:gd name="T73" fmla="*/ 114 h 353"/>
              <a:gd name="T74" fmla="*/ 136 w 188"/>
              <a:gd name="T75" fmla="*/ 59 h 353"/>
              <a:gd name="T76" fmla="*/ 136 w 188"/>
              <a:gd name="T77" fmla="*/ 40 h 353"/>
              <a:gd name="T78" fmla="*/ 127 w 188"/>
              <a:gd name="T79" fmla="*/ 29 h 353"/>
              <a:gd name="T80" fmla="*/ 110 w 188"/>
              <a:gd name="T81" fmla="*/ 27 h 353"/>
              <a:gd name="T82" fmla="*/ 99 w 188"/>
              <a:gd name="T83" fmla="*/ 22 h 353"/>
              <a:gd name="T84" fmla="*/ 89 w 188"/>
              <a:gd name="T85" fmla="*/ 3 h 353"/>
              <a:gd name="T86" fmla="*/ 78 w 188"/>
              <a:gd name="T87" fmla="*/ 0 h 353"/>
              <a:gd name="T88" fmla="*/ 72 w 188"/>
              <a:gd name="T89" fmla="*/ 9 h 353"/>
              <a:gd name="T90" fmla="*/ 71 w 188"/>
              <a:gd name="T91" fmla="*/ 3 h 353"/>
              <a:gd name="T92" fmla="*/ 52 w 188"/>
              <a:gd name="T93" fmla="*/ 6 h 353"/>
              <a:gd name="T94" fmla="*/ 42 w 188"/>
              <a:gd name="T95" fmla="*/ 0 h 353"/>
              <a:gd name="T96" fmla="*/ 28 w 188"/>
              <a:gd name="T97" fmla="*/ 10 h 353"/>
              <a:gd name="T98" fmla="*/ 26 w 188"/>
              <a:gd name="T99" fmla="*/ 43 h 353"/>
              <a:gd name="T100" fmla="*/ 22 w 188"/>
              <a:gd name="T101" fmla="*/ 63 h 353"/>
              <a:gd name="T102" fmla="*/ 14 w 188"/>
              <a:gd name="T103" fmla="*/ 8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353">
                <a:moveTo>
                  <a:pt x="14" y="80"/>
                </a:moveTo>
                <a:lnTo>
                  <a:pt x="26" y="90"/>
                </a:lnTo>
                <a:lnTo>
                  <a:pt x="26" y="106"/>
                </a:lnTo>
                <a:lnTo>
                  <a:pt x="24" y="116"/>
                </a:lnTo>
                <a:lnTo>
                  <a:pt x="17" y="130"/>
                </a:lnTo>
                <a:lnTo>
                  <a:pt x="17" y="164"/>
                </a:lnTo>
                <a:lnTo>
                  <a:pt x="22" y="177"/>
                </a:lnTo>
                <a:lnTo>
                  <a:pt x="5" y="205"/>
                </a:lnTo>
                <a:lnTo>
                  <a:pt x="9" y="211"/>
                </a:lnTo>
                <a:lnTo>
                  <a:pt x="0" y="226"/>
                </a:lnTo>
                <a:lnTo>
                  <a:pt x="8" y="242"/>
                </a:lnTo>
                <a:lnTo>
                  <a:pt x="9" y="253"/>
                </a:lnTo>
                <a:lnTo>
                  <a:pt x="14" y="239"/>
                </a:lnTo>
                <a:lnTo>
                  <a:pt x="28" y="258"/>
                </a:lnTo>
                <a:lnTo>
                  <a:pt x="26" y="276"/>
                </a:lnTo>
                <a:lnTo>
                  <a:pt x="19" y="285"/>
                </a:lnTo>
                <a:lnTo>
                  <a:pt x="28" y="300"/>
                </a:lnTo>
                <a:lnTo>
                  <a:pt x="40" y="306"/>
                </a:lnTo>
                <a:lnTo>
                  <a:pt x="59" y="319"/>
                </a:lnTo>
                <a:lnTo>
                  <a:pt x="75" y="335"/>
                </a:lnTo>
                <a:lnTo>
                  <a:pt x="78" y="345"/>
                </a:lnTo>
                <a:lnTo>
                  <a:pt x="97" y="353"/>
                </a:lnTo>
                <a:lnTo>
                  <a:pt x="113" y="345"/>
                </a:lnTo>
                <a:lnTo>
                  <a:pt x="133" y="332"/>
                </a:lnTo>
                <a:lnTo>
                  <a:pt x="143" y="309"/>
                </a:lnTo>
                <a:lnTo>
                  <a:pt x="152" y="295"/>
                </a:lnTo>
                <a:lnTo>
                  <a:pt x="169" y="261"/>
                </a:lnTo>
                <a:lnTo>
                  <a:pt x="174" y="235"/>
                </a:lnTo>
                <a:lnTo>
                  <a:pt x="176" y="211"/>
                </a:lnTo>
                <a:lnTo>
                  <a:pt x="188" y="195"/>
                </a:lnTo>
                <a:lnTo>
                  <a:pt x="169" y="189"/>
                </a:lnTo>
                <a:lnTo>
                  <a:pt x="162" y="180"/>
                </a:lnTo>
                <a:lnTo>
                  <a:pt x="152" y="182"/>
                </a:lnTo>
                <a:lnTo>
                  <a:pt x="136" y="174"/>
                </a:lnTo>
                <a:lnTo>
                  <a:pt x="132" y="150"/>
                </a:lnTo>
                <a:lnTo>
                  <a:pt x="127" y="133"/>
                </a:lnTo>
                <a:lnTo>
                  <a:pt x="136" y="114"/>
                </a:lnTo>
                <a:lnTo>
                  <a:pt x="136" y="59"/>
                </a:lnTo>
                <a:lnTo>
                  <a:pt x="136" y="40"/>
                </a:lnTo>
                <a:lnTo>
                  <a:pt x="127" y="29"/>
                </a:lnTo>
                <a:lnTo>
                  <a:pt x="110" y="27"/>
                </a:lnTo>
                <a:lnTo>
                  <a:pt x="99" y="22"/>
                </a:lnTo>
                <a:lnTo>
                  <a:pt x="89" y="3"/>
                </a:lnTo>
                <a:lnTo>
                  <a:pt x="78" y="0"/>
                </a:lnTo>
                <a:lnTo>
                  <a:pt x="72" y="9"/>
                </a:lnTo>
                <a:lnTo>
                  <a:pt x="71" y="3"/>
                </a:lnTo>
                <a:lnTo>
                  <a:pt x="52" y="6"/>
                </a:lnTo>
                <a:lnTo>
                  <a:pt x="42" y="0"/>
                </a:lnTo>
                <a:lnTo>
                  <a:pt x="28" y="10"/>
                </a:lnTo>
                <a:lnTo>
                  <a:pt x="26" y="43"/>
                </a:lnTo>
                <a:lnTo>
                  <a:pt x="22" y="63"/>
                </a:lnTo>
                <a:lnTo>
                  <a:pt x="14" y="80"/>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2" name="BA"/>
          <p:cNvSpPr>
            <a:spLocks noChangeAspect="1"/>
          </p:cNvSpPr>
          <p:nvPr/>
        </p:nvSpPr>
        <p:spPr bwMode="auto">
          <a:xfrm>
            <a:off x="6326188" y="4695825"/>
            <a:ext cx="444500" cy="369888"/>
          </a:xfrm>
          <a:custGeom>
            <a:avLst/>
            <a:gdLst>
              <a:gd name="T0" fmla="*/ 277 w 300"/>
              <a:gd name="T1" fmla="*/ 44 h 313"/>
              <a:gd name="T2" fmla="*/ 262 w 300"/>
              <a:gd name="T3" fmla="*/ 44 h 313"/>
              <a:gd name="T4" fmla="*/ 245 w 300"/>
              <a:gd name="T5" fmla="*/ 31 h 313"/>
              <a:gd name="T6" fmla="*/ 224 w 300"/>
              <a:gd name="T7" fmla="*/ 18 h 313"/>
              <a:gd name="T8" fmla="*/ 197 w 300"/>
              <a:gd name="T9" fmla="*/ 34 h 313"/>
              <a:gd name="T10" fmla="*/ 173 w 300"/>
              <a:gd name="T11" fmla="*/ 27 h 313"/>
              <a:gd name="T12" fmla="*/ 152 w 300"/>
              <a:gd name="T13" fmla="*/ 38 h 313"/>
              <a:gd name="T14" fmla="*/ 150 w 300"/>
              <a:gd name="T15" fmla="*/ 27 h 313"/>
              <a:gd name="T16" fmla="*/ 131 w 300"/>
              <a:gd name="T17" fmla="*/ 26 h 313"/>
              <a:gd name="T18" fmla="*/ 109 w 300"/>
              <a:gd name="T19" fmla="*/ 0 h 313"/>
              <a:gd name="T20" fmla="*/ 74 w 300"/>
              <a:gd name="T21" fmla="*/ 43 h 313"/>
              <a:gd name="T22" fmla="*/ 21 w 300"/>
              <a:gd name="T23" fmla="*/ 23 h 313"/>
              <a:gd name="T24" fmla="*/ 0 w 300"/>
              <a:gd name="T25" fmla="*/ 30 h 313"/>
              <a:gd name="T26" fmla="*/ 0 w 300"/>
              <a:gd name="T27" fmla="*/ 44 h 313"/>
              <a:gd name="T28" fmla="*/ 57 w 300"/>
              <a:gd name="T29" fmla="*/ 111 h 313"/>
              <a:gd name="T30" fmla="*/ 71 w 300"/>
              <a:gd name="T31" fmla="*/ 155 h 313"/>
              <a:gd name="T32" fmla="*/ 101 w 300"/>
              <a:gd name="T33" fmla="*/ 181 h 313"/>
              <a:gd name="T34" fmla="*/ 114 w 300"/>
              <a:gd name="T35" fmla="*/ 176 h 313"/>
              <a:gd name="T36" fmla="*/ 188 w 300"/>
              <a:gd name="T37" fmla="*/ 266 h 313"/>
              <a:gd name="T38" fmla="*/ 193 w 300"/>
              <a:gd name="T39" fmla="*/ 286 h 313"/>
              <a:gd name="T40" fmla="*/ 188 w 300"/>
              <a:gd name="T41" fmla="*/ 299 h 313"/>
              <a:gd name="T42" fmla="*/ 193 w 300"/>
              <a:gd name="T43" fmla="*/ 313 h 313"/>
              <a:gd name="T44" fmla="*/ 215 w 300"/>
              <a:gd name="T45" fmla="*/ 300 h 313"/>
              <a:gd name="T46" fmla="*/ 231 w 300"/>
              <a:gd name="T47" fmla="*/ 294 h 313"/>
              <a:gd name="T48" fmla="*/ 231 w 300"/>
              <a:gd name="T49" fmla="*/ 265 h 313"/>
              <a:gd name="T50" fmla="*/ 253 w 300"/>
              <a:gd name="T51" fmla="*/ 245 h 313"/>
              <a:gd name="T52" fmla="*/ 262 w 300"/>
              <a:gd name="T53" fmla="*/ 223 h 313"/>
              <a:gd name="T54" fmla="*/ 285 w 300"/>
              <a:gd name="T55" fmla="*/ 213 h 313"/>
              <a:gd name="T56" fmla="*/ 288 w 300"/>
              <a:gd name="T57" fmla="*/ 188 h 313"/>
              <a:gd name="T58" fmla="*/ 285 w 300"/>
              <a:gd name="T59" fmla="*/ 164 h 313"/>
              <a:gd name="T60" fmla="*/ 296 w 300"/>
              <a:gd name="T61" fmla="*/ 154 h 313"/>
              <a:gd name="T62" fmla="*/ 276 w 300"/>
              <a:gd name="T63" fmla="*/ 121 h 313"/>
              <a:gd name="T64" fmla="*/ 300 w 300"/>
              <a:gd name="T65" fmla="*/ 74 h 313"/>
              <a:gd name="T66" fmla="*/ 277 w 300"/>
              <a:gd name="T67" fmla="*/ 44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13">
                <a:moveTo>
                  <a:pt x="277" y="44"/>
                </a:moveTo>
                <a:lnTo>
                  <a:pt x="262" y="44"/>
                </a:lnTo>
                <a:lnTo>
                  <a:pt x="245" y="31"/>
                </a:lnTo>
                <a:lnTo>
                  <a:pt x="224" y="18"/>
                </a:lnTo>
                <a:lnTo>
                  <a:pt x="197" y="34"/>
                </a:lnTo>
                <a:lnTo>
                  <a:pt x="173" y="27"/>
                </a:lnTo>
                <a:lnTo>
                  <a:pt x="152" y="38"/>
                </a:lnTo>
                <a:lnTo>
                  <a:pt x="150" y="27"/>
                </a:lnTo>
                <a:lnTo>
                  <a:pt x="131" y="26"/>
                </a:lnTo>
                <a:lnTo>
                  <a:pt x="109" y="0"/>
                </a:lnTo>
                <a:lnTo>
                  <a:pt x="74" y="43"/>
                </a:lnTo>
                <a:lnTo>
                  <a:pt x="21" y="23"/>
                </a:lnTo>
                <a:lnTo>
                  <a:pt x="0" y="30"/>
                </a:lnTo>
                <a:lnTo>
                  <a:pt x="0" y="44"/>
                </a:lnTo>
                <a:lnTo>
                  <a:pt x="57" y="111"/>
                </a:lnTo>
                <a:lnTo>
                  <a:pt x="71" y="155"/>
                </a:lnTo>
                <a:lnTo>
                  <a:pt x="101" y="181"/>
                </a:lnTo>
                <a:lnTo>
                  <a:pt x="114" y="176"/>
                </a:lnTo>
                <a:lnTo>
                  <a:pt x="188" y="266"/>
                </a:lnTo>
                <a:lnTo>
                  <a:pt x="193" y="286"/>
                </a:lnTo>
                <a:lnTo>
                  <a:pt x="188" y="299"/>
                </a:lnTo>
                <a:lnTo>
                  <a:pt x="193" y="313"/>
                </a:lnTo>
                <a:lnTo>
                  <a:pt x="215" y="300"/>
                </a:lnTo>
                <a:lnTo>
                  <a:pt x="231" y="294"/>
                </a:lnTo>
                <a:lnTo>
                  <a:pt x="231" y="265"/>
                </a:lnTo>
                <a:lnTo>
                  <a:pt x="253" y="245"/>
                </a:lnTo>
                <a:lnTo>
                  <a:pt x="262" y="223"/>
                </a:lnTo>
                <a:lnTo>
                  <a:pt x="285" y="213"/>
                </a:lnTo>
                <a:lnTo>
                  <a:pt x="288" y="188"/>
                </a:lnTo>
                <a:lnTo>
                  <a:pt x="285" y="164"/>
                </a:lnTo>
                <a:lnTo>
                  <a:pt x="296" y="154"/>
                </a:lnTo>
                <a:lnTo>
                  <a:pt x="276" y="121"/>
                </a:lnTo>
                <a:lnTo>
                  <a:pt x="300" y="74"/>
                </a:lnTo>
                <a:lnTo>
                  <a:pt x="277" y="44"/>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nvGrpSpPr>
          <p:cNvPr id="13" name="IE"/>
          <p:cNvGrpSpPr/>
          <p:nvPr/>
        </p:nvGrpSpPr>
        <p:grpSpPr>
          <a:xfrm>
            <a:off x="3801983" y="2760668"/>
            <a:ext cx="611448" cy="468313"/>
            <a:chOff x="754064" y="3078843"/>
            <a:chExt cx="611449" cy="468313"/>
          </a:xfrm>
          <a:solidFill>
            <a:srgbClr val="FAFAFA"/>
          </a:solidFill>
          <a:effectLst/>
        </p:grpSpPr>
        <p:sp>
          <p:nvSpPr>
            <p:cNvPr id="104" name="Freeform 575"/>
            <p:cNvSpPr>
              <a:spLocks noChangeAspect="1"/>
            </p:cNvSpPr>
            <p:nvPr/>
          </p:nvSpPr>
          <p:spPr bwMode="auto">
            <a:xfrm>
              <a:off x="754064" y="3078843"/>
              <a:ext cx="566737" cy="468313"/>
            </a:xfrm>
            <a:custGeom>
              <a:avLst/>
              <a:gdLst>
                <a:gd name="T0" fmla="*/ 137 w 384"/>
                <a:gd name="T1" fmla="*/ 163 h 392"/>
                <a:gd name="T2" fmla="*/ 135 w 384"/>
                <a:gd name="T3" fmla="*/ 198 h 392"/>
                <a:gd name="T4" fmla="*/ 109 w 384"/>
                <a:gd name="T5" fmla="*/ 192 h 392"/>
                <a:gd name="T6" fmla="*/ 80 w 384"/>
                <a:gd name="T7" fmla="*/ 237 h 392"/>
                <a:gd name="T8" fmla="*/ 42 w 384"/>
                <a:gd name="T9" fmla="*/ 272 h 392"/>
                <a:gd name="T10" fmla="*/ 17 w 384"/>
                <a:gd name="T11" fmla="*/ 277 h 392"/>
                <a:gd name="T12" fmla="*/ 8 w 384"/>
                <a:gd name="T13" fmla="*/ 286 h 392"/>
                <a:gd name="T14" fmla="*/ 14 w 384"/>
                <a:gd name="T15" fmla="*/ 313 h 392"/>
                <a:gd name="T16" fmla="*/ 6 w 384"/>
                <a:gd name="T17" fmla="*/ 347 h 392"/>
                <a:gd name="T18" fmla="*/ 22 w 384"/>
                <a:gd name="T19" fmla="*/ 347 h 392"/>
                <a:gd name="T20" fmla="*/ 38 w 384"/>
                <a:gd name="T21" fmla="*/ 346 h 392"/>
                <a:gd name="T22" fmla="*/ 31 w 384"/>
                <a:gd name="T23" fmla="*/ 371 h 392"/>
                <a:gd name="T24" fmla="*/ 69 w 384"/>
                <a:gd name="T25" fmla="*/ 380 h 392"/>
                <a:gd name="T26" fmla="*/ 102 w 384"/>
                <a:gd name="T27" fmla="*/ 392 h 392"/>
                <a:gd name="T28" fmla="*/ 137 w 384"/>
                <a:gd name="T29" fmla="*/ 371 h 392"/>
                <a:gd name="T30" fmla="*/ 236 w 384"/>
                <a:gd name="T31" fmla="*/ 380 h 392"/>
                <a:gd name="T32" fmla="*/ 288 w 384"/>
                <a:gd name="T33" fmla="*/ 343 h 392"/>
                <a:gd name="T34" fmla="*/ 316 w 384"/>
                <a:gd name="T35" fmla="*/ 313 h 392"/>
                <a:gd name="T36" fmla="*/ 340 w 384"/>
                <a:gd name="T37" fmla="*/ 277 h 392"/>
                <a:gd name="T38" fmla="*/ 351 w 384"/>
                <a:gd name="T39" fmla="*/ 192 h 392"/>
                <a:gd name="T40" fmla="*/ 365 w 384"/>
                <a:gd name="T41" fmla="*/ 152 h 392"/>
                <a:gd name="T42" fmla="*/ 346 w 384"/>
                <a:gd name="T43" fmla="*/ 108 h 392"/>
                <a:gd name="T44" fmla="*/ 318 w 384"/>
                <a:gd name="T45" fmla="*/ 99 h 392"/>
                <a:gd name="T46" fmla="*/ 304 w 384"/>
                <a:gd name="T47" fmla="*/ 58 h 392"/>
                <a:gd name="T48" fmla="*/ 344 w 384"/>
                <a:gd name="T49" fmla="*/ 0 h 392"/>
                <a:gd name="T50" fmla="*/ 283 w 384"/>
                <a:gd name="T51" fmla="*/ 6 h 392"/>
                <a:gd name="T52" fmla="*/ 255 w 384"/>
                <a:gd name="T53" fmla="*/ 27 h 392"/>
                <a:gd name="T54" fmla="*/ 228 w 384"/>
                <a:gd name="T55" fmla="*/ 31 h 392"/>
                <a:gd name="T56" fmla="*/ 259 w 384"/>
                <a:gd name="T57" fmla="*/ 62 h 392"/>
                <a:gd name="T58" fmla="*/ 201 w 384"/>
                <a:gd name="T59" fmla="*/ 71 h 392"/>
                <a:gd name="T60" fmla="*/ 144 w 384"/>
                <a:gd name="T61" fmla="*/ 45 h 392"/>
                <a:gd name="T62" fmla="*/ 127 w 384"/>
                <a:gd name="T63" fmla="*/ 77 h 392"/>
                <a:gd name="T64" fmla="*/ 126 w 384"/>
                <a:gd name="T65" fmla="*/ 95 h 392"/>
                <a:gd name="T66" fmla="*/ 111 w 384"/>
                <a:gd name="T67" fmla="*/ 126 h 392"/>
                <a:gd name="T68" fmla="*/ 92 w 384"/>
                <a:gd name="T69" fmla="*/ 158 h 392"/>
                <a:gd name="T70" fmla="*/ 113 w 384"/>
                <a:gd name="T71" fmla="*/ 179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92">
                  <a:moveTo>
                    <a:pt x="142" y="148"/>
                  </a:moveTo>
                  <a:lnTo>
                    <a:pt x="137" y="163"/>
                  </a:lnTo>
                  <a:lnTo>
                    <a:pt x="142" y="185"/>
                  </a:lnTo>
                  <a:lnTo>
                    <a:pt x="135" y="198"/>
                  </a:lnTo>
                  <a:lnTo>
                    <a:pt x="123" y="189"/>
                  </a:lnTo>
                  <a:lnTo>
                    <a:pt x="109" y="192"/>
                  </a:lnTo>
                  <a:lnTo>
                    <a:pt x="109" y="208"/>
                  </a:lnTo>
                  <a:lnTo>
                    <a:pt x="80" y="237"/>
                  </a:lnTo>
                  <a:lnTo>
                    <a:pt x="64" y="245"/>
                  </a:lnTo>
                  <a:lnTo>
                    <a:pt x="42" y="272"/>
                  </a:lnTo>
                  <a:lnTo>
                    <a:pt x="28" y="279"/>
                  </a:lnTo>
                  <a:lnTo>
                    <a:pt x="17" y="277"/>
                  </a:lnTo>
                  <a:lnTo>
                    <a:pt x="12" y="281"/>
                  </a:lnTo>
                  <a:lnTo>
                    <a:pt x="8" y="286"/>
                  </a:lnTo>
                  <a:lnTo>
                    <a:pt x="14" y="294"/>
                  </a:lnTo>
                  <a:lnTo>
                    <a:pt x="14" y="313"/>
                  </a:lnTo>
                  <a:lnTo>
                    <a:pt x="0" y="330"/>
                  </a:lnTo>
                  <a:lnTo>
                    <a:pt x="6" y="347"/>
                  </a:lnTo>
                  <a:lnTo>
                    <a:pt x="6" y="347"/>
                  </a:lnTo>
                  <a:lnTo>
                    <a:pt x="22" y="347"/>
                  </a:lnTo>
                  <a:lnTo>
                    <a:pt x="28" y="334"/>
                  </a:lnTo>
                  <a:lnTo>
                    <a:pt x="38" y="346"/>
                  </a:lnTo>
                  <a:lnTo>
                    <a:pt x="26" y="355"/>
                  </a:lnTo>
                  <a:lnTo>
                    <a:pt x="31" y="371"/>
                  </a:lnTo>
                  <a:lnTo>
                    <a:pt x="38" y="374"/>
                  </a:lnTo>
                  <a:lnTo>
                    <a:pt x="69" y="380"/>
                  </a:lnTo>
                  <a:lnTo>
                    <a:pt x="74" y="382"/>
                  </a:lnTo>
                  <a:lnTo>
                    <a:pt x="102" y="392"/>
                  </a:lnTo>
                  <a:lnTo>
                    <a:pt x="113" y="387"/>
                  </a:lnTo>
                  <a:lnTo>
                    <a:pt x="137" y="371"/>
                  </a:lnTo>
                  <a:lnTo>
                    <a:pt x="173" y="380"/>
                  </a:lnTo>
                  <a:lnTo>
                    <a:pt x="236" y="380"/>
                  </a:lnTo>
                  <a:lnTo>
                    <a:pt x="271" y="371"/>
                  </a:lnTo>
                  <a:lnTo>
                    <a:pt x="288" y="343"/>
                  </a:lnTo>
                  <a:lnTo>
                    <a:pt x="309" y="330"/>
                  </a:lnTo>
                  <a:lnTo>
                    <a:pt x="316" y="313"/>
                  </a:lnTo>
                  <a:lnTo>
                    <a:pt x="323" y="290"/>
                  </a:lnTo>
                  <a:lnTo>
                    <a:pt x="340" y="277"/>
                  </a:lnTo>
                  <a:lnTo>
                    <a:pt x="354" y="237"/>
                  </a:lnTo>
                  <a:lnTo>
                    <a:pt x="351" y="192"/>
                  </a:lnTo>
                  <a:lnTo>
                    <a:pt x="384" y="171"/>
                  </a:lnTo>
                  <a:lnTo>
                    <a:pt x="365" y="152"/>
                  </a:lnTo>
                  <a:lnTo>
                    <a:pt x="359" y="121"/>
                  </a:lnTo>
                  <a:lnTo>
                    <a:pt x="346" y="108"/>
                  </a:lnTo>
                  <a:lnTo>
                    <a:pt x="332" y="108"/>
                  </a:lnTo>
                  <a:lnTo>
                    <a:pt x="318" y="99"/>
                  </a:lnTo>
                  <a:lnTo>
                    <a:pt x="293" y="65"/>
                  </a:lnTo>
                  <a:lnTo>
                    <a:pt x="304" y="58"/>
                  </a:lnTo>
                  <a:lnTo>
                    <a:pt x="349" y="13"/>
                  </a:lnTo>
                  <a:lnTo>
                    <a:pt x="344" y="0"/>
                  </a:lnTo>
                  <a:lnTo>
                    <a:pt x="330" y="3"/>
                  </a:lnTo>
                  <a:lnTo>
                    <a:pt x="283" y="6"/>
                  </a:lnTo>
                  <a:lnTo>
                    <a:pt x="266" y="18"/>
                  </a:lnTo>
                  <a:lnTo>
                    <a:pt x="255" y="27"/>
                  </a:lnTo>
                  <a:lnTo>
                    <a:pt x="239" y="24"/>
                  </a:lnTo>
                  <a:lnTo>
                    <a:pt x="228" y="31"/>
                  </a:lnTo>
                  <a:lnTo>
                    <a:pt x="236" y="45"/>
                  </a:lnTo>
                  <a:lnTo>
                    <a:pt x="259" y="62"/>
                  </a:lnTo>
                  <a:lnTo>
                    <a:pt x="242" y="65"/>
                  </a:lnTo>
                  <a:lnTo>
                    <a:pt x="201" y="71"/>
                  </a:lnTo>
                  <a:lnTo>
                    <a:pt x="173" y="58"/>
                  </a:lnTo>
                  <a:lnTo>
                    <a:pt x="144" y="45"/>
                  </a:lnTo>
                  <a:lnTo>
                    <a:pt x="135" y="52"/>
                  </a:lnTo>
                  <a:lnTo>
                    <a:pt x="127" y="77"/>
                  </a:lnTo>
                  <a:lnTo>
                    <a:pt x="130" y="89"/>
                  </a:lnTo>
                  <a:lnTo>
                    <a:pt x="126" y="95"/>
                  </a:lnTo>
                  <a:lnTo>
                    <a:pt x="109" y="102"/>
                  </a:lnTo>
                  <a:lnTo>
                    <a:pt x="111" y="126"/>
                  </a:lnTo>
                  <a:lnTo>
                    <a:pt x="109" y="132"/>
                  </a:lnTo>
                  <a:lnTo>
                    <a:pt x="92" y="158"/>
                  </a:lnTo>
                  <a:lnTo>
                    <a:pt x="107" y="182"/>
                  </a:lnTo>
                  <a:lnTo>
                    <a:pt x="113" y="179"/>
                  </a:lnTo>
                  <a:lnTo>
                    <a:pt x="142" y="148"/>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05" name="Freeform 576"/>
            <p:cNvSpPr>
              <a:spLocks noChangeAspect="1"/>
            </p:cNvSpPr>
            <p:nvPr/>
          </p:nvSpPr>
          <p:spPr bwMode="auto">
            <a:xfrm>
              <a:off x="1182114" y="3116440"/>
              <a:ext cx="183399" cy="169877"/>
            </a:xfrm>
            <a:custGeom>
              <a:avLst/>
              <a:gdLst>
                <a:gd name="T0" fmla="*/ 43 w 123"/>
                <a:gd name="T1" fmla="*/ 0 h 140"/>
                <a:gd name="T2" fmla="*/ 71 w 123"/>
                <a:gd name="T3" fmla="*/ 0 h 140"/>
                <a:gd name="T4" fmla="*/ 92 w 123"/>
                <a:gd name="T5" fmla="*/ 5 h 140"/>
                <a:gd name="T6" fmla="*/ 106 w 123"/>
                <a:gd name="T7" fmla="*/ 28 h 140"/>
                <a:gd name="T8" fmla="*/ 120 w 123"/>
                <a:gd name="T9" fmla="*/ 65 h 140"/>
                <a:gd name="T10" fmla="*/ 123 w 123"/>
                <a:gd name="T11" fmla="*/ 96 h 140"/>
                <a:gd name="T12" fmla="*/ 109 w 123"/>
                <a:gd name="T13" fmla="*/ 112 h 140"/>
                <a:gd name="T14" fmla="*/ 104 w 123"/>
                <a:gd name="T15" fmla="*/ 133 h 140"/>
                <a:gd name="T16" fmla="*/ 90 w 123"/>
                <a:gd name="T17" fmla="*/ 140 h 140"/>
                <a:gd name="T18" fmla="*/ 76 w 123"/>
                <a:gd name="T19" fmla="*/ 122 h 140"/>
                <a:gd name="T20" fmla="*/ 63 w 123"/>
                <a:gd name="T21" fmla="*/ 88 h 140"/>
                <a:gd name="T22" fmla="*/ 54 w 123"/>
                <a:gd name="T23" fmla="*/ 75 h 140"/>
                <a:gd name="T24" fmla="*/ 30 w 123"/>
                <a:gd name="T25" fmla="*/ 72 h 140"/>
                <a:gd name="T26" fmla="*/ 0 w 123"/>
                <a:gd name="T27" fmla="*/ 37 h 140"/>
                <a:gd name="T28" fmla="*/ 43 w 123"/>
                <a:gd name="T2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140">
                  <a:moveTo>
                    <a:pt x="43" y="0"/>
                  </a:moveTo>
                  <a:lnTo>
                    <a:pt x="71" y="0"/>
                  </a:lnTo>
                  <a:lnTo>
                    <a:pt x="92" y="5"/>
                  </a:lnTo>
                  <a:lnTo>
                    <a:pt x="106" y="28"/>
                  </a:lnTo>
                  <a:lnTo>
                    <a:pt x="120" y="65"/>
                  </a:lnTo>
                  <a:lnTo>
                    <a:pt x="123" y="96"/>
                  </a:lnTo>
                  <a:lnTo>
                    <a:pt x="109" y="112"/>
                  </a:lnTo>
                  <a:lnTo>
                    <a:pt x="104" y="133"/>
                  </a:lnTo>
                  <a:lnTo>
                    <a:pt x="90" y="140"/>
                  </a:lnTo>
                  <a:lnTo>
                    <a:pt x="76" y="122"/>
                  </a:lnTo>
                  <a:lnTo>
                    <a:pt x="63" y="88"/>
                  </a:lnTo>
                  <a:lnTo>
                    <a:pt x="54" y="75"/>
                  </a:lnTo>
                  <a:lnTo>
                    <a:pt x="30" y="72"/>
                  </a:lnTo>
                  <a:lnTo>
                    <a:pt x="0" y="37"/>
                  </a:lnTo>
                  <a:lnTo>
                    <a:pt x="43"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sp>
        <p:nvSpPr>
          <p:cNvPr id="14" name="NI"/>
          <p:cNvSpPr>
            <a:spLocks noChangeAspect="1"/>
          </p:cNvSpPr>
          <p:nvPr/>
        </p:nvSpPr>
        <p:spPr bwMode="auto">
          <a:xfrm>
            <a:off x="4224338" y="2790825"/>
            <a:ext cx="192087" cy="169863"/>
          </a:xfrm>
          <a:custGeom>
            <a:avLst/>
            <a:gdLst>
              <a:gd name="T0" fmla="*/ 43 w 123"/>
              <a:gd name="T1" fmla="*/ 0 h 140"/>
              <a:gd name="T2" fmla="*/ 71 w 123"/>
              <a:gd name="T3" fmla="*/ 0 h 140"/>
              <a:gd name="T4" fmla="*/ 92 w 123"/>
              <a:gd name="T5" fmla="*/ 5 h 140"/>
              <a:gd name="T6" fmla="*/ 106 w 123"/>
              <a:gd name="T7" fmla="*/ 28 h 140"/>
              <a:gd name="T8" fmla="*/ 120 w 123"/>
              <a:gd name="T9" fmla="*/ 65 h 140"/>
              <a:gd name="T10" fmla="*/ 123 w 123"/>
              <a:gd name="T11" fmla="*/ 96 h 140"/>
              <a:gd name="T12" fmla="*/ 109 w 123"/>
              <a:gd name="T13" fmla="*/ 112 h 140"/>
              <a:gd name="T14" fmla="*/ 104 w 123"/>
              <a:gd name="T15" fmla="*/ 133 h 140"/>
              <a:gd name="T16" fmla="*/ 90 w 123"/>
              <a:gd name="T17" fmla="*/ 140 h 140"/>
              <a:gd name="T18" fmla="*/ 76 w 123"/>
              <a:gd name="T19" fmla="*/ 122 h 140"/>
              <a:gd name="T20" fmla="*/ 63 w 123"/>
              <a:gd name="T21" fmla="*/ 88 h 140"/>
              <a:gd name="T22" fmla="*/ 54 w 123"/>
              <a:gd name="T23" fmla="*/ 75 h 140"/>
              <a:gd name="T24" fmla="*/ 30 w 123"/>
              <a:gd name="T25" fmla="*/ 72 h 140"/>
              <a:gd name="T26" fmla="*/ 0 w 123"/>
              <a:gd name="T27" fmla="*/ 37 h 140"/>
              <a:gd name="T28" fmla="*/ 43 w 123"/>
              <a:gd name="T2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140">
                <a:moveTo>
                  <a:pt x="43" y="0"/>
                </a:moveTo>
                <a:lnTo>
                  <a:pt x="71" y="0"/>
                </a:lnTo>
                <a:lnTo>
                  <a:pt x="92" y="5"/>
                </a:lnTo>
                <a:lnTo>
                  <a:pt x="106" y="28"/>
                </a:lnTo>
                <a:lnTo>
                  <a:pt x="120" y="65"/>
                </a:lnTo>
                <a:lnTo>
                  <a:pt x="123" y="96"/>
                </a:lnTo>
                <a:lnTo>
                  <a:pt x="109" y="112"/>
                </a:lnTo>
                <a:lnTo>
                  <a:pt x="104" y="133"/>
                </a:lnTo>
                <a:lnTo>
                  <a:pt x="90" y="140"/>
                </a:lnTo>
                <a:lnTo>
                  <a:pt x="76" y="122"/>
                </a:lnTo>
                <a:lnTo>
                  <a:pt x="63" y="88"/>
                </a:lnTo>
                <a:lnTo>
                  <a:pt x="54" y="75"/>
                </a:lnTo>
                <a:lnTo>
                  <a:pt x="30" y="72"/>
                </a:lnTo>
                <a:lnTo>
                  <a:pt x="0" y="37"/>
                </a:lnTo>
                <a:lnTo>
                  <a:pt x="43" y="0"/>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ea typeface="ＭＳ Ｐゴシック" charset="-128"/>
            </a:endParaRPr>
          </a:p>
        </p:txBody>
      </p:sp>
      <p:sp>
        <p:nvSpPr>
          <p:cNvPr id="15" name="CH"/>
          <p:cNvSpPr>
            <a:spLocks/>
          </p:cNvSpPr>
          <p:nvPr/>
        </p:nvSpPr>
        <p:spPr bwMode="auto">
          <a:xfrm>
            <a:off x="5226050" y="4206799"/>
            <a:ext cx="550863" cy="307975"/>
          </a:xfrm>
          <a:custGeom>
            <a:avLst/>
            <a:gdLst>
              <a:gd name="T0" fmla="*/ 197 w 376"/>
              <a:gd name="T1" fmla="*/ 53 h 276"/>
              <a:gd name="T2" fmla="*/ 178 w 376"/>
              <a:gd name="T3" fmla="*/ 34 h 276"/>
              <a:gd name="T4" fmla="*/ 181 w 376"/>
              <a:gd name="T5" fmla="*/ 27 h 276"/>
              <a:gd name="T6" fmla="*/ 170 w 376"/>
              <a:gd name="T7" fmla="*/ 16 h 276"/>
              <a:gd name="T8" fmla="*/ 159 w 376"/>
              <a:gd name="T9" fmla="*/ 0 h 276"/>
              <a:gd name="T10" fmla="*/ 148 w 376"/>
              <a:gd name="T11" fmla="*/ 16 h 276"/>
              <a:gd name="T12" fmla="*/ 140 w 376"/>
              <a:gd name="T13" fmla="*/ 10 h 276"/>
              <a:gd name="T14" fmla="*/ 127 w 376"/>
              <a:gd name="T15" fmla="*/ 24 h 276"/>
              <a:gd name="T16" fmla="*/ 127 w 376"/>
              <a:gd name="T17" fmla="*/ 32 h 276"/>
              <a:gd name="T18" fmla="*/ 110 w 376"/>
              <a:gd name="T19" fmla="*/ 40 h 276"/>
              <a:gd name="T20" fmla="*/ 68 w 376"/>
              <a:gd name="T21" fmla="*/ 77 h 276"/>
              <a:gd name="T22" fmla="*/ 57 w 376"/>
              <a:gd name="T23" fmla="*/ 93 h 276"/>
              <a:gd name="T24" fmla="*/ 57 w 376"/>
              <a:gd name="T25" fmla="*/ 111 h 276"/>
              <a:gd name="T26" fmla="*/ 42 w 376"/>
              <a:gd name="T27" fmla="*/ 117 h 276"/>
              <a:gd name="T28" fmla="*/ 11 w 376"/>
              <a:gd name="T29" fmla="*/ 154 h 276"/>
              <a:gd name="T30" fmla="*/ 11 w 376"/>
              <a:gd name="T31" fmla="*/ 167 h 276"/>
              <a:gd name="T32" fmla="*/ 0 w 376"/>
              <a:gd name="T33" fmla="*/ 182 h 276"/>
              <a:gd name="T34" fmla="*/ 5 w 376"/>
              <a:gd name="T35" fmla="*/ 201 h 276"/>
              <a:gd name="T36" fmla="*/ 19 w 376"/>
              <a:gd name="T37" fmla="*/ 191 h 276"/>
              <a:gd name="T38" fmla="*/ 33 w 376"/>
              <a:gd name="T39" fmla="*/ 174 h 276"/>
              <a:gd name="T40" fmla="*/ 54 w 376"/>
              <a:gd name="T41" fmla="*/ 169 h 276"/>
              <a:gd name="T42" fmla="*/ 68 w 376"/>
              <a:gd name="T43" fmla="*/ 174 h 276"/>
              <a:gd name="T44" fmla="*/ 73 w 376"/>
              <a:gd name="T45" fmla="*/ 201 h 276"/>
              <a:gd name="T46" fmla="*/ 71 w 376"/>
              <a:gd name="T47" fmla="*/ 219 h 276"/>
              <a:gd name="T48" fmla="*/ 80 w 376"/>
              <a:gd name="T49" fmla="*/ 232 h 276"/>
              <a:gd name="T50" fmla="*/ 91 w 376"/>
              <a:gd name="T51" fmla="*/ 241 h 276"/>
              <a:gd name="T52" fmla="*/ 115 w 376"/>
              <a:gd name="T53" fmla="*/ 243 h 276"/>
              <a:gd name="T54" fmla="*/ 167 w 376"/>
              <a:gd name="T55" fmla="*/ 251 h 276"/>
              <a:gd name="T56" fmla="*/ 178 w 376"/>
              <a:gd name="T57" fmla="*/ 243 h 276"/>
              <a:gd name="T58" fmla="*/ 186 w 376"/>
              <a:gd name="T59" fmla="*/ 232 h 276"/>
              <a:gd name="T60" fmla="*/ 191 w 376"/>
              <a:gd name="T61" fmla="*/ 208 h 276"/>
              <a:gd name="T62" fmla="*/ 210 w 376"/>
              <a:gd name="T63" fmla="*/ 206 h 276"/>
              <a:gd name="T64" fmla="*/ 216 w 376"/>
              <a:gd name="T65" fmla="*/ 222 h 276"/>
              <a:gd name="T66" fmla="*/ 216 w 376"/>
              <a:gd name="T67" fmla="*/ 258 h 276"/>
              <a:gd name="T68" fmla="*/ 240 w 376"/>
              <a:gd name="T69" fmla="*/ 276 h 276"/>
              <a:gd name="T70" fmla="*/ 258 w 376"/>
              <a:gd name="T71" fmla="*/ 245 h 276"/>
              <a:gd name="T72" fmla="*/ 277 w 376"/>
              <a:gd name="T73" fmla="*/ 235 h 276"/>
              <a:gd name="T74" fmla="*/ 299 w 376"/>
              <a:gd name="T75" fmla="*/ 238 h 276"/>
              <a:gd name="T76" fmla="*/ 315 w 376"/>
              <a:gd name="T77" fmla="*/ 248 h 276"/>
              <a:gd name="T78" fmla="*/ 322 w 376"/>
              <a:gd name="T79" fmla="*/ 256 h 276"/>
              <a:gd name="T80" fmla="*/ 327 w 376"/>
              <a:gd name="T81" fmla="*/ 229 h 276"/>
              <a:gd name="T82" fmla="*/ 339 w 376"/>
              <a:gd name="T83" fmla="*/ 198 h 276"/>
              <a:gd name="T84" fmla="*/ 367 w 376"/>
              <a:gd name="T85" fmla="*/ 192 h 276"/>
              <a:gd name="T86" fmla="*/ 376 w 376"/>
              <a:gd name="T87" fmla="*/ 172 h 276"/>
              <a:gd name="T88" fmla="*/ 367 w 376"/>
              <a:gd name="T89" fmla="*/ 155 h 276"/>
              <a:gd name="T90" fmla="*/ 354 w 376"/>
              <a:gd name="T91" fmla="*/ 148 h 276"/>
              <a:gd name="T92" fmla="*/ 319 w 376"/>
              <a:gd name="T93" fmla="*/ 141 h 276"/>
              <a:gd name="T94" fmla="*/ 318 w 376"/>
              <a:gd name="T95" fmla="*/ 121 h 276"/>
              <a:gd name="T96" fmla="*/ 318 w 376"/>
              <a:gd name="T97" fmla="*/ 100 h 276"/>
              <a:gd name="T98" fmla="*/ 318 w 376"/>
              <a:gd name="T99" fmla="*/ 84 h 276"/>
              <a:gd name="T100" fmla="*/ 296 w 376"/>
              <a:gd name="T101" fmla="*/ 71 h 276"/>
              <a:gd name="T102" fmla="*/ 285 w 376"/>
              <a:gd name="T103" fmla="*/ 77 h 276"/>
              <a:gd name="T104" fmla="*/ 266 w 376"/>
              <a:gd name="T105" fmla="*/ 61 h 276"/>
              <a:gd name="T106" fmla="*/ 263 w 376"/>
              <a:gd name="T107" fmla="*/ 50 h 276"/>
              <a:gd name="T108" fmla="*/ 256 w 376"/>
              <a:gd name="T109" fmla="*/ 37 h 276"/>
              <a:gd name="T110" fmla="*/ 256 w 376"/>
              <a:gd name="T111" fmla="*/ 32 h 276"/>
              <a:gd name="T112" fmla="*/ 235 w 376"/>
              <a:gd name="T113" fmla="*/ 24 h 276"/>
              <a:gd name="T114" fmla="*/ 228 w 376"/>
              <a:gd name="T115" fmla="*/ 34 h 276"/>
              <a:gd name="T116" fmla="*/ 214 w 376"/>
              <a:gd name="T117" fmla="*/ 46 h 276"/>
              <a:gd name="T118" fmla="*/ 197 w 376"/>
              <a:gd name="T119" fmla="*/ 5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6" h="276">
                <a:moveTo>
                  <a:pt x="197" y="53"/>
                </a:moveTo>
                <a:lnTo>
                  <a:pt x="178" y="34"/>
                </a:lnTo>
                <a:lnTo>
                  <a:pt x="181" y="27"/>
                </a:lnTo>
                <a:lnTo>
                  <a:pt x="170" y="16"/>
                </a:lnTo>
                <a:lnTo>
                  <a:pt x="159" y="0"/>
                </a:lnTo>
                <a:lnTo>
                  <a:pt x="148" y="16"/>
                </a:lnTo>
                <a:lnTo>
                  <a:pt x="140" y="10"/>
                </a:lnTo>
                <a:lnTo>
                  <a:pt x="127" y="24"/>
                </a:lnTo>
                <a:lnTo>
                  <a:pt x="127" y="32"/>
                </a:lnTo>
                <a:lnTo>
                  <a:pt x="110" y="40"/>
                </a:lnTo>
                <a:lnTo>
                  <a:pt x="68" y="77"/>
                </a:lnTo>
                <a:lnTo>
                  <a:pt x="57" y="93"/>
                </a:lnTo>
                <a:lnTo>
                  <a:pt x="57" y="111"/>
                </a:lnTo>
                <a:lnTo>
                  <a:pt x="42" y="117"/>
                </a:lnTo>
                <a:lnTo>
                  <a:pt x="11" y="154"/>
                </a:lnTo>
                <a:lnTo>
                  <a:pt x="11" y="167"/>
                </a:lnTo>
                <a:lnTo>
                  <a:pt x="0" y="182"/>
                </a:lnTo>
                <a:lnTo>
                  <a:pt x="5" y="201"/>
                </a:lnTo>
                <a:lnTo>
                  <a:pt x="19" y="191"/>
                </a:lnTo>
                <a:lnTo>
                  <a:pt x="33" y="174"/>
                </a:lnTo>
                <a:lnTo>
                  <a:pt x="54" y="169"/>
                </a:lnTo>
                <a:lnTo>
                  <a:pt x="68" y="174"/>
                </a:lnTo>
                <a:lnTo>
                  <a:pt x="73" y="201"/>
                </a:lnTo>
                <a:lnTo>
                  <a:pt x="71" y="219"/>
                </a:lnTo>
                <a:lnTo>
                  <a:pt x="80" y="232"/>
                </a:lnTo>
                <a:lnTo>
                  <a:pt x="91" y="241"/>
                </a:lnTo>
                <a:lnTo>
                  <a:pt x="115" y="243"/>
                </a:lnTo>
                <a:lnTo>
                  <a:pt x="167" y="251"/>
                </a:lnTo>
                <a:lnTo>
                  <a:pt x="178" y="243"/>
                </a:lnTo>
                <a:lnTo>
                  <a:pt x="186" y="232"/>
                </a:lnTo>
                <a:lnTo>
                  <a:pt x="191" y="208"/>
                </a:lnTo>
                <a:lnTo>
                  <a:pt x="210" y="206"/>
                </a:lnTo>
                <a:lnTo>
                  <a:pt x="216" y="222"/>
                </a:lnTo>
                <a:lnTo>
                  <a:pt x="216" y="258"/>
                </a:lnTo>
                <a:lnTo>
                  <a:pt x="240" y="276"/>
                </a:lnTo>
                <a:lnTo>
                  <a:pt x="258" y="245"/>
                </a:lnTo>
                <a:lnTo>
                  <a:pt x="277" y="235"/>
                </a:lnTo>
                <a:lnTo>
                  <a:pt x="299" y="238"/>
                </a:lnTo>
                <a:lnTo>
                  <a:pt x="315" y="248"/>
                </a:lnTo>
                <a:lnTo>
                  <a:pt x="322" y="256"/>
                </a:lnTo>
                <a:lnTo>
                  <a:pt x="327" y="229"/>
                </a:lnTo>
                <a:lnTo>
                  <a:pt x="339" y="198"/>
                </a:lnTo>
                <a:lnTo>
                  <a:pt x="367" y="192"/>
                </a:lnTo>
                <a:lnTo>
                  <a:pt x="376" y="172"/>
                </a:lnTo>
                <a:lnTo>
                  <a:pt x="367" y="155"/>
                </a:lnTo>
                <a:lnTo>
                  <a:pt x="354" y="148"/>
                </a:lnTo>
                <a:lnTo>
                  <a:pt x="319" y="141"/>
                </a:lnTo>
                <a:lnTo>
                  <a:pt x="318" y="121"/>
                </a:lnTo>
                <a:lnTo>
                  <a:pt x="318" y="100"/>
                </a:lnTo>
                <a:lnTo>
                  <a:pt x="318" y="84"/>
                </a:lnTo>
                <a:lnTo>
                  <a:pt x="296" y="71"/>
                </a:lnTo>
                <a:lnTo>
                  <a:pt x="285" y="77"/>
                </a:lnTo>
                <a:lnTo>
                  <a:pt x="266" y="61"/>
                </a:lnTo>
                <a:lnTo>
                  <a:pt x="263" y="50"/>
                </a:lnTo>
                <a:lnTo>
                  <a:pt x="256" y="37"/>
                </a:lnTo>
                <a:lnTo>
                  <a:pt x="256" y="32"/>
                </a:lnTo>
                <a:lnTo>
                  <a:pt x="235" y="24"/>
                </a:lnTo>
                <a:lnTo>
                  <a:pt x="228" y="34"/>
                </a:lnTo>
                <a:lnTo>
                  <a:pt x="214" y="46"/>
                </a:lnTo>
                <a:lnTo>
                  <a:pt x="197" y="53"/>
                </a:lnTo>
                <a:close/>
              </a:path>
            </a:pathLst>
          </a:custGeom>
          <a:solidFill>
            <a:srgbClr val="FAFAFA"/>
          </a:solidFill>
          <a:ln w="3175">
            <a:solidFill>
              <a:schemeClr val="bg1"/>
            </a:solidFill>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eaLnBrk="0" fontAlgn="auto" hangingPunct="0">
              <a:spcBef>
                <a:spcPct val="50000"/>
              </a:spcBef>
              <a:spcAft>
                <a:spcPts val="0"/>
              </a:spcAft>
              <a:defRPr/>
            </a:pPr>
            <a:endParaRPr lang="de-CH" sz="1400" b="1" dirty="0">
              <a:solidFill>
                <a:schemeClr val="bg1"/>
              </a:solidFill>
            </a:endParaRPr>
          </a:p>
        </p:txBody>
      </p:sp>
      <p:sp>
        <p:nvSpPr>
          <p:cNvPr id="16" name="AT"/>
          <p:cNvSpPr>
            <a:spLocks/>
          </p:cNvSpPr>
          <p:nvPr/>
        </p:nvSpPr>
        <p:spPr bwMode="auto">
          <a:xfrm>
            <a:off x="5668963" y="4160838"/>
            <a:ext cx="846137" cy="342900"/>
          </a:xfrm>
          <a:custGeom>
            <a:avLst/>
            <a:gdLst>
              <a:gd name="T0" fmla="*/ 24 w 573"/>
              <a:gd name="T1" fmla="*/ 102 h 293"/>
              <a:gd name="T2" fmla="*/ 46 w 573"/>
              <a:gd name="T3" fmla="*/ 117 h 293"/>
              <a:gd name="T4" fmla="*/ 80 w 573"/>
              <a:gd name="T5" fmla="*/ 114 h 293"/>
              <a:gd name="T6" fmla="*/ 112 w 573"/>
              <a:gd name="T7" fmla="*/ 111 h 293"/>
              <a:gd name="T8" fmla="*/ 150 w 573"/>
              <a:gd name="T9" fmla="*/ 125 h 293"/>
              <a:gd name="T10" fmla="*/ 175 w 573"/>
              <a:gd name="T11" fmla="*/ 121 h 293"/>
              <a:gd name="T12" fmla="*/ 218 w 573"/>
              <a:gd name="T13" fmla="*/ 115 h 293"/>
              <a:gd name="T14" fmla="*/ 265 w 573"/>
              <a:gd name="T15" fmla="*/ 142 h 293"/>
              <a:gd name="T16" fmla="*/ 288 w 573"/>
              <a:gd name="T17" fmla="*/ 115 h 293"/>
              <a:gd name="T18" fmla="*/ 269 w 573"/>
              <a:gd name="T19" fmla="*/ 57 h 293"/>
              <a:gd name="T20" fmla="*/ 347 w 573"/>
              <a:gd name="T21" fmla="*/ 7 h 293"/>
              <a:gd name="T22" fmla="*/ 369 w 573"/>
              <a:gd name="T23" fmla="*/ 28 h 293"/>
              <a:gd name="T24" fmla="*/ 426 w 573"/>
              <a:gd name="T25" fmla="*/ 3 h 293"/>
              <a:gd name="T26" fmla="*/ 488 w 573"/>
              <a:gd name="T27" fmla="*/ 24 h 293"/>
              <a:gd name="T28" fmla="*/ 527 w 573"/>
              <a:gd name="T29" fmla="*/ 11 h 293"/>
              <a:gd name="T30" fmla="*/ 559 w 573"/>
              <a:gd name="T31" fmla="*/ 74 h 293"/>
              <a:gd name="T32" fmla="*/ 569 w 573"/>
              <a:gd name="T33" fmla="*/ 117 h 293"/>
              <a:gd name="T34" fmla="*/ 542 w 573"/>
              <a:gd name="T35" fmla="*/ 142 h 293"/>
              <a:gd name="T36" fmla="*/ 546 w 573"/>
              <a:gd name="T37" fmla="*/ 171 h 293"/>
              <a:gd name="T38" fmla="*/ 536 w 573"/>
              <a:gd name="T39" fmla="*/ 210 h 293"/>
              <a:gd name="T40" fmla="*/ 507 w 573"/>
              <a:gd name="T41" fmla="*/ 245 h 293"/>
              <a:gd name="T42" fmla="*/ 482 w 573"/>
              <a:gd name="T43" fmla="*/ 269 h 293"/>
              <a:gd name="T44" fmla="*/ 418 w 573"/>
              <a:gd name="T45" fmla="*/ 273 h 293"/>
              <a:gd name="T46" fmla="*/ 366 w 573"/>
              <a:gd name="T47" fmla="*/ 293 h 293"/>
              <a:gd name="T48" fmla="*/ 279 w 573"/>
              <a:gd name="T49" fmla="*/ 273 h 293"/>
              <a:gd name="T50" fmla="*/ 195 w 573"/>
              <a:gd name="T51" fmla="*/ 235 h 293"/>
              <a:gd name="T52" fmla="*/ 190 w 573"/>
              <a:gd name="T53" fmla="*/ 200 h 293"/>
              <a:gd name="T54" fmla="*/ 136 w 573"/>
              <a:gd name="T55" fmla="*/ 198 h 293"/>
              <a:gd name="T56" fmla="*/ 66 w 573"/>
              <a:gd name="T57" fmla="*/ 188 h 293"/>
              <a:gd name="T58" fmla="*/ 36 w 573"/>
              <a:gd name="T59" fmla="*/ 175 h 293"/>
              <a:gd name="T60" fmla="*/ 17 w 573"/>
              <a:gd name="T61" fmla="*/ 149 h 293"/>
              <a:gd name="T62" fmla="*/ 0 w 573"/>
              <a:gd name="T63" fmla="*/ 105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3" h="293">
                <a:moveTo>
                  <a:pt x="0" y="105"/>
                </a:moveTo>
                <a:lnTo>
                  <a:pt x="24" y="102"/>
                </a:lnTo>
                <a:lnTo>
                  <a:pt x="33" y="100"/>
                </a:lnTo>
                <a:lnTo>
                  <a:pt x="46" y="117"/>
                </a:lnTo>
                <a:lnTo>
                  <a:pt x="61" y="111"/>
                </a:lnTo>
                <a:lnTo>
                  <a:pt x="80" y="114"/>
                </a:lnTo>
                <a:lnTo>
                  <a:pt x="91" y="124"/>
                </a:lnTo>
                <a:lnTo>
                  <a:pt x="112" y="111"/>
                </a:lnTo>
                <a:lnTo>
                  <a:pt x="138" y="112"/>
                </a:lnTo>
                <a:lnTo>
                  <a:pt x="150" y="125"/>
                </a:lnTo>
                <a:lnTo>
                  <a:pt x="166" y="129"/>
                </a:lnTo>
                <a:lnTo>
                  <a:pt x="175" y="121"/>
                </a:lnTo>
                <a:lnTo>
                  <a:pt x="204" y="115"/>
                </a:lnTo>
                <a:lnTo>
                  <a:pt x="218" y="115"/>
                </a:lnTo>
                <a:lnTo>
                  <a:pt x="240" y="124"/>
                </a:lnTo>
                <a:lnTo>
                  <a:pt x="265" y="142"/>
                </a:lnTo>
                <a:lnTo>
                  <a:pt x="284" y="134"/>
                </a:lnTo>
                <a:lnTo>
                  <a:pt x="288" y="115"/>
                </a:lnTo>
                <a:lnTo>
                  <a:pt x="275" y="91"/>
                </a:lnTo>
                <a:lnTo>
                  <a:pt x="269" y="57"/>
                </a:lnTo>
                <a:lnTo>
                  <a:pt x="333" y="7"/>
                </a:lnTo>
                <a:lnTo>
                  <a:pt x="347" y="7"/>
                </a:lnTo>
                <a:lnTo>
                  <a:pt x="350" y="24"/>
                </a:lnTo>
                <a:lnTo>
                  <a:pt x="369" y="28"/>
                </a:lnTo>
                <a:lnTo>
                  <a:pt x="409" y="23"/>
                </a:lnTo>
                <a:lnTo>
                  <a:pt x="426" y="3"/>
                </a:lnTo>
                <a:lnTo>
                  <a:pt x="476" y="0"/>
                </a:lnTo>
                <a:lnTo>
                  <a:pt x="488" y="24"/>
                </a:lnTo>
                <a:lnTo>
                  <a:pt x="508" y="24"/>
                </a:lnTo>
                <a:lnTo>
                  <a:pt x="527" y="11"/>
                </a:lnTo>
                <a:lnTo>
                  <a:pt x="559" y="34"/>
                </a:lnTo>
                <a:lnTo>
                  <a:pt x="559" y="74"/>
                </a:lnTo>
                <a:lnTo>
                  <a:pt x="573" y="91"/>
                </a:lnTo>
                <a:lnTo>
                  <a:pt x="569" y="117"/>
                </a:lnTo>
                <a:lnTo>
                  <a:pt x="559" y="142"/>
                </a:lnTo>
                <a:lnTo>
                  <a:pt x="542" y="142"/>
                </a:lnTo>
                <a:lnTo>
                  <a:pt x="536" y="149"/>
                </a:lnTo>
                <a:lnTo>
                  <a:pt x="546" y="171"/>
                </a:lnTo>
                <a:lnTo>
                  <a:pt x="546" y="192"/>
                </a:lnTo>
                <a:lnTo>
                  <a:pt x="536" y="210"/>
                </a:lnTo>
                <a:lnTo>
                  <a:pt x="508" y="226"/>
                </a:lnTo>
                <a:lnTo>
                  <a:pt x="507" y="245"/>
                </a:lnTo>
                <a:lnTo>
                  <a:pt x="507" y="263"/>
                </a:lnTo>
                <a:lnTo>
                  <a:pt x="482" y="269"/>
                </a:lnTo>
                <a:lnTo>
                  <a:pt x="438" y="266"/>
                </a:lnTo>
                <a:lnTo>
                  <a:pt x="418" y="273"/>
                </a:lnTo>
                <a:lnTo>
                  <a:pt x="381" y="273"/>
                </a:lnTo>
                <a:lnTo>
                  <a:pt x="366" y="293"/>
                </a:lnTo>
                <a:lnTo>
                  <a:pt x="308" y="272"/>
                </a:lnTo>
                <a:lnTo>
                  <a:pt x="279" y="273"/>
                </a:lnTo>
                <a:lnTo>
                  <a:pt x="205" y="255"/>
                </a:lnTo>
                <a:lnTo>
                  <a:pt x="195" y="235"/>
                </a:lnTo>
                <a:lnTo>
                  <a:pt x="195" y="213"/>
                </a:lnTo>
                <a:lnTo>
                  <a:pt x="190" y="200"/>
                </a:lnTo>
                <a:lnTo>
                  <a:pt x="181" y="195"/>
                </a:lnTo>
                <a:lnTo>
                  <a:pt x="136" y="198"/>
                </a:lnTo>
                <a:lnTo>
                  <a:pt x="72" y="205"/>
                </a:lnTo>
                <a:lnTo>
                  <a:pt x="66" y="188"/>
                </a:lnTo>
                <a:lnTo>
                  <a:pt x="55" y="182"/>
                </a:lnTo>
                <a:lnTo>
                  <a:pt x="36" y="175"/>
                </a:lnTo>
                <a:lnTo>
                  <a:pt x="17" y="169"/>
                </a:lnTo>
                <a:lnTo>
                  <a:pt x="17" y="149"/>
                </a:lnTo>
                <a:lnTo>
                  <a:pt x="17" y="121"/>
                </a:lnTo>
                <a:lnTo>
                  <a:pt x="0" y="105"/>
                </a:lnTo>
                <a:close/>
              </a:path>
            </a:pathLst>
          </a:custGeom>
          <a:solidFill>
            <a:srgbClr val="FAFAFA"/>
          </a:solidFill>
          <a:ln w="3175">
            <a:solidFill>
              <a:schemeClr val="bg1"/>
            </a:solidFill>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ct val="50000"/>
              </a:spcBef>
              <a:spcAft>
                <a:spcPts val="0"/>
              </a:spcAft>
              <a:defRPr/>
            </a:pPr>
            <a:endParaRPr lang="de-CH" sz="1400" b="1" dirty="0">
              <a:solidFill>
                <a:schemeClr val="bg1"/>
              </a:solidFill>
            </a:endParaRPr>
          </a:p>
        </p:txBody>
      </p:sp>
      <p:sp>
        <p:nvSpPr>
          <p:cNvPr id="17" name="SI"/>
          <p:cNvSpPr>
            <a:spLocks/>
          </p:cNvSpPr>
          <p:nvPr/>
        </p:nvSpPr>
        <p:spPr bwMode="auto">
          <a:xfrm>
            <a:off x="6075363" y="4468813"/>
            <a:ext cx="369887" cy="203200"/>
          </a:xfrm>
          <a:custGeom>
            <a:avLst/>
            <a:gdLst>
              <a:gd name="T0" fmla="*/ 22 w 251"/>
              <a:gd name="T1" fmla="*/ 89 h 163"/>
              <a:gd name="T2" fmla="*/ 47 w 251"/>
              <a:gd name="T3" fmla="*/ 118 h 163"/>
              <a:gd name="T4" fmla="*/ 39 w 251"/>
              <a:gd name="T5" fmla="*/ 132 h 163"/>
              <a:gd name="T6" fmla="*/ 28 w 251"/>
              <a:gd name="T7" fmla="*/ 142 h 163"/>
              <a:gd name="T8" fmla="*/ 14 w 251"/>
              <a:gd name="T9" fmla="*/ 145 h 163"/>
              <a:gd name="T10" fmla="*/ 0 w 251"/>
              <a:gd name="T11" fmla="*/ 147 h 163"/>
              <a:gd name="T12" fmla="*/ 25 w 251"/>
              <a:gd name="T13" fmla="*/ 160 h 163"/>
              <a:gd name="T14" fmla="*/ 36 w 251"/>
              <a:gd name="T15" fmla="*/ 163 h 163"/>
              <a:gd name="T16" fmla="*/ 67 w 251"/>
              <a:gd name="T17" fmla="*/ 142 h 163"/>
              <a:gd name="T18" fmla="*/ 137 w 251"/>
              <a:gd name="T19" fmla="*/ 162 h 163"/>
              <a:gd name="T20" fmla="*/ 182 w 251"/>
              <a:gd name="T21" fmla="*/ 105 h 163"/>
              <a:gd name="T22" fmla="*/ 191 w 251"/>
              <a:gd name="T23" fmla="*/ 81 h 163"/>
              <a:gd name="T24" fmla="*/ 200 w 251"/>
              <a:gd name="T25" fmla="*/ 73 h 163"/>
              <a:gd name="T26" fmla="*/ 226 w 251"/>
              <a:gd name="T27" fmla="*/ 76 h 163"/>
              <a:gd name="T28" fmla="*/ 251 w 251"/>
              <a:gd name="T29" fmla="*/ 42 h 163"/>
              <a:gd name="T30" fmla="*/ 248 w 251"/>
              <a:gd name="T31" fmla="*/ 21 h 163"/>
              <a:gd name="T32" fmla="*/ 231 w 251"/>
              <a:gd name="T33" fmla="*/ 0 h 163"/>
              <a:gd name="T34" fmla="*/ 219 w 251"/>
              <a:gd name="T35" fmla="*/ 2 h 163"/>
              <a:gd name="T36" fmla="*/ 207 w 251"/>
              <a:gd name="T37" fmla="*/ 7 h 163"/>
              <a:gd name="T38" fmla="*/ 184 w 251"/>
              <a:gd name="T39" fmla="*/ 1 h 163"/>
              <a:gd name="T40" fmla="*/ 161 w 251"/>
              <a:gd name="T41" fmla="*/ 2 h 163"/>
              <a:gd name="T42" fmla="*/ 138 w 251"/>
              <a:gd name="T43" fmla="*/ 9 h 163"/>
              <a:gd name="T44" fmla="*/ 106 w 251"/>
              <a:gd name="T45" fmla="*/ 7 h 163"/>
              <a:gd name="T46" fmla="*/ 93 w 251"/>
              <a:gd name="T47" fmla="*/ 28 h 163"/>
              <a:gd name="T48" fmla="*/ 39 w 251"/>
              <a:gd name="T49" fmla="*/ 9 h 163"/>
              <a:gd name="T50" fmla="*/ 19 w 251"/>
              <a:gd name="T51" fmla="*/ 9 h 163"/>
              <a:gd name="T52" fmla="*/ 19 w 251"/>
              <a:gd name="T53" fmla="*/ 45 h 163"/>
              <a:gd name="T54" fmla="*/ 22 w 251"/>
              <a:gd name="T55" fmla="*/ 89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1" h="163">
                <a:moveTo>
                  <a:pt x="22" y="89"/>
                </a:moveTo>
                <a:lnTo>
                  <a:pt x="47" y="118"/>
                </a:lnTo>
                <a:lnTo>
                  <a:pt x="39" y="132"/>
                </a:lnTo>
                <a:lnTo>
                  <a:pt x="28" y="142"/>
                </a:lnTo>
                <a:lnTo>
                  <a:pt x="14" y="145"/>
                </a:lnTo>
                <a:lnTo>
                  <a:pt x="0" y="147"/>
                </a:lnTo>
                <a:lnTo>
                  <a:pt x="25" y="160"/>
                </a:lnTo>
                <a:lnTo>
                  <a:pt x="36" y="163"/>
                </a:lnTo>
                <a:lnTo>
                  <a:pt x="67" y="142"/>
                </a:lnTo>
                <a:lnTo>
                  <a:pt x="137" y="162"/>
                </a:lnTo>
                <a:lnTo>
                  <a:pt x="182" y="105"/>
                </a:lnTo>
                <a:lnTo>
                  <a:pt x="191" y="81"/>
                </a:lnTo>
                <a:lnTo>
                  <a:pt x="200" y="73"/>
                </a:lnTo>
                <a:lnTo>
                  <a:pt x="226" y="76"/>
                </a:lnTo>
                <a:lnTo>
                  <a:pt x="251" y="42"/>
                </a:lnTo>
                <a:lnTo>
                  <a:pt x="248" y="21"/>
                </a:lnTo>
                <a:lnTo>
                  <a:pt x="231" y="0"/>
                </a:lnTo>
                <a:lnTo>
                  <a:pt x="219" y="2"/>
                </a:lnTo>
                <a:lnTo>
                  <a:pt x="207" y="7"/>
                </a:lnTo>
                <a:lnTo>
                  <a:pt x="184" y="1"/>
                </a:lnTo>
                <a:lnTo>
                  <a:pt x="161" y="2"/>
                </a:lnTo>
                <a:lnTo>
                  <a:pt x="138" y="9"/>
                </a:lnTo>
                <a:lnTo>
                  <a:pt x="106" y="7"/>
                </a:lnTo>
                <a:lnTo>
                  <a:pt x="93" y="28"/>
                </a:lnTo>
                <a:lnTo>
                  <a:pt x="39" y="9"/>
                </a:lnTo>
                <a:lnTo>
                  <a:pt x="19" y="9"/>
                </a:lnTo>
                <a:lnTo>
                  <a:pt x="19" y="45"/>
                </a:lnTo>
                <a:lnTo>
                  <a:pt x="22" y="89"/>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8" name="BG"/>
          <p:cNvSpPr>
            <a:spLocks noChangeAspect="1"/>
          </p:cNvSpPr>
          <p:nvPr/>
        </p:nvSpPr>
        <p:spPr bwMode="auto">
          <a:xfrm>
            <a:off x="7159625" y="4818063"/>
            <a:ext cx="719138" cy="485775"/>
          </a:xfrm>
          <a:custGeom>
            <a:avLst/>
            <a:gdLst>
              <a:gd name="T0" fmla="*/ 9 w 485"/>
              <a:gd name="T1" fmla="*/ 56 h 398"/>
              <a:gd name="T2" fmla="*/ 3 w 485"/>
              <a:gd name="T3" fmla="*/ 84 h 398"/>
              <a:gd name="T4" fmla="*/ 36 w 485"/>
              <a:gd name="T5" fmla="*/ 117 h 398"/>
              <a:gd name="T6" fmla="*/ 38 w 485"/>
              <a:gd name="T7" fmla="*/ 164 h 398"/>
              <a:gd name="T8" fmla="*/ 8 w 485"/>
              <a:gd name="T9" fmla="*/ 191 h 398"/>
              <a:gd name="T10" fmla="*/ 12 w 485"/>
              <a:gd name="T11" fmla="*/ 225 h 398"/>
              <a:gd name="T12" fmla="*/ 8 w 485"/>
              <a:gd name="T13" fmla="*/ 263 h 398"/>
              <a:gd name="T14" fmla="*/ 12 w 485"/>
              <a:gd name="T15" fmla="*/ 296 h 398"/>
              <a:gd name="T16" fmla="*/ 38 w 485"/>
              <a:gd name="T17" fmla="*/ 315 h 398"/>
              <a:gd name="T18" fmla="*/ 39 w 485"/>
              <a:gd name="T19" fmla="*/ 362 h 398"/>
              <a:gd name="T20" fmla="*/ 56 w 485"/>
              <a:gd name="T21" fmla="*/ 398 h 398"/>
              <a:gd name="T22" fmla="*/ 138 w 485"/>
              <a:gd name="T23" fmla="*/ 374 h 398"/>
              <a:gd name="T24" fmla="*/ 188 w 485"/>
              <a:gd name="T25" fmla="*/ 334 h 398"/>
              <a:gd name="T26" fmla="*/ 226 w 485"/>
              <a:gd name="T27" fmla="*/ 359 h 398"/>
              <a:gd name="T28" fmla="*/ 262 w 485"/>
              <a:gd name="T29" fmla="*/ 371 h 398"/>
              <a:gd name="T30" fmla="*/ 307 w 485"/>
              <a:gd name="T31" fmla="*/ 353 h 398"/>
              <a:gd name="T32" fmla="*/ 309 w 485"/>
              <a:gd name="T33" fmla="*/ 312 h 398"/>
              <a:gd name="T34" fmla="*/ 342 w 485"/>
              <a:gd name="T35" fmla="*/ 312 h 398"/>
              <a:gd name="T36" fmla="*/ 359 w 485"/>
              <a:gd name="T37" fmla="*/ 300 h 398"/>
              <a:gd name="T38" fmla="*/ 424 w 485"/>
              <a:gd name="T39" fmla="*/ 278 h 398"/>
              <a:gd name="T40" fmla="*/ 447 w 485"/>
              <a:gd name="T41" fmla="*/ 248 h 398"/>
              <a:gd name="T42" fmla="*/ 414 w 485"/>
              <a:gd name="T43" fmla="*/ 208 h 398"/>
              <a:gd name="T44" fmla="*/ 429 w 485"/>
              <a:gd name="T45" fmla="*/ 177 h 398"/>
              <a:gd name="T46" fmla="*/ 441 w 485"/>
              <a:gd name="T47" fmla="*/ 158 h 398"/>
              <a:gd name="T48" fmla="*/ 450 w 485"/>
              <a:gd name="T49" fmla="*/ 117 h 398"/>
              <a:gd name="T50" fmla="*/ 460 w 485"/>
              <a:gd name="T51" fmla="*/ 74 h 398"/>
              <a:gd name="T52" fmla="*/ 485 w 485"/>
              <a:gd name="T53" fmla="*/ 56 h 398"/>
              <a:gd name="T54" fmla="*/ 471 w 485"/>
              <a:gd name="T55" fmla="*/ 13 h 398"/>
              <a:gd name="T56" fmla="*/ 405 w 485"/>
              <a:gd name="T57" fmla="*/ 3 h 398"/>
              <a:gd name="T58" fmla="*/ 336 w 485"/>
              <a:gd name="T59" fmla="*/ 9 h 398"/>
              <a:gd name="T60" fmla="*/ 270 w 485"/>
              <a:gd name="T61" fmla="*/ 46 h 398"/>
              <a:gd name="T62" fmla="*/ 218 w 485"/>
              <a:gd name="T63" fmla="*/ 71 h 398"/>
              <a:gd name="T64" fmla="*/ 150 w 485"/>
              <a:gd name="T65" fmla="*/ 77 h 398"/>
              <a:gd name="T66" fmla="*/ 105 w 485"/>
              <a:gd name="T67" fmla="*/ 74 h 398"/>
              <a:gd name="T68" fmla="*/ 52 w 485"/>
              <a:gd name="T69" fmla="*/ 53 h 398"/>
              <a:gd name="T70" fmla="*/ 12 w 485"/>
              <a:gd name="T71" fmla="*/ 47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5" h="398">
                <a:moveTo>
                  <a:pt x="12" y="47"/>
                </a:moveTo>
                <a:lnTo>
                  <a:pt x="9" y="56"/>
                </a:lnTo>
                <a:lnTo>
                  <a:pt x="0" y="66"/>
                </a:lnTo>
                <a:lnTo>
                  <a:pt x="3" y="84"/>
                </a:lnTo>
                <a:lnTo>
                  <a:pt x="17" y="114"/>
                </a:lnTo>
                <a:lnTo>
                  <a:pt x="36" y="117"/>
                </a:lnTo>
                <a:lnTo>
                  <a:pt x="39" y="130"/>
                </a:lnTo>
                <a:lnTo>
                  <a:pt x="38" y="164"/>
                </a:lnTo>
                <a:lnTo>
                  <a:pt x="31" y="174"/>
                </a:lnTo>
                <a:lnTo>
                  <a:pt x="8" y="191"/>
                </a:lnTo>
                <a:lnTo>
                  <a:pt x="5" y="199"/>
                </a:lnTo>
                <a:lnTo>
                  <a:pt x="12" y="225"/>
                </a:lnTo>
                <a:lnTo>
                  <a:pt x="14" y="245"/>
                </a:lnTo>
                <a:lnTo>
                  <a:pt x="8" y="263"/>
                </a:lnTo>
                <a:lnTo>
                  <a:pt x="0" y="278"/>
                </a:lnTo>
                <a:lnTo>
                  <a:pt x="12" y="296"/>
                </a:lnTo>
                <a:lnTo>
                  <a:pt x="22" y="293"/>
                </a:lnTo>
                <a:lnTo>
                  <a:pt x="38" y="315"/>
                </a:lnTo>
                <a:lnTo>
                  <a:pt x="39" y="334"/>
                </a:lnTo>
                <a:lnTo>
                  <a:pt x="39" y="362"/>
                </a:lnTo>
                <a:lnTo>
                  <a:pt x="38" y="374"/>
                </a:lnTo>
                <a:lnTo>
                  <a:pt x="56" y="398"/>
                </a:lnTo>
                <a:lnTo>
                  <a:pt x="94" y="390"/>
                </a:lnTo>
                <a:lnTo>
                  <a:pt x="138" y="374"/>
                </a:lnTo>
                <a:lnTo>
                  <a:pt x="171" y="352"/>
                </a:lnTo>
                <a:lnTo>
                  <a:pt x="188" y="334"/>
                </a:lnTo>
                <a:lnTo>
                  <a:pt x="209" y="367"/>
                </a:lnTo>
                <a:lnTo>
                  <a:pt x="226" y="359"/>
                </a:lnTo>
                <a:lnTo>
                  <a:pt x="248" y="367"/>
                </a:lnTo>
                <a:lnTo>
                  <a:pt x="262" y="371"/>
                </a:lnTo>
                <a:lnTo>
                  <a:pt x="290" y="359"/>
                </a:lnTo>
                <a:lnTo>
                  <a:pt x="307" y="353"/>
                </a:lnTo>
                <a:lnTo>
                  <a:pt x="307" y="337"/>
                </a:lnTo>
                <a:lnTo>
                  <a:pt x="309" y="312"/>
                </a:lnTo>
                <a:lnTo>
                  <a:pt x="323" y="303"/>
                </a:lnTo>
                <a:lnTo>
                  <a:pt x="342" y="312"/>
                </a:lnTo>
                <a:lnTo>
                  <a:pt x="345" y="322"/>
                </a:lnTo>
                <a:lnTo>
                  <a:pt x="359" y="300"/>
                </a:lnTo>
                <a:lnTo>
                  <a:pt x="394" y="282"/>
                </a:lnTo>
                <a:lnTo>
                  <a:pt x="424" y="278"/>
                </a:lnTo>
                <a:lnTo>
                  <a:pt x="452" y="278"/>
                </a:lnTo>
                <a:lnTo>
                  <a:pt x="447" y="248"/>
                </a:lnTo>
                <a:lnTo>
                  <a:pt x="443" y="232"/>
                </a:lnTo>
                <a:lnTo>
                  <a:pt x="414" y="208"/>
                </a:lnTo>
                <a:lnTo>
                  <a:pt x="413" y="201"/>
                </a:lnTo>
                <a:lnTo>
                  <a:pt x="429" y="177"/>
                </a:lnTo>
                <a:lnTo>
                  <a:pt x="446" y="172"/>
                </a:lnTo>
                <a:lnTo>
                  <a:pt x="441" y="158"/>
                </a:lnTo>
                <a:lnTo>
                  <a:pt x="450" y="133"/>
                </a:lnTo>
                <a:lnTo>
                  <a:pt x="450" y="117"/>
                </a:lnTo>
                <a:lnTo>
                  <a:pt x="455" y="87"/>
                </a:lnTo>
                <a:lnTo>
                  <a:pt x="460" y="74"/>
                </a:lnTo>
                <a:lnTo>
                  <a:pt x="476" y="77"/>
                </a:lnTo>
                <a:lnTo>
                  <a:pt x="485" y="56"/>
                </a:lnTo>
                <a:lnTo>
                  <a:pt x="476" y="37"/>
                </a:lnTo>
                <a:lnTo>
                  <a:pt x="471" y="13"/>
                </a:lnTo>
                <a:lnTo>
                  <a:pt x="460" y="16"/>
                </a:lnTo>
                <a:lnTo>
                  <a:pt x="405" y="3"/>
                </a:lnTo>
                <a:lnTo>
                  <a:pt x="370" y="0"/>
                </a:lnTo>
                <a:lnTo>
                  <a:pt x="336" y="9"/>
                </a:lnTo>
                <a:lnTo>
                  <a:pt x="305" y="24"/>
                </a:lnTo>
                <a:lnTo>
                  <a:pt x="270" y="46"/>
                </a:lnTo>
                <a:lnTo>
                  <a:pt x="243" y="68"/>
                </a:lnTo>
                <a:lnTo>
                  <a:pt x="218" y="71"/>
                </a:lnTo>
                <a:lnTo>
                  <a:pt x="183" y="64"/>
                </a:lnTo>
                <a:lnTo>
                  <a:pt x="150" y="77"/>
                </a:lnTo>
                <a:lnTo>
                  <a:pt x="129" y="83"/>
                </a:lnTo>
                <a:lnTo>
                  <a:pt x="105" y="74"/>
                </a:lnTo>
                <a:lnTo>
                  <a:pt x="71" y="59"/>
                </a:lnTo>
                <a:lnTo>
                  <a:pt x="52" y="53"/>
                </a:lnTo>
                <a:lnTo>
                  <a:pt x="25" y="47"/>
                </a:lnTo>
                <a:lnTo>
                  <a:pt x="12" y="47"/>
                </a:lnTo>
                <a:close/>
              </a:path>
            </a:pathLst>
          </a:custGeom>
          <a:solidFill>
            <a:srgbClr val="FAFAFA"/>
          </a:solidFill>
          <a:ln w="3175">
            <a:solidFill>
              <a:schemeClr val="bg1"/>
            </a:solidFill>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9" name="BE"/>
          <p:cNvSpPr>
            <a:spLocks noChangeAspect="1"/>
          </p:cNvSpPr>
          <p:nvPr/>
        </p:nvSpPr>
        <p:spPr bwMode="auto">
          <a:xfrm>
            <a:off x="5040313" y="3597275"/>
            <a:ext cx="388937" cy="307975"/>
          </a:xfrm>
          <a:custGeom>
            <a:avLst/>
            <a:gdLst>
              <a:gd name="T0" fmla="*/ 0 w 266"/>
              <a:gd name="T1" fmla="*/ 47 h 263"/>
              <a:gd name="T2" fmla="*/ 7 w 266"/>
              <a:gd name="T3" fmla="*/ 37 h 263"/>
              <a:gd name="T4" fmla="*/ 4 w 266"/>
              <a:gd name="T5" fmla="*/ 24 h 263"/>
              <a:gd name="T6" fmla="*/ 45 w 266"/>
              <a:gd name="T7" fmla="*/ 0 h 263"/>
              <a:gd name="T8" fmla="*/ 48 w 266"/>
              <a:gd name="T9" fmla="*/ 9 h 263"/>
              <a:gd name="T10" fmla="*/ 77 w 266"/>
              <a:gd name="T11" fmla="*/ 3 h 263"/>
              <a:gd name="T12" fmla="*/ 100 w 266"/>
              <a:gd name="T13" fmla="*/ 5 h 263"/>
              <a:gd name="T14" fmla="*/ 91 w 266"/>
              <a:gd name="T15" fmla="*/ 17 h 263"/>
              <a:gd name="T16" fmla="*/ 96 w 266"/>
              <a:gd name="T17" fmla="*/ 34 h 263"/>
              <a:gd name="T18" fmla="*/ 115 w 266"/>
              <a:gd name="T19" fmla="*/ 42 h 263"/>
              <a:gd name="T20" fmla="*/ 134 w 266"/>
              <a:gd name="T21" fmla="*/ 40 h 263"/>
              <a:gd name="T22" fmla="*/ 150 w 266"/>
              <a:gd name="T23" fmla="*/ 27 h 263"/>
              <a:gd name="T24" fmla="*/ 175 w 266"/>
              <a:gd name="T25" fmla="*/ 24 h 263"/>
              <a:gd name="T26" fmla="*/ 183 w 266"/>
              <a:gd name="T27" fmla="*/ 36 h 263"/>
              <a:gd name="T28" fmla="*/ 198 w 266"/>
              <a:gd name="T29" fmla="*/ 46 h 263"/>
              <a:gd name="T30" fmla="*/ 219 w 266"/>
              <a:gd name="T31" fmla="*/ 47 h 263"/>
              <a:gd name="T32" fmla="*/ 216 w 266"/>
              <a:gd name="T33" fmla="*/ 67 h 263"/>
              <a:gd name="T34" fmla="*/ 217 w 266"/>
              <a:gd name="T35" fmla="*/ 107 h 263"/>
              <a:gd name="T36" fmla="*/ 221 w 266"/>
              <a:gd name="T37" fmla="*/ 131 h 263"/>
              <a:gd name="T38" fmla="*/ 245 w 266"/>
              <a:gd name="T39" fmla="*/ 128 h 263"/>
              <a:gd name="T40" fmla="*/ 252 w 266"/>
              <a:gd name="T41" fmla="*/ 145 h 263"/>
              <a:gd name="T42" fmla="*/ 254 w 266"/>
              <a:gd name="T43" fmla="*/ 160 h 263"/>
              <a:gd name="T44" fmla="*/ 266 w 266"/>
              <a:gd name="T45" fmla="*/ 179 h 263"/>
              <a:gd name="T46" fmla="*/ 251 w 266"/>
              <a:gd name="T47" fmla="*/ 194 h 263"/>
              <a:gd name="T48" fmla="*/ 237 w 266"/>
              <a:gd name="T49" fmla="*/ 205 h 263"/>
              <a:gd name="T50" fmla="*/ 222 w 266"/>
              <a:gd name="T51" fmla="*/ 205 h 263"/>
              <a:gd name="T52" fmla="*/ 204 w 266"/>
              <a:gd name="T53" fmla="*/ 211 h 263"/>
              <a:gd name="T54" fmla="*/ 204 w 266"/>
              <a:gd name="T55" fmla="*/ 232 h 263"/>
              <a:gd name="T56" fmla="*/ 197 w 266"/>
              <a:gd name="T57" fmla="*/ 246 h 263"/>
              <a:gd name="T58" fmla="*/ 178 w 266"/>
              <a:gd name="T59" fmla="*/ 263 h 263"/>
              <a:gd name="T60" fmla="*/ 146 w 266"/>
              <a:gd name="T61" fmla="*/ 236 h 263"/>
              <a:gd name="T62" fmla="*/ 137 w 266"/>
              <a:gd name="T63" fmla="*/ 212 h 263"/>
              <a:gd name="T64" fmla="*/ 108 w 266"/>
              <a:gd name="T65" fmla="*/ 205 h 263"/>
              <a:gd name="T66" fmla="*/ 98 w 266"/>
              <a:gd name="T67" fmla="*/ 174 h 263"/>
              <a:gd name="T68" fmla="*/ 77 w 266"/>
              <a:gd name="T69" fmla="*/ 155 h 263"/>
              <a:gd name="T70" fmla="*/ 70 w 266"/>
              <a:gd name="T71" fmla="*/ 133 h 263"/>
              <a:gd name="T72" fmla="*/ 53 w 266"/>
              <a:gd name="T73" fmla="*/ 110 h 263"/>
              <a:gd name="T74" fmla="*/ 42 w 266"/>
              <a:gd name="T75" fmla="*/ 87 h 263"/>
              <a:gd name="T76" fmla="*/ 20 w 266"/>
              <a:gd name="T77" fmla="*/ 70 h 263"/>
              <a:gd name="T78" fmla="*/ 0 w 266"/>
              <a:gd name="T79" fmla="*/ 47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6" h="263">
                <a:moveTo>
                  <a:pt x="0" y="47"/>
                </a:moveTo>
                <a:lnTo>
                  <a:pt x="7" y="37"/>
                </a:lnTo>
                <a:lnTo>
                  <a:pt x="4" y="24"/>
                </a:lnTo>
                <a:lnTo>
                  <a:pt x="45" y="0"/>
                </a:lnTo>
                <a:lnTo>
                  <a:pt x="48" y="9"/>
                </a:lnTo>
                <a:lnTo>
                  <a:pt x="77" y="3"/>
                </a:lnTo>
                <a:lnTo>
                  <a:pt x="100" y="5"/>
                </a:lnTo>
                <a:lnTo>
                  <a:pt x="91" y="17"/>
                </a:lnTo>
                <a:lnTo>
                  <a:pt x="96" y="34"/>
                </a:lnTo>
                <a:lnTo>
                  <a:pt x="115" y="42"/>
                </a:lnTo>
                <a:lnTo>
                  <a:pt x="134" y="40"/>
                </a:lnTo>
                <a:lnTo>
                  <a:pt x="150" y="27"/>
                </a:lnTo>
                <a:lnTo>
                  <a:pt x="175" y="24"/>
                </a:lnTo>
                <a:lnTo>
                  <a:pt x="183" y="36"/>
                </a:lnTo>
                <a:lnTo>
                  <a:pt x="198" y="46"/>
                </a:lnTo>
                <a:lnTo>
                  <a:pt x="219" y="47"/>
                </a:lnTo>
                <a:lnTo>
                  <a:pt x="216" y="67"/>
                </a:lnTo>
                <a:lnTo>
                  <a:pt x="217" y="107"/>
                </a:lnTo>
                <a:lnTo>
                  <a:pt x="221" y="131"/>
                </a:lnTo>
                <a:lnTo>
                  <a:pt x="245" y="128"/>
                </a:lnTo>
                <a:lnTo>
                  <a:pt x="252" y="145"/>
                </a:lnTo>
                <a:lnTo>
                  <a:pt x="254" y="160"/>
                </a:lnTo>
                <a:lnTo>
                  <a:pt x="266" y="179"/>
                </a:lnTo>
                <a:lnTo>
                  <a:pt x="251" y="194"/>
                </a:lnTo>
                <a:lnTo>
                  <a:pt x="237" y="205"/>
                </a:lnTo>
                <a:lnTo>
                  <a:pt x="222" y="205"/>
                </a:lnTo>
                <a:lnTo>
                  <a:pt x="204" y="211"/>
                </a:lnTo>
                <a:lnTo>
                  <a:pt x="204" y="232"/>
                </a:lnTo>
                <a:lnTo>
                  <a:pt x="197" y="246"/>
                </a:lnTo>
                <a:lnTo>
                  <a:pt x="178" y="263"/>
                </a:lnTo>
                <a:lnTo>
                  <a:pt x="146" y="236"/>
                </a:lnTo>
                <a:lnTo>
                  <a:pt x="137" y="212"/>
                </a:lnTo>
                <a:lnTo>
                  <a:pt x="108" y="205"/>
                </a:lnTo>
                <a:lnTo>
                  <a:pt x="98" y="174"/>
                </a:lnTo>
                <a:lnTo>
                  <a:pt x="77" y="155"/>
                </a:lnTo>
                <a:lnTo>
                  <a:pt x="70" y="133"/>
                </a:lnTo>
                <a:lnTo>
                  <a:pt x="53" y="110"/>
                </a:lnTo>
                <a:lnTo>
                  <a:pt x="42" y="87"/>
                </a:lnTo>
                <a:lnTo>
                  <a:pt x="20" y="70"/>
                </a:lnTo>
                <a:lnTo>
                  <a:pt x="0" y="47"/>
                </a:lnTo>
                <a:close/>
              </a:path>
            </a:pathLst>
          </a:custGeom>
          <a:solidFill>
            <a:srgbClr val="FAFAFA"/>
          </a:solidFill>
          <a:ln w="3175">
            <a:solidFill>
              <a:schemeClr val="bg1"/>
            </a:solidFill>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ct val="50000"/>
              </a:spcBef>
              <a:spcAft>
                <a:spcPts val="0"/>
              </a:spcAft>
              <a:defRPr/>
            </a:pPr>
            <a:endParaRPr lang="de-CH" sz="1400" b="1" dirty="0">
              <a:solidFill>
                <a:schemeClr val="bg1"/>
              </a:solidFill>
            </a:endParaRPr>
          </a:p>
        </p:txBody>
      </p:sp>
      <p:sp>
        <p:nvSpPr>
          <p:cNvPr id="20" name="LU"/>
          <p:cNvSpPr>
            <a:spLocks noChangeAspect="1"/>
          </p:cNvSpPr>
          <p:nvPr/>
        </p:nvSpPr>
        <p:spPr bwMode="auto">
          <a:xfrm>
            <a:off x="5294313" y="3835400"/>
            <a:ext cx="109537" cy="119063"/>
          </a:xfrm>
          <a:custGeom>
            <a:avLst/>
            <a:gdLst>
              <a:gd name="T0" fmla="*/ 52 w 73"/>
              <a:gd name="T1" fmla="*/ 101 h 101"/>
              <a:gd name="T2" fmla="*/ 56 w 73"/>
              <a:gd name="T3" fmla="*/ 68 h 101"/>
              <a:gd name="T4" fmla="*/ 73 w 73"/>
              <a:gd name="T5" fmla="*/ 56 h 101"/>
              <a:gd name="T6" fmla="*/ 73 w 73"/>
              <a:gd name="T7" fmla="*/ 40 h 101"/>
              <a:gd name="T8" fmla="*/ 64 w 73"/>
              <a:gd name="T9" fmla="*/ 29 h 101"/>
              <a:gd name="T10" fmla="*/ 55 w 73"/>
              <a:gd name="T11" fmla="*/ 13 h 101"/>
              <a:gd name="T12" fmla="*/ 50 w 73"/>
              <a:gd name="T13" fmla="*/ 0 h 101"/>
              <a:gd name="T14" fmla="*/ 33 w 73"/>
              <a:gd name="T15" fmla="*/ 0 h 101"/>
              <a:gd name="T16" fmla="*/ 22 w 73"/>
              <a:gd name="T17" fmla="*/ 6 h 101"/>
              <a:gd name="T18" fmla="*/ 22 w 73"/>
              <a:gd name="T19" fmla="*/ 27 h 101"/>
              <a:gd name="T20" fmla="*/ 12 w 73"/>
              <a:gd name="T21" fmla="*/ 46 h 101"/>
              <a:gd name="T22" fmla="*/ 0 w 73"/>
              <a:gd name="T23" fmla="*/ 51 h 101"/>
              <a:gd name="T24" fmla="*/ 5 w 73"/>
              <a:gd name="T25" fmla="*/ 67 h 101"/>
              <a:gd name="T26" fmla="*/ 21 w 73"/>
              <a:gd name="T27" fmla="*/ 71 h 101"/>
              <a:gd name="T28" fmla="*/ 36 w 73"/>
              <a:gd name="T29" fmla="*/ 75 h 101"/>
              <a:gd name="T30" fmla="*/ 45 w 73"/>
              <a:gd name="T31" fmla="*/ 85 h 101"/>
              <a:gd name="T32" fmla="*/ 52 w 73"/>
              <a:gd name="T33"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101">
                <a:moveTo>
                  <a:pt x="52" y="101"/>
                </a:moveTo>
                <a:lnTo>
                  <a:pt x="56" y="68"/>
                </a:lnTo>
                <a:lnTo>
                  <a:pt x="73" y="56"/>
                </a:lnTo>
                <a:lnTo>
                  <a:pt x="73" y="40"/>
                </a:lnTo>
                <a:lnTo>
                  <a:pt x="64" y="29"/>
                </a:lnTo>
                <a:lnTo>
                  <a:pt x="55" y="13"/>
                </a:lnTo>
                <a:lnTo>
                  <a:pt x="50" y="0"/>
                </a:lnTo>
                <a:lnTo>
                  <a:pt x="33" y="0"/>
                </a:lnTo>
                <a:lnTo>
                  <a:pt x="22" y="6"/>
                </a:lnTo>
                <a:lnTo>
                  <a:pt x="22" y="27"/>
                </a:lnTo>
                <a:lnTo>
                  <a:pt x="12" y="46"/>
                </a:lnTo>
                <a:lnTo>
                  <a:pt x="0" y="51"/>
                </a:lnTo>
                <a:lnTo>
                  <a:pt x="5" y="67"/>
                </a:lnTo>
                <a:lnTo>
                  <a:pt x="21" y="71"/>
                </a:lnTo>
                <a:lnTo>
                  <a:pt x="36" y="75"/>
                </a:lnTo>
                <a:lnTo>
                  <a:pt x="45" y="85"/>
                </a:lnTo>
                <a:lnTo>
                  <a:pt x="52" y="101"/>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21" name="NL"/>
          <p:cNvSpPr>
            <a:spLocks noChangeAspect="1"/>
          </p:cNvSpPr>
          <p:nvPr/>
        </p:nvSpPr>
        <p:spPr bwMode="auto">
          <a:xfrm>
            <a:off x="5165725" y="3370263"/>
            <a:ext cx="404813" cy="385762"/>
          </a:xfrm>
          <a:custGeom>
            <a:avLst/>
            <a:gdLst>
              <a:gd name="T0" fmla="*/ 112 w 271"/>
              <a:gd name="T1" fmla="*/ 9 h 323"/>
              <a:gd name="T2" fmla="*/ 85 w 271"/>
              <a:gd name="T3" fmla="*/ 47 h 323"/>
              <a:gd name="T4" fmla="*/ 85 w 271"/>
              <a:gd name="T5" fmla="*/ 59 h 323"/>
              <a:gd name="T6" fmla="*/ 68 w 271"/>
              <a:gd name="T7" fmla="*/ 77 h 323"/>
              <a:gd name="T8" fmla="*/ 71 w 271"/>
              <a:gd name="T9" fmla="*/ 81 h 323"/>
              <a:gd name="T10" fmla="*/ 66 w 271"/>
              <a:gd name="T11" fmla="*/ 94 h 323"/>
              <a:gd name="T12" fmla="*/ 49 w 271"/>
              <a:gd name="T13" fmla="*/ 113 h 323"/>
              <a:gd name="T14" fmla="*/ 33 w 271"/>
              <a:gd name="T15" fmla="*/ 134 h 323"/>
              <a:gd name="T16" fmla="*/ 26 w 271"/>
              <a:gd name="T17" fmla="*/ 145 h 323"/>
              <a:gd name="T18" fmla="*/ 33 w 271"/>
              <a:gd name="T19" fmla="*/ 155 h 323"/>
              <a:gd name="T20" fmla="*/ 28 w 271"/>
              <a:gd name="T21" fmla="*/ 171 h 323"/>
              <a:gd name="T22" fmla="*/ 19 w 271"/>
              <a:gd name="T23" fmla="*/ 184 h 323"/>
              <a:gd name="T24" fmla="*/ 11 w 271"/>
              <a:gd name="T25" fmla="*/ 189 h 323"/>
              <a:gd name="T26" fmla="*/ 0 w 271"/>
              <a:gd name="T27" fmla="*/ 205 h 323"/>
              <a:gd name="T28" fmla="*/ 1 w 271"/>
              <a:gd name="T29" fmla="*/ 221 h 323"/>
              <a:gd name="T30" fmla="*/ 14 w 271"/>
              <a:gd name="T31" fmla="*/ 229 h 323"/>
              <a:gd name="T32" fmla="*/ 44 w 271"/>
              <a:gd name="T33" fmla="*/ 229 h 323"/>
              <a:gd name="T34" fmla="*/ 62 w 271"/>
              <a:gd name="T35" fmla="*/ 218 h 323"/>
              <a:gd name="T36" fmla="*/ 79 w 271"/>
              <a:gd name="T37" fmla="*/ 215 h 323"/>
              <a:gd name="T38" fmla="*/ 93 w 271"/>
              <a:gd name="T39" fmla="*/ 229 h 323"/>
              <a:gd name="T40" fmla="*/ 107 w 271"/>
              <a:gd name="T41" fmla="*/ 236 h 323"/>
              <a:gd name="T42" fmla="*/ 126 w 271"/>
              <a:gd name="T43" fmla="*/ 239 h 323"/>
              <a:gd name="T44" fmla="*/ 121 w 271"/>
              <a:gd name="T45" fmla="*/ 263 h 323"/>
              <a:gd name="T46" fmla="*/ 128 w 271"/>
              <a:gd name="T47" fmla="*/ 323 h 323"/>
              <a:gd name="T48" fmla="*/ 144 w 271"/>
              <a:gd name="T49" fmla="*/ 322 h 323"/>
              <a:gd name="T50" fmla="*/ 154 w 271"/>
              <a:gd name="T51" fmla="*/ 320 h 323"/>
              <a:gd name="T52" fmla="*/ 158 w 271"/>
              <a:gd name="T53" fmla="*/ 303 h 323"/>
              <a:gd name="T54" fmla="*/ 161 w 271"/>
              <a:gd name="T55" fmla="*/ 268 h 323"/>
              <a:gd name="T56" fmla="*/ 173 w 271"/>
              <a:gd name="T57" fmla="*/ 249 h 323"/>
              <a:gd name="T58" fmla="*/ 173 w 271"/>
              <a:gd name="T59" fmla="*/ 218 h 323"/>
              <a:gd name="T60" fmla="*/ 183 w 271"/>
              <a:gd name="T61" fmla="*/ 199 h 323"/>
              <a:gd name="T62" fmla="*/ 204 w 271"/>
              <a:gd name="T63" fmla="*/ 189 h 323"/>
              <a:gd name="T64" fmla="*/ 243 w 271"/>
              <a:gd name="T65" fmla="*/ 140 h 323"/>
              <a:gd name="T66" fmla="*/ 248 w 271"/>
              <a:gd name="T67" fmla="*/ 118 h 323"/>
              <a:gd name="T68" fmla="*/ 242 w 271"/>
              <a:gd name="T69" fmla="*/ 84 h 323"/>
              <a:gd name="T70" fmla="*/ 267 w 271"/>
              <a:gd name="T71" fmla="*/ 61 h 323"/>
              <a:gd name="T72" fmla="*/ 271 w 271"/>
              <a:gd name="T73" fmla="*/ 23 h 323"/>
              <a:gd name="T74" fmla="*/ 253 w 271"/>
              <a:gd name="T75" fmla="*/ 6 h 323"/>
              <a:gd name="T76" fmla="*/ 242 w 271"/>
              <a:gd name="T77" fmla="*/ 3 h 323"/>
              <a:gd name="T78" fmla="*/ 220 w 271"/>
              <a:gd name="T79" fmla="*/ 0 h 323"/>
              <a:gd name="T80" fmla="*/ 173 w 271"/>
              <a:gd name="T81" fmla="*/ 0 h 323"/>
              <a:gd name="T82" fmla="*/ 159 w 271"/>
              <a:gd name="T83" fmla="*/ 13 h 323"/>
              <a:gd name="T84" fmla="*/ 148 w 271"/>
              <a:gd name="T85" fmla="*/ 29 h 323"/>
              <a:gd name="T86" fmla="*/ 150 w 271"/>
              <a:gd name="T87" fmla="*/ 43 h 323"/>
              <a:gd name="T88" fmla="*/ 167 w 271"/>
              <a:gd name="T89" fmla="*/ 56 h 323"/>
              <a:gd name="T90" fmla="*/ 178 w 271"/>
              <a:gd name="T91" fmla="*/ 71 h 323"/>
              <a:gd name="T92" fmla="*/ 178 w 271"/>
              <a:gd name="T93" fmla="*/ 93 h 323"/>
              <a:gd name="T94" fmla="*/ 159 w 271"/>
              <a:gd name="T95" fmla="*/ 108 h 323"/>
              <a:gd name="T96" fmla="*/ 140 w 271"/>
              <a:gd name="T97" fmla="*/ 113 h 323"/>
              <a:gd name="T98" fmla="*/ 126 w 271"/>
              <a:gd name="T99" fmla="*/ 115 h 323"/>
              <a:gd name="T100" fmla="*/ 120 w 271"/>
              <a:gd name="T101" fmla="*/ 103 h 323"/>
              <a:gd name="T102" fmla="*/ 115 w 271"/>
              <a:gd name="T103" fmla="*/ 84 h 323"/>
              <a:gd name="T104" fmla="*/ 124 w 271"/>
              <a:gd name="T105" fmla="*/ 69 h 323"/>
              <a:gd name="T106" fmla="*/ 121 w 271"/>
              <a:gd name="T107" fmla="*/ 50 h 323"/>
              <a:gd name="T108" fmla="*/ 120 w 271"/>
              <a:gd name="T109" fmla="*/ 32 h 323"/>
              <a:gd name="T110" fmla="*/ 112 w 271"/>
              <a:gd name="T111" fmla="*/ 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1" h="323">
                <a:moveTo>
                  <a:pt x="112" y="9"/>
                </a:moveTo>
                <a:lnTo>
                  <a:pt x="85" y="47"/>
                </a:lnTo>
                <a:lnTo>
                  <a:pt x="85" y="59"/>
                </a:lnTo>
                <a:lnTo>
                  <a:pt x="68" y="77"/>
                </a:lnTo>
                <a:lnTo>
                  <a:pt x="71" y="81"/>
                </a:lnTo>
                <a:lnTo>
                  <a:pt x="66" y="94"/>
                </a:lnTo>
                <a:lnTo>
                  <a:pt x="49" y="113"/>
                </a:lnTo>
                <a:lnTo>
                  <a:pt x="33" y="134"/>
                </a:lnTo>
                <a:lnTo>
                  <a:pt x="26" y="145"/>
                </a:lnTo>
                <a:lnTo>
                  <a:pt x="33" y="155"/>
                </a:lnTo>
                <a:lnTo>
                  <a:pt x="28" y="171"/>
                </a:lnTo>
                <a:lnTo>
                  <a:pt x="19" y="184"/>
                </a:lnTo>
                <a:lnTo>
                  <a:pt x="11" y="189"/>
                </a:lnTo>
                <a:lnTo>
                  <a:pt x="0" y="205"/>
                </a:lnTo>
                <a:lnTo>
                  <a:pt x="1" y="221"/>
                </a:lnTo>
                <a:lnTo>
                  <a:pt x="14" y="229"/>
                </a:lnTo>
                <a:lnTo>
                  <a:pt x="44" y="229"/>
                </a:lnTo>
                <a:lnTo>
                  <a:pt x="62" y="218"/>
                </a:lnTo>
                <a:lnTo>
                  <a:pt x="79" y="215"/>
                </a:lnTo>
                <a:lnTo>
                  <a:pt x="93" y="229"/>
                </a:lnTo>
                <a:lnTo>
                  <a:pt x="107" y="236"/>
                </a:lnTo>
                <a:lnTo>
                  <a:pt x="126" y="239"/>
                </a:lnTo>
                <a:lnTo>
                  <a:pt x="121" y="263"/>
                </a:lnTo>
                <a:lnTo>
                  <a:pt x="128" y="323"/>
                </a:lnTo>
                <a:lnTo>
                  <a:pt x="144" y="322"/>
                </a:lnTo>
                <a:lnTo>
                  <a:pt x="154" y="320"/>
                </a:lnTo>
                <a:lnTo>
                  <a:pt x="158" y="303"/>
                </a:lnTo>
                <a:lnTo>
                  <a:pt x="161" y="268"/>
                </a:lnTo>
                <a:lnTo>
                  <a:pt x="173" y="249"/>
                </a:lnTo>
                <a:lnTo>
                  <a:pt x="173" y="218"/>
                </a:lnTo>
                <a:lnTo>
                  <a:pt x="183" y="199"/>
                </a:lnTo>
                <a:lnTo>
                  <a:pt x="204" y="189"/>
                </a:lnTo>
                <a:lnTo>
                  <a:pt x="243" y="140"/>
                </a:lnTo>
                <a:lnTo>
                  <a:pt x="248" y="118"/>
                </a:lnTo>
                <a:lnTo>
                  <a:pt x="242" y="84"/>
                </a:lnTo>
                <a:lnTo>
                  <a:pt x="267" y="61"/>
                </a:lnTo>
                <a:lnTo>
                  <a:pt x="271" y="23"/>
                </a:lnTo>
                <a:lnTo>
                  <a:pt x="253" y="6"/>
                </a:lnTo>
                <a:lnTo>
                  <a:pt x="242" y="3"/>
                </a:lnTo>
                <a:lnTo>
                  <a:pt x="220" y="0"/>
                </a:lnTo>
                <a:lnTo>
                  <a:pt x="173" y="0"/>
                </a:lnTo>
                <a:lnTo>
                  <a:pt x="159" y="13"/>
                </a:lnTo>
                <a:lnTo>
                  <a:pt x="148" y="29"/>
                </a:lnTo>
                <a:lnTo>
                  <a:pt x="150" y="43"/>
                </a:lnTo>
                <a:lnTo>
                  <a:pt x="167" y="56"/>
                </a:lnTo>
                <a:lnTo>
                  <a:pt x="178" y="71"/>
                </a:lnTo>
                <a:lnTo>
                  <a:pt x="178" y="93"/>
                </a:lnTo>
                <a:lnTo>
                  <a:pt x="159" y="108"/>
                </a:lnTo>
                <a:lnTo>
                  <a:pt x="140" y="113"/>
                </a:lnTo>
                <a:lnTo>
                  <a:pt x="126" y="115"/>
                </a:lnTo>
                <a:lnTo>
                  <a:pt x="120" y="103"/>
                </a:lnTo>
                <a:lnTo>
                  <a:pt x="115" y="84"/>
                </a:lnTo>
                <a:lnTo>
                  <a:pt x="124" y="69"/>
                </a:lnTo>
                <a:lnTo>
                  <a:pt x="121" y="50"/>
                </a:lnTo>
                <a:lnTo>
                  <a:pt x="120" y="32"/>
                </a:lnTo>
                <a:lnTo>
                  <a:pt x="112" y="9"/>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22" name="CZ"/>
          <p:cNvSpPr>
            <a:spLocks/>
          </p:cNvSpPr>
          <p:nvPr/>
        </p:nvSpPr>
        <p:spPr bwMode="auto">
          <a:xfrm>
            <a:off x="5992813" y="3833813"/>
            <a:ext cx="760412" cy="368300"/>
          </a:xfrm>
          <a:custGeom>
            <a:avLst/>
            <a:gdLst>
              <a:gd name="T0" fmla="*/ 126 w 510"/>
              <a:gd name="T1" fmla="*/ 298 h 311"/>
              <a:gd name="T2" fmla="*/ 122 w 510"/>
              <a:gd name="T3" fmla="*/ 281 h 311"/>
              <a:gd name="T4" fmla="*/ 106 w 510"/>
              <a:gd name="T5" fmla="*/ 271 h 311"/>
              <a:gd name="T6" fmla="*/ 46 w 510"/>
              <a:gd name="T7" fmla="*/ 210 h 311"/>
              <a:gd name="T8" fmla="*/ 42 w 510"/>
              <a:gd name="T9" fmla="*/ 179 h 311"/>
              <a:gd name="T10" fmla="*/ 16 w 510"/>
              <a:gd name="T11" fmla="*/ 175 h 311"/>
              <a:gd name="T12" fmla="*/ 17 w 510"/>
              <a:gd name="T13" fmla="*/ 145 h 311"/>
              <a:gd name="T14" fmla="*/ 8 w 510"/>
              <a:gd name="T15" fmla="*/ 116 h 311"/>
              <a:gd name="T16" fmla="*/ 0 w 510"/>
              <a:gd name="T17" fmla="*/ 101 h 311"/>
              <a:gd name="T18" fmla="*/ 6 w 510"/>
              <a:gd name="T19" fmla="*/ 83 h 311"/>
              <a:gd name="T20" fmla="*/ 24 w 510"/>
              <a:gd name="T21" fmla="*/ 83 h 311"/>
              <a:gd name="T22" fmla="*/ 57 w 510"/>
              <a:gd name="T23" fmla="*/ 75 h 311"/>
              <a:gd name="T24" fmla="*/ 160 w 510"/>
              <a:gd name="T25" fmla="*/ 15 h 311"/>
              <a:gd name="T26" fmla="*/ 182 w 510"/>
              <a:gd name="T27" fmla="*/ 0 h 311"/>
              <a:gd name="T28" fmla="*/ 195 w 510"/>
              <a:gd name="T29" fmla="*/ 18 h 311"/>
              <a:gd name="T30" fmla="*/ 217 w 510"/>
              <a:gd name="T31" fmla="*/ 8 h 311"/>
              <a:gd name="T32" fmla="*/ 237 w 510"/>
              <a:gd name="T33" fmla="*/ 10 h 311"/>
              <a:gd name="T34" fmla="*/ 250 w 510"/>
              <a:gd name="T35" fmla="*/ 19 h 311"/>
              <a:gd name="T36" fmla="*/ 250 w 510"/>
              <a:gd name="T37" fmla="*/ 47 h 311"/>
              <a:gd name="T38" fmla="*/ 287 w 510"/>
              <a:gd name="T39" fmla="*/ 74 h 311"/>
              <a:gd name="T40" fmla="*/ 289 w 510"/>
              <a:gd name="T41" fmla="*/ 92 h 311"/>
              <a:gd name="T42" fmla="*/ 303 w 510"/>
              <a:gd name="T43" fmla="*/ 113 h 311"/>
              <a:gd name="T44" fmla="*/ 313 w 510"/>
              <a:gd name="T45" fmla="*/ 122 h 311"/>
              <a:gd name="T46" fmla="*/ 320 w 510"/>
              <a:gd name="T47" fmla="*/ 113 h 311"/>
              <a:gd name="T48" fmla="*/ 346 w 510"/>
              <a:gd name="T49" fmla="*/ 98 h 311"/>
              <a:gd name="T50" fmla="*/ 358 w 510"/>
              <a:gd name="T51" fmla="*/ 101 h 311"/>
              <a:gd name="T52" fmla="*/ 390 w 510"/>
              <a:gd name="T53" fmla="*/ 142 h 311"/>
              <a:gd name="T54" fmla="*/ 398 w 510"/>
              <a:gd name="T55" fmla="*/ 140 h 311"/>
              <a:gd name="T56" fmla="*/ 432 w 510"/>
              <a:gd name="T57" fmla="*/ 163 h 311"/>
              <a:gd name="T58" fmla="*/ 483 w 510"/>
              <a:gd name="T59" fmla="*/ 160 h 311"/>
              <a:gd name="T60" fmla="*/ 510 w 510"/>
              <a:gd name="T61" fmla="*/ 179 h 311"/>
              <a:gd name="T62" fmla="*/ 454 w 510"/>
              <a:gd name="T63" fmla="*/ 213 h 311"/>
              <a:gd name="T64" fmla="*/ 451 w 510"/>
              <a:gd name="T65" fmla="*/ 256 h 311"/>
              <a:gd name="T66" fmla="*/ 417 w 510"/>
              <a:gd name="T67" fmla="*/ 291 h 311"/>
              <a:gd name="T68" fmla="*/ 380 w 510"/>
              <a:gd name="T69" fmla="*/ 290 h 311"/>
              <a:gd name="T70" fmla="*/ 360 w 510"/>
              <a:gd name="T71" fmla="*/ 300 h 311"/>
              <a:gd name="T72" fmla="*/ 335 w 510"/>
              <a:gd name="T73" fmla="*/ 311 h 311"/>
              <a:gd name="T74" fmla="*/ 303 w 510"/>
              <a:gd name="T75" fmla="*/ 288 h 311"/>
              <a:gd name="T76" fmla="*/ 283 w 510"/>
              <a:gd name="T77" fmla="*/ 300 h 311"/>
              <a:gd name="T78" fmla="*/ 265 w 510"/>
              <a:gd name="T79" fmla="*/ 304 h 311"/>
              <a:gd name="T80" fmla="*/ 250 w 510"/>
              <a:gd name="T81" fmla="*/ 277 h 311"/>
              <a:gd name="T82" fmla="*/ 206 w 510"/>
              <a:gd name="T83" fmla="*/ 278 h 311"/>
              <a:gd name="T84" fmla="*/ 192 w 510"/>
              <a:gd name="T85" fmla="*/ 290 h 311"/>
              <a:gd name="T86" fmla="*/ 182 w 510"/>
              <a:gd name="T87" fmla="*/ 301 h 311"/>
              <a:gd name="T88" fmla="*/ 163 w 510"/>
              <a:gd name="T89" fmla="*/ 301 h 311"/>
              <a:gd name="T90" fmla="*/ 142 w 510"/>
              <a:gd name="T91" fmla="*/ 305 h 311"/>
              <a:gd name="T92" fmla="*/ 126 w 510"/>
              <a:gd name="T93" fmla="*/ 29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0" h="311">
                <a:moveTo>
                  <a:pt x="126" y="298"/>
                </a:moveTo>
                <a:lnTo>
                  <a:pt x="122" y="281"/>
                </a:lnTo>
                <a:lnTo>
                  <a:pt x="106" y="271"/>
                </a:lnTo>
                <a:lnTo>
                  <a:pt x="46" y="210"/>
                </a:lnTo>
                <a:lnTo>
                  <a:pt x="42" y="179"/>
                </a:lnTo>
                <a:lnTo>
                  <a:pt x="16" y="175"/>
                </a:lnTo>
                <a:lnTo>
                  <a:pt x="17" y="145"/>
                </a:lnTo>
                <a:lnTo>
                  <a:pt x="8" y="116"/>
                </a:lnTo>
                <a:lnTo>
                  <a:pt x="0" y="101"/>
                </a:lnTo>
                <a:lnTo>
                  <a:pt x="6" y="83"/>
                </a:lnTo>
                <a:lnTo>
                  <a:pt x="24" y="83"/>
                </a:lnTo>
                <a:lnTo>
                  <a:pt x="57" y="75"/>
                </a:lnTo>
                <a:lnTo>
                  <a:pt x="160" y="15"/>
                </a:lnTo>
                <a:lnTo>
                  <a:pt x="182" y="0"/>
                </a:lnTo>
                <a:lnTo>
                  <a:pt x="195" y="18"/>
                </a:lnTo>
                <a:lnTo>
                  <a:pt x="217" y="8"/>
                </a:lnTo>
                <a:lnTo>
                  <a:pt x="237" y="10"/>
                </a:lnTo>
                <a:lnTo>
                  <a:pt x="250" y="19"/>
                </a:lnTo>
                <a:lnTo>
                  <a:pt x="250" y="47"/>
                </a:lnTo>
                <a:lnTo>
                  <a:pt x="287" y="74"/>
                </a:lnTo>
                <a:lnTo>
                  <a:pt x="289" y="92"/>
                </a:lnTo>
                <a:lnTo>
                  <a:pt x="303" y="113"/>
                </a:lnTo>
                <a:lnTo>
                  <a:pt x="313" y="122"/>
                </a:lnTo>
                <a:lnTo>
                  <a:pt x="320" y="113"/>
                </a:lnTo>
                <a:lnTo>
                  <a:pt x="346" y="98"/>
                </a:lnTo>
                <a:lnTo>
                  <a:pt x="358" y="101"/>
                </a:lnTo>
                <a:lnTo>
                  <a:pt x="390" y="142"/>
                </a:lnTo>
                <a:lnTo>
                  <a:pt x="398" y="140"/>
                </a:lnTo>
                <a:lnTo>
                  <a:pt x="432" y="163"/>
                </a:lnTo>
                <a:lnTo>
                  <a:pt x="483" y="160"/>
                </a:lnTo>
                <a:lnTo>
                  <a:pt x="510" y="179"/>
                </a:lnTo>
                <a:lnTo>
                  <a:pt x="454" y="213"/>
                </a:lnTo>
                <a:lnTo>
                  <a:pt x="451" y="256"/>
                </a:lnTo>
                <a:lnTo>
                  <a:pt x="417" y="291"/>
                </a:lnTo>
                <a:lnTo>
                  <a:pt x="380" y="290"/>
                </a:lnTo>
                <a:lnTo>
                  <a:pt x="360" y="300"/>
                </a:lnTo>
                <a:lnTo>
                  <a:pt x="335" y="311"/>
                </a:lnTo>
                <a:lnTo>
                  <a:pt x="303" y="288"/>
                </a:lnTo>
                <a:lnTo>
                  <a:pt x="283" y="300"/>
                </a:lnTo>
                <a:lnTo>
                  <a:pt x="265" y="304"/>
                </a:lnTo>
                <a:lnTo>
                  <a:pt x="250" y="277"/>
                </a:lnTo>
                <a:lnTo>
                  <a:pt x="206" y="278"/>
                </a:lnTo>
                <a:lnTo>
                  <a:pt x="192" y="290"/>
                </a:lnTo>
                <a:lnTo>
                  <a:pt x="182" y="301"/>
                </a:lnTo>
                <a:lnTo>
                  <a:pt x="163" y="301"/>
                </a:lnTo>
                <a:lnTo>
                  <a:pt x="142" y="305"/>
                </a:lnTo>
                <a:lnTo>
                  <a:pt x="126" y="298"/>
                </a:lnTo>
                <a:close/>
              </a:path>
            </a:pathLst>
          </a:custGeom>
          <a:solidFill>
            <a:srgbClr val="FAFAFA"/>
          </a:solidFill>
          <a:ln w="3175">
            <a:solidFill>
              <a:schemeClr val="bg1"/>
            </a:solidFill>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ct val="50000"/>
              </a:spcBef>
              <a:spcAft>
                <a:spcPts val="0"/>
              </a:spcAft>
              <a:defRPr/>
            </a:pPr>
            <a:endParaRPr lang="de-CH" sz="1400" b="1" dirty="0">
              <a:solidFill>
                <a:schemeClr val="bg1"/>
              </a:solidFill>
            </a:endParaRPr>
          </a:p>
        </p:txBody>
      </p:sp>
      <p:sp>
        <p:nvSpPr>
          <p:cNvPr id="23" name="HR" descr="80%"/>
          <p:cNvSpPr>
            <a:spLocks noChangeAspect="1"/>
          </p:cNvSpPr>
          <p:nvPr/>
        </p:nvSpPr>
        <p:spPr bwMode="auto">
          <a:xfrm>
            <a:off x="6070600" y="4521200"/>
            <a:ext cx="682625" cy="604838"/>
          </a:xfrm>
          <a:custGeom>
            <a:avLst/>
            <a:gdLst>
              <a:gd name="T0" fmla="*/ 9 w 460"/>
              <a:gd name="T1" fmla="*/ 145 h 506"/>
              <a:gd name="T2" fmla="*/ 28 w 460"/>
              <a:gd name="T3" fmla="*/ 185 h 506"/>
              <a:gd name="T4" fmla="*/ 52 w 460"/>
              <a:gd name="T5" fmla="*/ 179 h 506"/>
              <a:gd name="T6" fmla="*/ 71 w 460"/>
              <a:gd name="T7" fmla="*/ 139 h 506"/>
              <a:gd name="T8" fmla="*/ 104 w 460"/>
              <a:gd name="T9" fmla="*/ 158 h 506"/>
              <a:gd name="T10" fmla="*/ 113 w 460"/>
              <a:gd name="T11" fmla="*/ 192 h 506"/>
              <a:gd name="T12" fmla="*/ 129 w 460"/>
              <a:gd name="T13" fmla="*/ 237 h 506"/>
              <a:gd name="T14" fmla="*/ 146 w 460"/>
              <a:gd name="T15" fmla="*/ 269 h 506"/>
              <a:gd name="T16" fmla="*/ 134 w 460"/>
              <a:gd name="T17" fmla="*/ 283 h 506"/>
              <a:gd name="T18" fmla="*/ 204 w 460"/>
              <a:gd name="T19" fmla="*/ 370 h 506"/>
              <a:gd name="T20" fmla="*/ 237 w 460"/>
              <a:gd name="T21" fmla="*/ 374 h 506"/>
              <a:gd name="T22" fmla="*/ 289 w 460"/>
              <a:gd name="T23" fmla="*/ 414 h 506"/>
              <a:gd name="T24" fmla="*/ 303 w 460"/>
              <a:gd name="T25" fmla="*/ 445 h 506"/>
              <a:gd name="T26" fmla="*/ 317 w 460"/>
              <a:gd name="T27" fmla="*/ 444 h 506"/>
              <a:gd name="T28" fmla="*/ 347 w 460"/>
              <a:gd name="T29" fmla="*/ 462 h 506"/>
              <a:gd name="T30" fmla="*/ 367 w 460"/>
              <a:gd name="T31" fmla="*/ 461 h 506"/>
              <a:gd name="T32" fmla="*/ 366 w 460"/>
              <a:gd name="T33" fmla="*/ 428 h 506"/>
              <a:gd name="T34" fmla="*/ 343 w 460"/>
              <a:gd name="T35" fmla="*/ 391 h 506"/>
              <a:gd name="T36" fmla="*/ 289 w 460"/>
              <a:gd name="T37" fmla="*/ 330 h 506"/>
              <a:gd name="T38" fmla="*/ 270 w 460"/>
              <a:gd name="T39" fmla="*/ 324 h 506"/>
              <a:gd name="T40" fmla="*/ 251 w 460"/>
              <a:gd name="T41" fmla="*/ 309 h 506"/>
              <a:gd name="T42" fmla="*/ 237 w 460"/>
              <a:gd name="T43" fmla="*/ 280 h 506"/>
              <a:gd name="T44" fmla="*/ 214 w 460"/>
              <a:gd name="T45" fmla="*/ 235 h 506"/>
              <a:gd name="T46" fmla="*/ 174 w 460"/>
              <a:gd name="T47" fmla="*/ 179 h 506"/>
              <a:gd name="T48" fmla="*/ 195 w 460"/>
              <a:gd name="T49" fmla="*/ 169 h 506"/>
              <a:gd name="T50" fmla="*/ 281 w 460"/>
              <a:gd name="T51" fmla="*/ 145 h 506"/>
              <a:gd name="T52" fmla="*/ 322 w 460"/>
              <a:gd name="T53" fmla="*/ 173 h 506"/>
              <a:gd name="T54" fmla="*/ 338 w 460"/>
              <a:gd name="T55" fmla="*/ 173 h 506"/>
              <a:gd name="T56" fmla="*/ 374 w 460"/>
              <a:gd name="T57" fmla="*/ 176 h 506"/>
              <a:gd name="T58" fmla="*/ 421 w 460"/>
              <a:gd name="T59" fmla="*/ 173 h 506"/>
              <a:gd name="T60" fmla="*/ 451 w 460"/>
              <a:gd name="T61" fmla="*/ 192 h 506"/>
              <a:gd name="T62" fmla="*/ 460 w 460"/>
              <a:gd name="T63" fmla="*/ 158 h 506"/>
              <a:gd name="T64" fmla="*/ 436 w 460"/>
              <a:gd name="T65" fmla="*/ 129 h 506"/>
              <a:gd name="T66" fmla="*/ 434 w 460"/>
              <a:gd name="T67" fmla="*/ 98 h 506"/>
              <a:gd name="T68" fmla="*/ 415 w 460"/>
              <a:gd name="T69" fmla="*/ 77 h 506"/>
              <a:gd name="T70" fmla="*/ 395 w 460"/>
              <a:gd name="T71" fmla="*/ 82 h 506"/>
              <a:gd name="T72" fmla="*/ 371 w 460"/>
              <a:gd name="T73" fmla="*/ 92 h 506"/>
              <a:gd name="T74" fmla="*/ 336 w 460"/>
              <a:gd name="T75" fmla="*/ 61 h 506"/>
              <a:gd name="T76" fmla="*/ 305 w 460"/>
              <a:gd name="T77" fmla="*/ 47 h 506"/>
              <a:gd name="T78" fmla="*/ 251 w 460"/>
              <a:gd name="T79" fmla="*/ 0 h 506"/>
              <a:gd name="T80" fmla="*/ 199 w 460"/>
              <a:gd name="T81" fmla="*/ 34 h 506"/>
              <a:gd name="T82" fmla="*/ 184 w 460"/>
              <a:gd name="T83" fmla="*/ 64 h 506"/>
              <a:gd name="T84" fmla="*/ 101 w 460"/>
              <a:gd name="T85" fmla="*/ 114 h 506"/>
              <a:gd name="T86" fmla="*/ 52 w 460"/>
              <a:gd name="T87" fmla="*/ 114 h 506"/>
              <a:gd name="T88" fmla="*/ 0 w 460"/>
              <a:gd name="T89" fmla="*/ 114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0" h="506">
                <a:moveTo>
                  <a:pt x="0" y="114"/>
                </a:moveTo>
                <a:lnTo>
                  <a:pt x="9" y="145"/>
                </a:lnTo>
                <a:lnTo>
                  <a:pt x="19" y="169"/>
                </a:lnTo>
                <a:lnTo>
                  <a:pt x="28" y="185"/>
                </a:lnTo>
                <a:lnTo>
                  <a:pt x="39" y="188"/>
                </a:lnTo>
                <a:lnTo>
                  <a:pt x="52" y="179"/>
                </a:lnTo>
                <a:lnTo>
                  <a:pt x="58" y="163"/>
                </a:lnTo>
                <a:lnTo>
                  <a:pt x="71" y="139"/>
                </a:lnTo>
                <a:lnTo>
                  <a:pt x="87" y="154"/>
                </a:lnTo>
                <a:lnTo>
                  <a:pt x="104" y="158"/>
                </a:lnTo>
                <a:lnTo>
                  <a:pt x="115" y="166"/>
                </a:lnTo>
                <a:lnTo>
                  <a:pt x="113" y="192"/>
                </a:lnTo>
                <a:lnTo>
                  <a:pt x="113" y="209"/>
                </a:lnTo>
                <a:lnTo>
                  <a:pt x="129" y="237"/>
                </a:lnTo>
                <a:lnTo>
                  <a:pt x="148" y="262"/>
                </a:lnTo>
                <a:lnTo>
                  <a:pt x="146" y="269"/>
                </a:lnTo>
                <a:lnTo>
                  <a:pt x="124" y="269"/>
                </a:lnTo>
                <a:lnTo>
                  <a:pt x="134" y="283"/>
                </a:lnTo>
                <a:lnTo>
                  <a:pt x="198" y="364"/>
                </a:lnTo>
                <a:lnTo>
                  <a:pt x="204" y="370"/>
                </a:lnTo>
                <a:lnTo>
                  <a:pt x="223" y="370"/>
                </a:lnTo>
                <a:lnTo>
                  <a:pt x="237" y="374"/>
                </a:lnTo>
                <a:lnTo>
                  <a:pt x="265" y="388"/>
                </a:lnTo>
                <a:lnTo>
                  <a:pt x="289" y="414"/>
                </a:lnTo>
                <a:lnTo>
                  <a:pt x="294" y="425"/>
                </a:lnTo>
                <a:lnTo>
                  <a:pt x="303" y="445"/>
                </a:lnTo>
                <a:lnTo>
                  <a:pt x="310" y="444"/>
                </a:lnTo>
                <a:lnTo>
                  <a:pt x="317" y="444"/>
                </a:lnTo>
                <a:lnTo>
                  <a:pt x="336" y="452"/>
                </a:lnTo>
                <a:lnTo>
                  <a:pt x="347" y="462"/>
                </a:lnTo>
                <a:lnTo>
                  <a:pt x="383" y="506"/>
                </a:lnTo>
                <a:lnTo>
                  <a:pt x="367" y="461"/>
                </a:lnTo>
                <a:lnTo>
                  <a:pt x="358" y="444"/>
                </a:lnTo>
                <a:lnTo>
                  <a:pt x="366" y="428"/>
                </a:lnTo>
                <a:lnTo>
                  <a:pt x="361" y="414"/>
                </a:lnTo>
                <a:lnTo>
                  <a:pt x="343" y="391"/>
                </a:lnTo>
                <a:lnTo>
                  <a:pt x="310" y="348"/>
                </a:lnTo>
                <a:lnTo>
                  <a:pt x="289" y="330"/>
                </a:lnTo>
                <a:lnTo>
                  <a:pt x="281" y="321"/>
                </a:lnTo>
                <a:lnTo>
                  <a:pt x="270" y="324"/>
                </a:lnTo>
                <a:lnTo>
                  <a:pt x="253" y="309"/>
                </a:lnTo>
                <a:lnTo>
                  <a:pt x="251" y="309"/>
                </a:lnTo>
                <a:lnTo>
                  <a:pt x="242" y="299"/>
                </a:lnTo>
                <a:lnTo>
                  <a:pt x="237" y="280"/>
                </a:lnTo>
                <a:lnTo>
                  <a:pt x="232" y="262"/>
                </a:lnTo>
                <a:lnTo>
                  <a:pt x="214" y="235"/>
                </a:lnTo>
                <a:lnTo>
                  <a:pt x="176" y="191"/>
                </a:lnTo>
                <a:lnTo>
                  <a:pt x="174" y="179"/>
                </a:lnTo>
                <a:lnTo>
                  <a:pt x="176" y="173"/>
                </a:lnTo>
                <a:lnTo>
                  <a:pt x="195" y="169"/>
                </a:lnTo>
                <a:lnTo>
                  <a:pt x="247" y="188"/>
                </a:lnTo>
                <a:lnTo>
                  <a:pt x="281" y="145"/>
                </a:lnTo>
                <a:lnTo>
                  <a:pt x="310" y="172"/>
                </a:lnTo>
                <a:lnTo>
                  <a:pt x="322" y="173"/>
                </a:lnTo>
                <a:lnTo>
                  <a:pt x="328" y="185"/>
                </a:lnTo>
                <a:lnTo>
                  <a:pt x="338" y="173"/>
                </a:lnTo>
                <a:lnTo>
                  <a:pt x="357" y="173"/>
                </a:lnTo>
                <a:lnTo>
                  <a:pt x="374" y="176"/>
                </a:lnTo>
                <a:lnTo>
                  <a:pt x="396" y="163"/>
                </a:lnTo>
                <a:lnTo>
                  <a:pt x="421" y="173"/>
                </a:lnTo>
                <a:lnTo>
                  <a:pt x="434" y="188"/>
                </a:lnTo>
                <a:lnTo>
                  <a:pt x="451" y="192"/>
                </a:lnTo>
                <a:lnTo>
                  <a:pt x="452" y="179"/>
                </a:lnTo>
                <a:lnTo>
                  <a:pt x="460" y="158"/>
                </a:lnTo>
                <a:lnTo>
                  <a:pt x="451" y="148"/>
                </a:lnTo>
                <a:lnTo>
                  <a:pt x="436" y="129"/>
                </a:lnTo>
                <a:lnTo>
                  <a:pt x="434" y="111"/>
                </a:lnTo>
                <a:lnTo>
                  <a:pt x="434" y="98"/>
                </a:lnTo>
                <a:lnTo>
                  <a:pt x="436" y="82"/>
                </a:lnTo>
                <a:lnTo>
                  <a:pt x="415" y="77"/>
                </a:lnTo>
                <a:lnTo>
                  <a:pt x="405" y="74"/>
                </a:lnTo>
                <a:lnTo>
                  <a:pt x="395" y="82"/>
                </a:lnTo>
                <a:lnTo>
                  <a:pt x="383" y="92"/>
                </a:lnTo>
                <a:lnTo>
                  <a:pt x="371" y="92"/>
                </a:lnTo>
                <a:lnTo>
                  <a:pt x="352" y="71"/>
                </a:lnTo>
                <a:lnTo>
                  <a:pt x="336" y="61"/>
                </a:lnTo>
                <a:lnTo>
                  <a:pt x="319" y="64"/>
                </a:lnTo>
                <a:lnTo>
                  <a:pt x="305" y="47"/>
                </a:lnTo>
                <a:lnTo>
                  <a:pt x="267" y="3"/>
                </a:lnTo>
                <a:lnTo>
                  <a:pt x="251" y="0"/>
                </a:lnTo>
                <a:lnTo>
                  <a:pt x="226" y="37"/>
                </a:lnTo>
                <a:lnTo>
                  <a:pt x="199" y="34"/>
                </a:lnTo>
                <a:lnTo>
                  <a:pt x="188" y="47"/>
                </a:lnTo>
                <a:lnTo>
                  <a:pt x="184" y="64"/>
                </a:lnTo>
                <a:lnTo>
                  <a:pt x="134" y="124"/>
                </a:lnTo>
                <a:lnTo>
                  <a:pt x="101" y="114"/>
                </a:lnTo>
                <a:lnTo>
                  <a:pt x="68" y="105"/>
                </a:lnTo>
                <a:lnTo>
                  <a:pt x="52" y="114"/>
                </a:lnTo>
                <a:lnTo>
                  <a:pt x="30" y="124"/>
                </a:lnTo>
                <a:lnTo>
                  <a:pt x="0" y="114"/>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nvGrpSpPr>
          <p:cNvPr id="24" name="FR"/>
          <p:cNvGrpSpPr>
            <a:grpSpLocks/>
          </p:cNvGrpSpPr>
          <p:nvPr/>
        </p:nvGrpSpPr>
        <p:grpSpPr bwMode="auto">
          <a:xfrm>
            <a:off x="4143297" y="3644915"/>
            <a:ext cx="1436689" cy="1531940"/>
            <a:chOff x="1095378" y="3963090"/>
            <a:chExt cx="659" cy="793"/>
          </a:xfrm>
          <a:solidFill>
            <a:srgbClr val="FAFAFA"/>
          </a:solidFill>
          <a:effectLst/>
        </p:grpSpPr>
        <p:sp>
          <p:nvSpPr>
            <p:cNvPr id="102" name="Freeform 573"/>
            <p:cNvSpPr>
              <a:spLocks noChangeAspect="1"/>
            </p:cNvSpPr>
            <p:nvPr/>
          </p:nvSpPr>
          <p:spPr bwMode="auto">
            <a:xfrm>
              <a:off x="1095980" y="3963778"/>
              <a:ext cx="57" cy="105"/>
            </a:xfrm>
            <a:custGeom>
              <a:avLst/>
              <a:gdLst>
                <a:gd name="T0" fmla="*/ 85 w 85"/>
                <a:gd name="T1" fmla="*/ 0 h 172"/>
                <a:gd name="T2" fmla="*/ 57 w 85"/>
                <a:gd name="T3" fmla="*/ 37 h 172"/>
                <a:gd name="T4" fmla="*/ 24 w 85"/>
                <a:gd name="T5" fmla="*/ 37 h 172"/>
                <a:gd name="T6" fmla="*/ 0 w 85"/>
                <a:gd name="T7" fmla="*/ 58 h 172"/>
                <a:gd name="T8" fmla="*/ 5 w 85"/>
                <a:gd name="T9" fmla="*/ 86 h 172"/>
                <a:gd name="T10" fmla="*/ 5 w 85"/>
                <a:gd name="T11" fmla="*/ 135 h 172"/>
                <a:gd name="T12" fmla="*/ 24 w 85"/>
                <a:gd name="T13" fmla="*/ 172 h 172"/>
                <a:gd name="T14" fmla="*/ 47 w 85"/>
                <a:gd name="T15" fmla="*/ 162 h 172"/>
                <a:gd name="T16" fmla="*/ 52 w 85"/>
                <a:gd name="T17" fmla="*/ 141 h 172"/>
                <a:gd name="T18" fmla="*/ 76 w 85"/>
                <a:gd name="T19" fmla="*/ 92 h 172"/>
                <a:gd name="T20" fmla="*/ 76 w 85"/>
                <a:gd name="T21" fmla="*/ 67 h 172"/>
                <a:gd name="T22" fmla="*/ 85 w 85"/>
                <a:gd name="T23"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172">
                  <a:moveTo>
                    <a:pt x="85" y="0"/>
                  </a:moveTo>
                  <a:lnTo>
                    <a:pt x="57" y="37"/>
                  </a:lnTo>
                  <a:lnTo>
                    <a:pt x="24" y="37"/>
                  </a:lnTo>
                  <a:lnTo>
                    <a:pt x="0" y="58"/>
                  </a:lnTo>
                  <a:lnTo>
                    <a:pt x="5" y="86"/>
                  </a:lnTo>
                  <a:lnTo>
                    <a:pt x="5" y="135"/>
                  </a:lnTo>
                  <a:lnTo>
                    <a:pt x="24" y="172"/>
                  </a:lnTo>
                  <a:lnTo>
                    <a:pt x="47" y="162"/>
                  </a:lnTo>
                  <a:lnTo>
                    <a:pt x="52" y="141"/>
                  </a:lnTo>
                  <a:lnTo>
                    <a:pt x="76" y="92"/>
                  </a:lnTo>
                  <a:lnTo>
                    <a:pt x="76" y="67"/>
                  </a:lnTo>
                  <a:lnTo>
                    <a:pt x="85"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03" name="Freeform 574"/>
            <p:cNvSpPr>
              <a:spLocks noChangeAspect="1"/>
            </p:cNvSpPr>
            <p:nvPr/>
          </p:nvSpPr>
          <p:spPr bwMode="auto">
            <a:xfrm>
              <a:off x="1095378" y="3963090"/>
              <a:ext cx="657" cy="655"/>
            </a:xfrm>
            <a:custGeom>
              <a:avLst/>
              <a:gdLst>
                <a:gd name="T0" fmla="*/ 14 w 965"/>
                <a:gd name="T1" fmla="*/ 206 h 1060"/>
                <a:gd name="T2" fmla="*/ 16 w 965"/>
                <a:gd name="T3" fmla="*/ 247 h 1060"/>
                <a:gd name="T4" fmla="*/ 94 w 965"/>
                <a:gd name="T5" fmla="*/ 314 h 1060"/>
                <a:gd name="T6" fmla="*/ 154 w 965"/>
                <a:gd name="T7" fmla="*/ 356 h 1060"/>
                <a:gd name="T8" fmla="*/ 148 w 965"/>
                <a:gd name="T9" fmla="*/ 411 h 1060"/>
                <a:gd name="T10" fmla="*/ 183 w 965"/>
                <a:gd name="T11" fmla="*/ 495 h 1060"/>
                <a:gd name="T12" fmla="*/ 200 w 965"/>
                <a:gd name="T13" fmla="*/ 609 h 1060"/>
                <a:gd name="T14" fmla="*/ 167 w 965"/>
                <a:gd name="T15" fmla="*/ 609 h 1060"/>
                <a:gd name="T16" fmla="*/ 146 w 965"/>
                <a:gd name="T17" fmla="*/ 667 h 1060"/>
                <a:gd name="T18" fmla="*/ 124 w 965"/>
                <a:gd name="T19" fmla="*/ 725 h 1060"/>
                <a:gd name="T20" fmla="*/ 72 w 965"/>
                <a:gd name="T21" fmla="*/ 828 h 1060"/>
                <a:gd name="T22" fmla="*/ 75 w 965"/>
                <a:gd name="T23" fmla="*/ 878 h 1060"/>
                <a:gd name="T24" fmla="*/ 204 w 965"/>
                <a:gd name="T25" fmla="*/ 973 h 1060"/>
                <a:gd name="T26" fmla="*/ 314 w 965"/>
                <a:gd name="T27" fmla="*/ 1031 h 1060"/>
                <a:gd name="T28" fmla="*/ 410 w 965"/>
                <a:gd name="T29" fmla="*/ 1060 h 1060"/>
                <a:gd name="T30" fmla="*/ 446 w 965"/>
                <a:gd name="T31" fmla="*/ 979 h 1060"/>
                <a:gd name="T32" fmla="*/ 533 w 965"/>
                <a:gd name="T33" fmla="*/ 943 h 1060"/>
                <a:gd name="T34" fmla="*/ 596 w 965"/>
                <a:gd name="T35" fmla="*/ 980 h 1060"/>
                <a:gd name="T36" fmla="*/ 684 w 965"/>
                <a:gd name="T37" fmla="*/ 1031 h 1060"/>
                <a:gd name="T38" fmla="*/ 764 w 965"/>
                <a:gd name="T39" fmla="*/ 1010 h 1060"/>
                <a:gd name="T40" fmla="*/ 822 w 965"/>
                <a:gd name="T41" fmla="*/ 942 h 1060"/>
                <a:gd name="T42" fmla="*/ 786 w 965"/>
                <a:gd name="T43" fmla="*/ 912 h 1060"/>
                <a:gd name="T44" fmla="*/ 780 w 965"/>
                <a:gd name="T45" fmla="*/ 815 h 1060"/>
                <a:gd name="T46" fmla="*/ 803 w 965"/>
                <a:gd name="T47" fmla="*/ 725 h 1060"/>
                <a:gd name="T48" fmla="*/ 803 w 965"/>
                <a:gd name="T49" fmla="*/ 643 h 1060"/>
                <a:gd name="T50" fmla="*/ 761 w 965"/>
                <a:gd name="T51" fmla="*/ 646 h 1060"/>
                <a:gd name="T52" fmla="*/ 742 w 965"/>
                <a:gd name="T53" fmla="*/ 633 h 1060"/>
                <a:gd name="T54" fmla="*/ 786 w 965"/>
                <a:gd name="T55" fmla="*/ 575 h 1060"/>
                <a:gd name="T56" fmla="*/ 855 w 965"/>
                <a:gd name="T57" fmla="*/ 501 h 1060"/>
                <a:gd name="T58" fmla="*/ 890 w 965"/>
                <a:gd name="T59" fmla="*/ 464 h 1060"/>
                <a:gd name="T60" fmla="*/ 918 w 965"/>
                <a:gd name="T61" fmla="*/ 393 h 1060"/>
                <a:gd name="T62" fmla="*/ 965 w 965"/>
                <a:gd name="T63" fmla="*/ 333 h 1060"/>
                <a:gd name="T64" fmla="*/ 909 w 965"/>
                <a:gd name="T65" fmla="*/ 303 h 1060"/>
                <a:gd name="T66" fmla="*/ 843 w 965"/>
                <a:gd name="T67" fmla="*/ 277 h 1060"/>
                <a:gd name="T68" fmla="*/ 798 w 965"/>
                <a:gd name="T69" fmla="*/ 232 h 1060"/>
                <a:gd name="T70" fmla="*/ 734 w 965"/>
                <a:gd name="T71" fmla="*/ 169 h 1060"/>
                <a:gd name="T72" fmla="*/ 681 w 965"/>
                <a:gd name="T73" fmla="*/ 108 h 1060"/>
                <a:gd name="T74" fmla="*/ 643 w 965"/>
                <a:gd name="T75" fmla="*/ 43 h 1060"/>
                <a:gd name="T76" fmla="*/ 561 w 965"/>
                <a:gd name="T77" fmla="*/ 3 h 1060"/>
                <a:gd name="T78" fmla="*/ 525 w 965"/>
                <a:gd name="T79" fmla="*/ 50 h 1060"/>
                <a:gd name="T80" fmla="*/ 401 w 965"/>
                <a:gd name="T81" fmla="*/ 124 h 1060"/>
                <a:gd name="T82" fmla="*/ 335 w 965"/>
                <a:gd name="T83" fmla="*/ 148 h 1060"/>
                <a:gd name="T84" fmla="*/ 277 w 965"/>
                <a:gd name="T85" fmla="*/ 111 h 1060"/>
                <a:gd name="T86" fmla="*/ 251 w 965"/>
                <a:gd name="T87" fmla="*/ 80 h 1060"/>
                <a:gd name="T88" fmla="*/ 258 w 965"/>
                <a:gd name="T89" fmla="*/ 118 h 1060"/>
                <a:gd name="T90" fmla="*/ 249 w 965"/>
                <a:gd name="T91" fmla="*/ 161 h 1060"/>
                <a:gd name="T92" fmla="*/ 230 w 965"/>
                <a:gd name="T93" fmla="*/ 195 h 1060"/>
                <a:gd name="T94" fmla="*/ 178 w 965"/>
                <a:gd name="T95" fmla="*/ 179 h 1060"/>
                <a:gd name="T96" fmla="*/ 118 w 965"/>
                <a:gd name="T97" fmla="*/ 136 h 1060"/>
                <a:gd name="T98" fmla="*/ 75 w 965"/>
                <a:gd name="T99" fmla="*/ 154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65" h="1060">
                  <a:moveTo>
                    <a:pt x="16" y="151"/>
                  </a:moveTo>
                  <a:lnTo>
                    <a:pt x="25" y="176"/>
                  </a:lnTo>
                  <a:lnTo>
                    <a:pt x="16" y="198"/>
                  </a:lnTo>
                  <a:lnTo>
                    <a:pt x="14" y="206"/>
                  </a:lnTo>
                  <a:lnTo>
                    <a:pt x="0" y="201"/>
                  </a:lnTo>
                  <a:lnTo>
                    <a:pt x="5" y="213"/>
                  </a:lnTo>
                  <a:lnTo>
                    <a:pt x="5" y="226"/>
                  </a:lnTo>
                  <a:lnTo>
                    <a:pt x="16" y="247"/>
                  </a:lnTo>
                  <a:lnTo>
                    <a:pt x="38" y="240"/>
                  </a:lnTo>
                  <a:lnTo>
                    <a:pt x="66" y="274"/>
                  </a:lnTo>
                  <a:lnTo>
                    <a:pt x="77" y="297"/>
                  </a:lnTo>
                  <a:lnTo>
                    <a:pt x="94" y="314"/>
                  </a:lnTo>
                  <a:lnTo>
                    <a:pt x="115" y="314"/>
                  </a:lnTo>
                  <a:lnTo>
                    <a:pt x="124" y="334"/>
                  </a:lnTo>
                  <a:lnTo>
                    <a:pt x="143" y="353"/>
                  </a:lnTo>
                  <a:lnTo>
                    <a:pt x="154" y="356"/>
                  </a:lnTo>
                  <a:lnTo>
                    <a:pt x="157" y="363"/>
                  </a:lnTo>
                  <a:lnTo>
                    <a:pt x="151" y="380"/>
                  </a:lnTo>
                  <a:lnTo>
                    <a:pt x="151" y="395"/>
                  </a:lnTo>
                  <a:lnTo>
                    <a:pt x="148" y="411"/>
                  </a:lnTo>
                  <a:lnTo>
                    <a:pt x="143" y="438"/>
                  </a:lnTo>
                  <a:lnTo>
                    <a:pt x="162" y="464"/>
                  </a:lnTo>
                  <a:lnTo>
                    <a:pt x="183" y="482"/>
                  </a:lnTo>
                  <a:lnTo>
                    <a:pt x="183" y="495"/>
                  </a:lnTo>
                  <a:lnTo>
                    <a:pt x="181" y="540"/>
                  </a:lnTo>
                  <a:lnTo>
                    <a:pt x="176" y="577"/>
                  </a:lnTo>
                  <a:lnTo>
                    <a:pt x="181" y="593"/>
                  </a:lnTo>
                  <a:lnTo>
                    <a:pt x="200" y="609"/>
                  </a:lnTo>
                  <a:lnTo>
                    <a:pt x="200" y="640"/>
                  </a:lnTo>
                  <a:lnTo>
                    <a:pt x="200" y="661"/>
                  </a:lnTo>
                  <a:lnTo>
                    <a:pt x="178" y="630"/>
                  </a:lnTo>
                  <a:lnTo>
                    <a:pt x="167" y="609"/>
                  </a:lnTo>
                  <a:lnTo>
                    <a:pt x="159" y="614"/>
                  </a:lnTo>
                  <a:lnTo>
                    <a:pt x="165" y="630"/>
                  </a:lnTo>
                  <a:lnTo>
                    <a:pt x="157" y="649"/>
                  </a:lnTo>
                  <a:lnTo>
                    <a:pt x="146" y="667"/>
                  </a:lnTo>
                  <a:lnTo>
                    <a:pt x="138" y="680"/>
                  </a:lnTo>
                  <a:lnTo>
                    <a:pt x="148" y="693"/>
                  </a:lnTo>
                  <a:lnTo>
                    <a:pt x="140" y="707"/>
                  </a:lnTo>
                  <a:lnTo>
                    <a:pt x="124" y="725"/>
                  </a:lnTo>
                  <a:lnTo>
                    <a:pt x="121" y="741"/>
                  </a:lnTo>
                  <a:lnTo>
                    <a:pt x="113" y="760"/>
                  </a:lnTo>
                  <a:lnTo>
                    <a:pt x="87" y="794"/>
                  </a:lnTo>
                  <a:lnTo>
                    <a:pt x="72" y="828"/>
                  </a:lnTo>
                  <a:lnTo>
                    <a:pt x="72" y="833"/>
                  </a:lnTo>
                  <a:lnTo>
                    <a:pt x="80" y="843"/>
                  </a:lnTo>
                  <a:lnTo>
                    <a:pt x="71" y="859"/>
                  </a:lnTo>
                  <a:lnTo>
                    <a:pt x="75" y="878"/>
                  </a:lnTo>
                  <a:lnTo>
                    <a:pt x="89" y="902"/>
                  </a:lnTo>
                  <a:lnTo>
                    <a:pt x="148" y="939"/>
                  </a:lnTo>
                  <a:lnTo>
                    <a:pt x="190" y="979"/>
                  </a:lnTo>
                  <a:lnTo>
                    <a:pt x="204" y="973"/>
                  </a:lnTo>
                  <a:lnTo>
                    <a:pt x="225" y="964"/>
                  </a:lnTo>
                  <a:lnTo>
                    <a:pt x="297" y="998"/>
                  </a:lnTo>
                  <a:lnTo>
                    <a:pt x="308" y="1010"/>
                  </a:lnTo>
                  <a:lnTo>
                    <a:pt x="314" y="1031"/>
                  </a:lnTo>
                  <a:lnTo>
                    <a:pt x="327" y="1038"/>
                  </a:lnTo>
                  <a:lnTo>
                    <a:pt x="343" y="1041"/>
                  </a:lnTo>
                  <a:lnTo>
                    <a:pt x="368" y="1057"/>
                  </a:lnTo>
                  <a:lnTo>
                    <a:pt x="410" y="1060"/>
                  </a:lnTo>
                  <a:lnTo>
                    <a:pt x="423" y="1041"/>
                  </a:lnTo>
                  <a:lnTo>
                    <a:pt x="427" y="1020"/>
                  </a:lnTo>
                  <a:lnTo>
                    <a:pt x="427" y="997"/>
                  </a:lnTo>
                  <a:lnTo>
                    <a:pt x="446" y="979"/>
                  </a:lnTo>
                  <a:lnTo>
                    <a:pt x="481" y="957"/>
                  </a:lnTo>
                  <a:lnTo>
                    <a:pt x="498" y="954"/>
                  </a:lnTo>
                  <a:lnTo>
                    <a:pt x="517" y="943"/>
                  </a:lnTo>
                  <a:lnTo>
                    <a:pt x="533" y="943"/>
                  </a:lnTo>
                  <a:lnTo>
                    <a:pt x="552" y="957"/>
                  </a:lnTo>
                  <a:lnTo>
                    <a:pt x="566" y="976"/>
                  </a:lnTo>
                  <a:lnTo>
                    <a:pt x="582" y="976"/>
                  </a:lnTo>
                  <a:lnTo>
                    <a:pt x="596" y="980"/>
                  </a:lnTo>
                  <a:lnTo>
                    <a:pt x="624" y="983"/>
                  </a:lnTo>
                  <a:lnTo>
                    <a:pt x="643" y="1010"/>
                  </a:lnTo>
                  <a:lnTo>
                    <a:pt x="660" y="1023"/>
                  </a:lnTo>
                  <a:lnTo>
                    <a:pt x="684" y="1031"/>
                  </a:lnTo>
                  <a:lnTo>
                    <a:pt x="704" y="1044"/>
                  </a:lnTo>
                  <a:lnTo>
                    <a:pt x="715" y="1047"/>
                  </a:lnTo>
                  <a:lnTo>
                    <a:pt x="745" y="1014"/>
                  </a:lnTo>
                  <a:lnTo>
                    <a:pt x="764" y="1010"/>
                  </a:lnTo>
                  <a:lnTo>
                    <a:pt x="777" y="997"/>
                  </a:lnTo>
                  <a:lnTo>
                    <a:pt x="798" y="980"/>
                  </a:lnTo>
                  <a:lnTo>
                    <a:pt x="824" y="979"/>
                  </a:lnTo>
                  <a:lnTo>
                    <a:pt x="822" y="942"/>
                  </a:lnTo>
                  <a:lnTo>
                    <a:pt x="817" y="930"/>
                  </a:lnTo>
                  <a:lnTo>
                    <a:pt x="805" y="912"/>
                  </a:lnTo>
                  <a:lnTo>
                    <a:pt x="796" y="915"/>
                  </a:lnTo>
                  <a:lnTo>
                    <a:pt x="786" y="912"/>
                  </a:lnTo>
                  <a:lnTo>
                    <a:pt x="777" y="896"/>
                  </a:lnTo>
                  <a:lnTo>
                    <a:pt x="775" y="859"/>
                  </a:lnTo>
                  <a:lnTo>
                    <a:pt x="794" y="835"/>
                  </a:lnTo>
                  <a:lnTo>
                    <a:pt x="780" y="815"/>
                  </a:lnTo>
                  <a:lnTo>
                    <a:pt x="780" y="806"/>
                  </a:lnTo>
                  <a:lnTo>
                    <a:pt x="808" y="775"/>
                  </a:lnTo>
                  <a:lnTo>
                    <a:pt x="808" y="764"/>
                  </a:lnTo>
                  <a:lnTo>
                    <a:pt x="803" y="725"/>
                  </a:lnTo>
                  <a:lnTo>
                    <a:pt x="819" y="707"/>
                  </a:lnTo>
                  <a:lnTo>
                    <a:pt x="805" y="686"/>
                  </a:lnTo>
                  <a:lnTo>
                    <a:pt x="805" y="670"/>
                  </a:lnTo>
                  <a:lnTo>
                    <a:pt x="803" y="643"/>
                  </a:lnTo>
                  <a:lnTo>
                    <a:pt x="796" y="636"/>
                  </a:lnTo>
                  <a:lnTo>
                    <a:pt x="780" y="636"/>
                  </a:lnTo>
                  <a:lnTo>
                    <a:pt x="765" y="640"/>
                  </a:lnTo>
                  <a:lnTo>
                    <a:pt x="761" y="646"/>
                  </a:lnTo>
                  <a:lnTo>
                    <a:pt x="751" y="656"/>
                  </a:lnTo>
                  <a:lnTo>
                    <a:pt x="737" y="661"/>
                  </a:lnTo>
                  <a:lnTo>
                    <a:pt x="732" y="646"/>
                  </a:lnTo>
                  <a:lnTo>
                    <a:pt x="742" y="633"/>
                  </a:lnTo>
                  <a:lnTo>
                    <a:pt x="747" y="622"/>
                  </a:lnTo>
                  <a:lnTo>
                    <a:pt x="747" y="609"/>
                  </a:lnTo>
                  <a:lnTo>
                    <a:pt x="772" y="580"/>
                  </a:lnTo>
                  <a:lnTo>
                    <a:pt x="786" y="575"/>
                  </a:lnTo>
                  <a:lnTo>
                    <a:pt x="789" y="553"/>
                  </a:lnTo>
                  <a:lnTo>
                    <a:pt x="803" y="535"/>
                  </a:lnTo>
                  <a:lnTo>
                    <a:pt x="843" y="501"/>
                  </a:lnTo>
                  <a:lnTo>
                    <a:pt x="855" y="501"/>
                  </a:lnTo>
                  <a:lnTo>
                    <a:pt x="860" y="488"/>
                  </a:lnTo>
                  <a:lnTo>
                    <a:pt x="874" y="472"/>
                  </a:lnTo>
                  <a:lnTo>
                    <a:pt x="885" y="472"/>
                  </a:lnTo>
                  <a:lnTo>
                    <a:pt x="890" y="464"/>
                  </a:lnTo>
                  <a:lnTo>
                    <a:pt x="897" y="458"/>
                  </a:lnTo>
                  <a:lnTo>
                    <a:pt x="907" y="439"/>
                  </a:lnTo>
                  <a:lnTo>
                    <a:pt x="915" y="411"/>
                  </a:lnTo>
                  <a:lnTo>
                    <a:pt x="918" y="393"/>
                  </a:lnTo>
                  <a:lnTo>
                    <a:pt x="918" y="377"/>
                  </a:lnTo>
                  <a:lnTo>
                    <a:pt x="932" y="358"/>
                  </a:lnTo>
                  <a:lnTo>
                    <a:pt x="953" y="346"/>
                  </a:lnTo>
                  <a:lnTo>
                    <a:pt x="965" y="333"/>
                  </a:lnTo>
                  <a:lnTo>
                    <a:pt x="965" y="327"/>
                  </a:lnTo>
                  <a:lnTo>
                    <a:pt x="946" y="311"/>
                  </a:lnTo>
                  <a:lnTo>
                    <a:pt x="937" y="306"/>
                  </a:lnTo>
                  <a:lnTo>
                    <a:pt x="909" y="303"/>
                  </a:lnTo>
                  <a:lnTo>
                    <a:pt x="878" y="297"/>
                  </a:lnTo>
                  <a:lnTo>
                    <a:pt x="866" y="296"/>
                  </a:lnTo>
                  <a:lnTo>
                    <a:pt x="855" y="290"/>
                  </a:lnTo>
                  <a:lnTo>
                    <a:pt x="843" y="277"/>
                  </a:lnTo>
                  <a:lnTo>
                    <a:pt x="833" y="256"/>
                  </a:lnTo>
                  <a:lnTo>
                    <a:pt x="824" y="243"/>
                  </a:lnTo>
                  <a:lnTo>
                    <a:pt x="812" y="237"/>
                  </a:lnTo>
                  <a:lnTo>
                    <a:pt x="798" y="232"/>
                  </a:lnTo>
                  <a:lnTo>
                    <a:pt x="791" y="229"/>
                  </a:lnTo>
                  <a:lnTo>
                    <a:pt x="772" y="210"/>
                  </a:lnTo>
                  <a:lnTo>
                    <a:pt x="748" y="189"/>
                  </a:lnTo>
                  <a:lnTo>
                    <a:pt x="734" y="169"/>
                  </a:lnTo>
                  <a:lnTo>
                    <a:pt x="718" y="164"/>
                  </a:lnTo>
                  <a:lnTo>
                    <a:pt x="709" y="155"/>
                  </a:lnTo>
                  <a:lnTo>
                    <a:pt x="701" y="135"/>
                  </a:lnTo>
                  <a:lnTo>
                    <a:pt x="681" y="108"/>
                  </a:lnTo>
                  <a:lnTo>
                    <a:pt x="676" y="90"/>
                  </a:lnTo>
                  <a:lnTo>
                    <a:pt x="660" y="71"/>
                  </a:lnTo>
                  <a:lnTo>
                    <a:pt x="652" y="55"/>
                  </a:lnTo>
                  <a:lnTo>
                    <a:pt x="643" y="43"/>
                  </a:lnTo>
                  <a:lnTo>
                    <a:pt x="627" y="28"/>
                  </a:lnTo>
                  <a:lnTo>
                    <a:pt x="610" y="8"/>
                  </a:lnTo>
                  <a:lnTo>
                    <a:pt x="596" y="0"/>
                  </a:lnTo>
                  <a:lnTo>
                    <a:pt x="561" y="3"/>
                  </a:lnTo>
                  <a:lnTo>
                    <a:pt x="547" y="3"/>
                  </a:lnTo>
                  <a:lnTo>
                    <a:pt x="528" y="18"/>
                  </a:lnTo>
                  <a:lnTo>
                    <a:pt x="539" y="31"/>
                  </a:lnTo>
                  <a:lnTo>
                    <a:pt x="525" y="50"/>
                  </a:lnTo>
                  <a:lnTo>
                    <a:pt x="490" y="100"/>
                  </a:lnTo>
                  <a:lnTo>
                    <a:pt x="472" y="111"/>
                  </a:lnTo>
                  <a:lnTo>
                    <a:pt x="423" y="117"/>
                  </a:lnTo>
                  <a:lnTo>
                    <a:pt x="401" y="124"/>
                  </a:lnTo>
                  <a:lnTo>
                    <a:pt x="390" y="136"/>
                  </a:lnTo>
                  <a:lnTo>
                    <a:pt x="385" y="148"/>
                  </a:lnTo>
                  <a:lnTo>
                    <a:pt x="366" y="142"/>
                  </a:lnTo>
                  <a:lnTo>
                    <a:pt x="335" y="148"/>
                  </a:lnTo>
                  <a:lnTo>
                    <a:pt x="316" y="145"/>
                  </a:lnTo>
                  <a:lnTo>
                    <a:pt x="300" y="132"/>
                  </a:lnTo>
                  <a:lnTo>
                    <a:pt x="289" y="117"/>
                  </a:lnTo>
                  <a:lnTo>
                    <a:pt x="277" y="111"/>
                  </a:lnTo>
                  <a:lnTo>
                    <a:pt x="286" y="98"/>
                  </a:lnTo>
                  <a:lnTo>
                    <a:pt x="272" y="84"/>
                  </a:lnTo>
                  <a:lnTo>
                    <a:pt x="261" y="81"/>
                  </a:lnTo>
                  <a:lnTo>
                    <a:pt x="251" y="80"/>
                  </a:lnTo>
                  <a:lnTo>
                    <a:pt x="249" y="84"/>
                  </a:lnTo>
                  <a:lnTo>
                    <a:pt x="258" y="95"/>
                  </a:lnTo>
                  <a:lnTo>
                    <a:pt x="253" y="102"/>
                  </a:lnTo>
                  <a:lnTo>
                    <a:pt x="258" y="118"/>
                  </a:lnTo>
                  <a:lnTo>
                    <a:pt x="261" y="136"/>
                  </a:lnTo>
                  <a:lnTo>
                    <a:pt x="261" y="151"/>
                  </a:lnTo>
                  <a:lnTo>
                    <a:pt x="258" y="154"/>
                  </a:lnTo>
                  <a:lnTo>
                    <a:pt x="249" y="161"/>
                  </a:lnTo>
                  <a:lnTo>
                    <a:pt x="247" y="173"/>
                  </a:lnTo>
                  <a:lnTo>
                    <a:pt x="247" y="188"/>
                  </a:lnTo>
                  <a:lnTo>
                    <a:pt x="244" y="198"/>
                  </a:lnTo>
                  <a:lnTo>
                    <a:pt x="230" y="195"/>
                  </a:lnTo>
                  <a:lnTo>
                    <a:pt x="214" y="185"/>
                  </a:lnTo>
                  <a:lnTo>
                    <a:pt x="204" y="195"/>
                  </a:lnTo>
                  <a:lnTo>
                    <a:pt x="187" y="182"/>
                  </a:lnTo>
                  <a:lnTo>
                    <a:pt x="178" y="179"/>
                  </a:lnTo>
                  <a:lnTo>
                    <a:pt x="167" y="189"/>
                  </a:lnTo>
                  <a:lnTo>
                    <a:pt x="157" y="188"/>
                  </a:lnTo>
                  <a:lnTo>
                    <a:pt x="157" y="179"/>
                  </a:lnTo>
                  <a:lnTo>
                    <a:pt x="118" y="136"/>
                  </a:lnTo>
                  <a:lnTo>
                    <a:pt x="108" y="135"/>
                  </a:lnTo>
                  <a:lnTo>
                    <a:pt x="101" y="142"/>
                  </a:lnTo>
                  <a:lnTo>
                    <a:pt x="85" y="151"/>
                  </a:lnTo>
                  <a:lnTo>
                    <a:pt x="75" y="154"/>
                  </a:lnTo>
                  <a:lnTo>
                    <a:pt x="63" y="139"/>
                  </a:lnTo>
                  <a:lnTo>
                    <a:pt x="35" y="139"/>
                  </a:lnTo>
                  <a:lnTo>
                    <a:pt x="16" y="151"/>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grpSp>
        <p:nvGrpSpPr>
          <p:cNvPr id="25" name="GB"/>
          <p:cNvGrpSpPr/>
          <p:nvPr/>
        </p:nvGrpSpPr>
        <p:grpSpPr>
          <a:xfrm>
            <a:off x="4144882" y="2354268"/>
            <a:ext cx="849313" cy="1277938"/>
            <a:chOff x="1096963" y="2672443"/>
            <a:chExt cx="849312" cy="1277938"/>
          </a:xfrm>
          <a:solidFill>
            <a:srgbClr val="FAFAFA"/>
          </a:solidFill>
          <a:effectLst/>
        </p:grpSpPr>
        <p:sp>
          <p:nvSpPr>
            <p:cNvPr id="97" name="Freeform 568"/>
            <p:cNvSpPr>
              <a:spLocks noChangeAspect="1"/>
            </p:cNvSpPr>
            <p:nvPr/>
          </p:nvSpPr>
          <p:spPr bwMode="auto">
            <a:xfrm>
              <a:off x="1096963" y="2689817"/>
              <a:ext cx="849312" cy="1260564"/>
            </a:xfrm>
            <a:custGeom>
              <a:avLst/>
              <a:gdLst>
                <a:gd name="T0" fmla="*/ 186 w 571"/>
                <a:gd name="T1" fmla="*/ 731 h 1058"/>
                <a:gd name="T2" fmla="*/ 123 w 571"/>
                <a:gd name="T3" fmla="*/ 779 h 1058"/>
                <a:gd name="T4" fmla="*/ 106 w 571"/>
                <a:gd name="T5" fmla="*/ 823 h 1058"/>
                <a:gd name="T6" fmla="*/ 143 w 571"/>
                <a:gd name="T7" fmla="*/ 847 h 1058"/>
                <a:gd name="T8" fmla="*/ 173 w 571"/>
                <a:gd name="T9" fmla="*/ 863 h 1058"/>
                <a:gd name="T10" fmla="*/ 228 w 571"/>
                <a:gd name="T11" fmla="*/ 876 h 1058"/>
                <a:gd name="T12" fmla="*/ 192 w 571"/>
                <a:gd name="T13" fmla="*/ 924 h 1058"/>
                <a:gd name="T14" fmla="*/ 110 w 571"/>
                <a:gd name="T15" fmla="*/ 897 h 1058"/>
                <a:gd name="T16" fmla="*/ 52 w 571"/>
                <a:gd name="T17" fmla="*/ 953 h 1058"/>
                <a:gd name="T18" fmla="*/ 3 w 571"/>
                <a:gd name="T19" fmla="*/ 981 h 1058"/>
                <a:gd name="T20" fmla="*/ 28 w 571"/>
                <a:gd name="T21" fmla="*/ 1005 h 1058"/>
                <a:gd name="T22" fmla="*/ 75 w 571"/>
                <a:gd name="T23" fmla="*/ 997 h 1058"/>
                <a:gd name="T24" fmla="*/ 139 w 571"/>
                <a:gd name="T25" fmla="*/ 1027 h 1058"/>
                <a:gd name="T26" fmla="*/ 187 w 571"/>
                <a:gd name="T27" fmla="*/ 978 h 1058"/>
                <a:gd name="T28" fmla="*/ 230 w 571"/>
                <a:gd name="T29" fmla="*/ 1008 h 1058"/>
                <a:gd name="T30" fmla="*/ 291 w 571"/>
                <a:gd name="T31" fmla="*/ 1018 h 1058"/>
                <a:gd name="T32" fmla="*/ 336 w 571"/>
                <a:gd name="T33" fmla="*/ 1014 h 1058"/>
                <a:gd name="T34" fmla="*/ 398 w 571"/>
                <a:gd name="T35" fmla="*/ 1042 h 1058"/>
                <a:gd name="T36" fmla="*/ 451 w 571"/>
                <a:gd name="T37" fmla="*/ 1048 h 1058"/>
                <a:gd name="T38" fmla="*/ 503 w 571"/>
                <a:gd name="T39" fmla="*/ 1027 h 1058"/>
                <a:gd name="T40" fmla="*/ 481 w 571"/>
                <a:gd name="T41" fmla="*/ 978 h 1058"/>
                <a:gd name="T42" fmla="*/ 484 w 571"/>
                <a:gd name="T43" fmla="*/ 947 h 1058"/>
                <a:gd name="T44" fmla="*/ 552 w 571"/>
                <a:gd name="T45" fmla="*/ 897 h 1058"/>
                <a:gd name="T46" fmla="*/ 571 w 571"/>
                <a:gd name="T47" fmla="*/ 829 h 1058"/>
                <a:gd name="T48" fmla="*/ 522 w 571"/>
                <a:gd name="T49" fmla="*/ 792 h 1058"/>
                <a:gd name="T50" fmla="*/ 486 w 571"/>
                <a:gd name="T51" fmla="*/ 789 h 1058"/>
                <a:gd name="T52" fmla="*/ 498 w 571"/>
                <a:gd name="T53" fmla="*/ 724 h 1058"/>
                <a:gd name="T54" fmla="*/ 498 w 571"/>
                <a:gd name="T55" fmla="*/ 634 h 1058"/>
                <a:gd name="T56" fmla="*/ 447 w 571"/>
                <a:gd name="T57" fmla="*/ 532 h 1058"/>
                <a:gd name="T58" fmla="*/ 447 w 571"/>
                <a:gd name="T59" fmla="*/ 451 h 1058"/>
                <a:gd name="T60" fmla="*/ 431 w 571"/>
                <a:gd name="T61" fmla="*/ 387 h 1058"/>
                <a:gd name="T62" fmla="*/ 376 w 571"/>
                <a:gd name="T63" fmla="*/ 352 h 1058"/>
                <a:gd name="T64" fmla="*/ 371 w 571"/>
                <a:gd name="T65" fmla="*/ 327 h 1058"/>
                <a:gd name="T66" fmla="*/ 418 w 571"/>
                <a:gd name="T67" fmla="*/ 334 h 1058"/>
                <a:gd name="T68" fmla="*/ 491 w 571"/>
                <a:gd name="T69" fmla="*/ 234 h 1058"/>
                <a:gd name="T70" fmla="*/ 486 w 571"/>
                <a:gd name="T71" fmla="*/ 170 h 1058"/>
                <a:gd name="T72" fmla="*/ 418 w 571"/>
                <a:gd name="T73" fmla="*/ 139 h 1058"/>
                <a:gd name="T74" fmla="*/ 381 w 571"/>
                <a:gd name="T75" fmla="*/ 142 h 1058"/>
                <a:gd name="T76" fmla="*/ 401 w 571"/>
                <a:gd name="T77" fmla="*/ 102 h 1058"/>
                <a:gd name="T78" fmla="*/ 475 w 571"/>
                <a:gd name="T79" fmla="*/ 52 h 1058"/>
                <a:gd name="T80" fmla="*/ 428 w 571"/>
                <a:gd name="T81" fmla="*/ 18 h 1058"/>
                <a:gd name="T82" fmla="*/ 351 w 571"/>
                <a:gd name="T83" fmla="*/ 31 h 1058"/>
                <a:gd name="T84" fmla="*/ 315 w 571"/>
                <a:gd name="T85" fmla="*/ 68 h 1058"/>
                <a:gd name="T86" fmla="*/ 291 w 571"/>
                <a:gd name="T87" fmla="*/ 118 h 1058"/>
                <a:gd name="T88" fmla="*/ 230 w 571"/>
                <a:gd name="T89" fmla="*/ 203 h 1058"/>
                <a:gd name="T90" fmla="*/ 270 w 571"/>
                <a:gd name="T91" fmla="*/ 220 h 1058"/>
                <a:gd name="T92" fmla="*/ 214 w 571"/>
                <a:gd name="T93" fmla="*/ 327 h 1058"/>
                <a:gd name="T94" fmla="*/ 233 w 571"/>
                <a:gd name="T95" fmla="*/ 343 h 1058"/>
                <a:gd name="T96" fmla="*/ 268 w 571"/>
                <a:gd name="T97" fmla="*/ 365 h 1058"/>
                <a:gd name="T98" fmla="*/ 228 w 571"/>
                <a:gd name="T99" fmla="*/ 429 h 1058"/>
                <a:gd name="T100" fmla="*/ 285 w 571"/>
                <a:gd name="T101" fmla="*/ 471 h 1058"/>
                <a:gd name="T102" fmla="*/ 319 w 571"/>
                <a:gd name="T103" fmla="*/ 485 h 1058"/>
                <a:gd name="T104" fmla="*/ 308 w 571"/>
                <a:gd name="T105" fmla="*/ 576 h 1058"/>
                <a:gd name="T106" fmla="*/ 305 w 571"/>
                <a:gd name="T107" fmla="*/ 637 h 1058"/>
                <a:gd name="T108" fmla="*/ 280 w 571"/>
                <a:gd name="T109" fmla="*/ 665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1" h="1058">
                  <a:moveTo>
                    <a:pt x="171" y="678"/>
                  </a:moveTo>
                  <a:lnTo>
                    <a:pt x="198" y="705"/>
                  </a:lnTo>
                  <a:lnTo>
                    <a:pt x="186" y="731"/>
                  </a:lnTo>
                  <a:lnTo>
                    <a:pt x="170" y="752"/>
                  </a:lnTo>
                  <a:lnTo>
                    <a:pt x="143" y="766"/>
                  </a:lnTo>
                  <a:lnTo>
                    <a:pt x="123" y="779"/>
                  </a:lnTo>
                  <a:lnTo>
                    <a:pt x="101" y="782"/>
                  </a:lnTo>
                  <a:lnTo>
                    <a:pt x="90" y="792"/>
                  </a:lnTo>
                  <a:lnTo>
                    <a:pt x="106" y="823"/>
                  </a:lnTo>
                  <a:lnTo>
                    <a:pt x="132" y="823"/>
                  </a:lnTo>
                  <a:lnTo>
                    <a:pt x="143" y="826"/>
                  </a:lnTo>
                  <a:lnTo>
                    <a:pt x="143" y="847"/>
                  </a:lnTo>
                  <a:lnTo>
                    <a:pt x="157" y="847"/>
                  </a:lnTo>
                  <a:lnTo>
                    <a:pt x="167" y="842"/>
                  </a:lnTo>
                  <a:lnTo>
                    <a:pt x="173" y="863"/>
                  </a:lnTo>
                  <a:lnTo>
                    <a:pt x="187" y="882"/>
                  </a:lnTo>
                  <a:lnTo>
                    <a:pt x="211" y="882"/>
                  </a:lnTo>
                  <a:lnTo>
                    <a:pt x="228" y="876"/>
                  </a:lnTo>
                  <a:lnTo>
                    <a:pt x="242" y="882"/>
                  </a:lnTo>
                  <a:lnTo>
                    <a:pt x="206" y="916"/>
                  </a:lnTo>
                  <a:lnTo>
                    <a:pt x="192" y="924"/>
                  </a:lnTo>
                  <a:lnTo>
                    <a:pt x="173" y="916"/>
                  </a:lnTo>
                  <a:lnTo>
                    <a:pt x="132" y="897"/>
                  </a:lnTo>
                  <a:lnTo>
                    <a:pt x="110" y="897"/>
                  </a:lnTo>
                  <a:lnTo>
                    <a:pt x="91" y="916"/>
                  </a:lnTo>
                  <a:lnTo>
                    <a:pt x="66" y="940"/>
                  </a:lnTo>
                  <a:lnTo>
                    <a:pt x="52" y="953"/>
                  </a:lnTo>
                  <a:lnTo>
                    <a:pt x="35" y="958"/>
                  </a:lnTo>
                  <a:lnTo>
                    <a:pt x="16" y="968"/>
                  </a:lnTo>
                  <a:lnTo>
                    <a:pt x="3" y="981"/>
                  </a:lnTo>
                  <a:lnTo>
                    <a:pt x="0" y="990"/>
                  </a:lnTo>
                  <a:lnTo>
                    <a:pt x="16" y="993"/>
                  </a:lnTo>
                  <a:lnTo>
                    <a:pt x="28" y="1005"/>
                  </a:lnTo>
                  <a:lnTo>
                    <a:pt x="44" y="1014"/>
                  </a:lnTo>
                  <a:lnTo>
                    <a:pt x="61" y="1005"/>
                  </a:lnTo>
                  <a:lnTo>
                    <a:pt x="75" y="997"/>
                  </a:lnTo>
                  <a:lnTo>
                    <a:pt x="91" y="1000"/>
                  </a:lnTo>
                  <a:lnTo>
                    <a:pt x="115" y="1015"/>
                  </a:lnTo>
                  <a:lnTo>
                    <a:pt x="139" y="1027"/>
                  </a:lnTo>
                  <a:lnTo>
                    <a:pt x="155" y="1015"/>
                  </a:lnTo>
                  <a:lnTo>
                    <a:pt x="162" y="995"/>
                  </a:lnTo>
                  <a:lnTo>
                    <a:pt x="187" y="978"/>
                  </a:lnTo>
                  <a:lnTo>
                    <a:pt x="204" y="978"/>
                  </a:lnTo>
                  <a:lnTo>
                    <a:pt x="219" y="997"/>
                  </a:lnTo>
                  <a:lnTo>
                    <a:pt x="230" y="1008"/>
                  </a:lnTo>
                  <a:lnTo>
                    <a:pt x="249" y="1008"/>
                  </a:lnTo>
                  <a:lnTo>
                    <a:pt x="275" y="1011"/>
                  </a:lnTo>
                  <a:lnTo>
                    <a:pt x="291" y="1018"/>
                  </a:lnTo>
                  <a:lnTo>
                    <a:pt x="308" y="1005"/>
                  </a:lnTo>
                  <a:lnTo>
                    <a:pt x="322" y="1005"/>
                  </a:lnTo>
                  <a:lnTo>
                    <a:pt x="336" y="1014"/>
                  </a:lnTo>
                  <a:lnTo>
                    <a:pt x="352" y="1034"/>
                  </a:lnTo>
                  <a:lnTo>
                    <a:pt x="374" y="1037"/>
                  </a:lnTo>
                  <a:lnTo>
                    <a:pt x="398" y="1042"/>
                  </a:lnTo>
                  <a:lnTo>
                    <a:pt x="414" y="1052"/>
                  </a:lnTo>
                  <a:lnTo>
                    <a:pt x="434" y="1058"/>
                  </a:lnTo>
                  <a:lnTo>
                    <a:pt x="451" y="1048"/>
                  </a:lnTo>
                  <a:lnTo>
                    <a:pt x="472" y="1034"/>
                  </a:lnTo>
                  <a:lnTo>
                    <a:pt x="486" y="1031"/>
                  </a:lnTo>
                  <a:lnTo>
                    <a:pt x="503" y="1027"/>
                  </a:lnTo>
                  <a:lnTo>
                    <a:pt x="519" y="1011"/>
                  </a:lnTo>
                  <a:lnTo>
                    <a:pt x="508" y="995"/>
                  </a:lnTo>
                  <a:lnTo>
                    <a:pt x="481" y="978"/>
                  </a:lnTo>
                  <a:lnTo>
                    <a:pt x="472" y="968"/>
                  </a:lnTo>
                  <a:lnTo>
                    <a:pt x="472" y="958"/>
                  </a:lnTo>
                  <a:lnTo>
                    <a:pt x="484" y="947"/>
                  </a:lnTo>
                  <a:lnTo>
                    <a:pt x="503" y="944"/>
                  </a:lnTo>
                  <a:lnTo>
                    <a:pt x="522" y="934"/>
                  </a:lnTo>
                  <a:lnTo>
                    <a:pt x="552" y="897"/>
                  </a:lnTo>
                  <a:lnTo>
                    <a:pt x="566" y="879"/>
                  </a:lnTo>
                  <a:lnTo>
                    <a:pt x="571" y="847"/>
                  </a:lnTo>
                  <a:lnTo>
                    <a:pt x="571" y="829"/>
                  </a:lnTo>
                  <a:lnTo>
                    <a:pt x="557" y="816"/>
                  </a:lnTo>
                  <a:lnTo>
                    <a:pt x="538" y="801"/>
                  </a:lnTo>
                  <a:lnTo>
                    <a:pt x="522" y="792"/>
                  </a:lnTo>
                  <a:lnTo>
                    <a:pt x="503" y="795"/>
                  </a:lnTo>
                  <a:lnTo>
                    <a:pt x="491" y="802"/>
                  </a:lnTo>
                  <a:lnTo>
                    <a:pt x="486" y="789"/>
                  </a:lnTo>
                  <a:lnTo>
                    <a:pt x="496" y="768"/>
                  </a:lnTo>
                  <a:lnTo>
                    <a:pt x="500" y="752"/>
                  </a:lnTo>
                  <a:lnTo>
                    <a:pt x="498" y="724"/>
                  </a:lnTo>
                  <a:lnTo>
                    <a:pt x="496" y="684"/>
                  </a:lnTo>
                  <a:lnTo>
                    <a:pt x="503" y="653"/>
                  </a:lnTo>
                  <a:lnTo>
                    <a:pt x="498" y="634"/>
                  </a:lnTo>
                  <a:lnTo>
                    <a:pt x="486" y="613"/>
                  </a:lnTo>
                  <a:lnTo>
                    <a:pt x="458" y="557"/>
                  </a:lnTo>
                  <a:lnTo>
                    <a:pt x="447" y="532"/>
                  </a:lnTo>
                  <a:lnTo>
                    <a:pt x="442" y="500"/>
                  </a:lnTo>
                  <a:lnTo>
                    <a:pt x="439" y="482"/>
                  </a:lnTo>
                  <a:lnTo>
                    <a:pt x="447" y="451"/>
                  </a:lnTo>
                  <a:lnTo>
                    <a:pt x="447" y="426"/>
                  </a:lnTo>
                  <a:lnTo>
                    <a:pt x="442" y="399"/>
                  </a:lnTo>
                  <a:lnTo>
                    <a:pt x="431" y="387"/>
                  </a:lnTo>
                  <a:lnTo>
                    <a:pt x="409" y="362"/>
                  </a:lnTo>
                  <a:lnTo>
                    <a:pt x="393" y="355"/>
                  </a:lnTo>
                  <a:lnTo>
                    <a:pt x="376" y="352"/>
                  </a:lnTo>
                  <a:lnTo>
                    <a:pt x="365" y="350"/>
                  </a:lnTo>
                  <a:lnTo>
                    <a:pt x="365" y="337"/>
                  </a:lnTo>
                  <a:lnTo>
                    <a:pt x="371" y="327"/>
                  </a:lnTo>
                  <a:lnTo>
                    <a:pt x="390" y="324"/>
                  </a:lnTo>
                  <a:lnTo>
                    <a:pt x="407" y="331"/>
                  </a:lnTo>
                  <a:lnTo>
                    <a:pt x="418" y="334"/>
                  </a:lnTo>
                  <a:lnTo>
                    <a:pt x="426" y="321"/>
                  </a:lnTo>
                  <a:lnTo>
                    <a:pt x="423" y="306"/>
                  </a:lnTo>
                  <a:lnTo>
                    <a:pt x="491" y="234"/>
                  </a:lnTo>
                  <a:lnTo>
                    <a:pt x="503" y="219"/>
                  </a:lnTo>
                  <a:lnTo>
                    <a:pt x="503" y="186"/>
                  </a:lnTo>
                  <a:lnTo>
                    <a:pt x="486" y="170"/>
                  </a:lnTo>
                  <a:lnTo>
                    <a:pt x="467" y="168"/>
                  </a:lnTo>
                  <a:lnTo>
                    <a:pt x="451" y="139"/>
                  </a:lnTo>
                  <a:lnTo>
                    <a:pt x="418" y="139"/>
                  </a:lnTo>
                  <a:lnTo>
                    <a:pt x="418" y="139"/>
                  </a:lnTo>
                  <a:lnTo>
                    <a:pt x="388" y="145"/>
                  </a:lnTo>
                  <a:lnTo>
                    <a:pt x="381" y="142"/>
                  </a:lnTo>
                  <a:lnTo>
                    <a:pt x="374" y="129"/>
                  </a:lnTo>
                  <a:lnTo>
                    <a:pt x="388" y="118"/>
                  </a:lnTo>
                  <a:lnTo>
                    <a:pt x="401" y="102"/>
                  </a:lnTo>
                  <a:lnTo>
                    <a:pt x="431" y="74"/>
                  </a:lnTo>
                  <a:lnTo>
                    <a:pt x="453" y="71"/>
                  </a:lnTo>
                  <a:lnTo>
                    <a:pt x="475" y="52"/>
                  </a:lnTo>
                  <a:lnTo>
                    <a:pt x="496" y="34"/>
                  </a:lnTo>
                  <a:lnTo>
                    <a:pt x="448" y="21"/>
                  </a:lnTo>
                  <a:lnTo>
                    <a:pt x="428" y="18"/>
                  </a:lnTo>
                  <a:lnTo>
                    <a:pt x="404" y="15"/>
                  </a:lnTo>
                  <a:lnTo>
                    <a:pt x="376" y="0"/>
                  </a:lnTo>
                  <a:lnTo>
                    <a:pt x="351" y="31"/>
                  </a:lnTo>
                  <a:lnTo>
                    <a:pt x="352" y="47"/>
                  </a:lnTo>
                  <a:lnTo>
                    <a:pt x="338" y="52"/>
                  </a:lnTo>
                  <a:lnTo>
                    <a:pt x="315" y="68"/>
                  </a:lnTo>
                  <a:lnTo>
                    <a:pt x="294" y="77"/>
                  </a:lnTo>
                  <a:lnTo>
                    <a:pt x="294" y="99"/>
                  </a:lnTo>
                  <a:lnTo>
                    <a:pt x="291" y="118"/>
                  </a:lnTo>
                  <a:lnTo>
                    <a:pt x="272" y="148"/>
                  </a:lnTo>
                  <a:lnTo>
                    <a:pt x="242" y="185"/>
                  </a:lnTo>
                  <a:lnTo>
                    <a:pt x="230" y="203"/>
                  </a:lnTo>
                  <a:lnTo>
                    <a:pt x="237" y="216"/>
                  </a:lnTo>
                  <a:lnTo>
                    <a:pt x="268" y="213"/>
                  </a:lnTo>
                  <a:lnTo>
                    <a:pt x="270" y="220"/>
                  </a:lnTo>
                  <a:lnTo>
                    <a:pt x="270" y="234"/>
                  </a:lnTo>
                  <a:lnTo>
                    <a:pt x="228" y="294"/>
                  </a:lnTo>
                  <a:lnTo>
                    <a:pt x="214" y="327"/>
                  </a:lnTo>
                  <a:lnTo>
                    <a:pt x="204" y="355"/>
                  </a:lnTo>
                  <a:lnTo>
                    <a:pt x="214" y="368"/>
                  </a:lnTo>
                  <a:lnTo>
                    <a:pt x="233" y="343"/>
                  </a:lnTo>
                  <a:lnTo>
                    <a:pt x="252" y="313"/>
                  </a:lnTo>
                  <a:lnTo>
                    <a:pt x="266" y="321"/>
                  </a:lnTo>
                  <a:lnTo>
                    <a:pt x="268" y="365"/>
                  </a:lnTo>
                  <a:lnTo>
                    <a:pt x="270" y="395"/>
                  </a:lnTo>
                  <a:lnTo>
                    <a:pt x="244" y="411"/>
                  </a:lnTo>
                  <a:lnTo>
                    <a:pt x="228" y="429"/>
                  </a:lnTo>
                  <a:lnTo>
                    <a:pt x="223" y="445"/>
                  </a:lnTo>
                  <a:lnTo>
                    <a:pt x="256" y="476"/>
                  </a:lnTo>
                  <a:lnTo>
                    <a:pt x="285" y="471"/>
                  </a:lnTo>
                  <a:lnTo>
                    <a:pt x="291" y="489"/>
                  </a:lnTo>
                  <a:lnTo>
                    <a:pt x="322" y="468"/>
                  </a:lnTo>
                  <a:lnTo>
                    <a:pt x="319" y="485"/>
                  </a:lnTo>
                  <a:lnTo>
                    <a:pt x="294" y="519"/>
                  </a:lnTo>
                  <a:lnTo>
                    <a:pt x="305" y="556"/>
                  </a:lnTo>
                  <a:lnTo>
                    <a:pt x="308" y="576"/>
                  </a:lnTo>
                  <a:lnTo>
                    <a:pt x="334" y="579"/>
                  </a:lnTo>
                  <a:lnTo>
                    <a:pt x="336" y="597"/>
                  </a:lnTo>
                  <a:lnTo>
                    <a:pt x="305" y="637"/>
                  </a:lnTo>
                  <a:lnTo>
                    <a:pt x="294" y="631"/>
                  </a:lnTo>
                  <a:lnTo>
                    <a:pt x="282" y="644"/>
                  </a:lnTo>
                  <a:lnTo>
                    <a:pt x="280" y="665"/>
                  </a:lnTo>
                  <a:lnTo>
                    <a:pt x="249" y="647"/>
                  </a:lnTo>
                  <a:lnTo>
                    <a:pt x="171" y="678"/>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8" name="Freeform 569"/>
            <p:cNvSpPr>
              <a:spLocks noChangeAspect="1"/>
            </p:cNvSpPr>
            <p:nvPr/>
          </p:nvSpPr>
          <p:spPr bwMode="auto">
            <a:xfrm>
              <a:off x="1406995" y="3301760"/>
              <a:ext cx="67683" cy="42469"/>
            </a:xfrm>
            <a:custGeom>
              <a:avLst/>
              <a:gdLst>
                <a:gd name="T0" fmla="*/ 24 w 47"/>
                <a:gd name="T1" fmla="*/ 0 h 39"/>
                <a:gd name="T2" fmla="*/ 45 w 47"/>
                <a:gd name="T3" fmla="*/ 3 h 39"/>
                <a:gd name="T4" fmla="*/ 47 w 47"/>
                <a:gd name="T5" fmla="*/ 17 h 39"/>
                <a:gd name="T6" fmla="*/ 26 w 47"/>
                <a:gd name="T7" fmla="*/ 33 h 39"/>
                <a:gd name="T8" fmla="*/ 3 w 47"/>
                <a:gd name="T9" fmla="*/ 39 h 39"/>
                <a:gd name="T10" fmla="*/ 0 w 47"/>
                <a:gd name="T11" fmla="*/ 22 h 39"/>
                <a:gd name="T12" fmla="*/ 24 w 4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47" h="39">
                  <a:moveTo>
                    <a:pt x="24" y="0"/>
                  </a:moveTo>
                  <a:lnTo>
                    <a:pt x="45" y="3"/>
                  </a:lnTo>
                  <a:lnTo>
                    <a:pt x="47" y="17"/>
                  </a:lnTo>
                  <a:lnTo>
                    <a:pt x="26" y="33"/>
                  </a:lnTo>
                  <a:lnTo>
                    <a:pt x="3" y="39"/>
                  </a:lnTo>
                  <a:lnTo>
                    <a:pt x="0" y="22"/>
                  </a:lnTo>
                  <a:lnTo>
                    <a:pt x="24"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9" name="Freeform 570"/>
            <p:cNvSpPr>
              <a:spLocks noChangeAspect="1"/>
            </p:cNvSpPr>
            <p:nvPr/>
          </p:nvSpPr>
          <p:spPr bwMode="auto">
            <a:xfrm>
              <a:off x="1358962" y="3006406"/>
              <a:ext cx="67683" cy="42469"/>
            </a:xfrm>
            <a:custGeom>
              <a:avLst/>
              <a:gdLst>
                <a:gd name="T0" fmla="*/ 40 w 47"/>
                <a:gd name="T1" fmla="*/ 0 h 39"/>
                <a:gd name="T2" fmla="*/ 47 w 47"/>
                <a:gd name="T3" fmla="*/ 19 h 39"/>
                <a:gd name="T4" fmla="*/ 25 w 47"/>
                <a:gd name="T5" fmla="*/ 33 h 39"/>
                <a:gd name="T6" fmla="*/ 6 w 47"/>
                <a:gd name="T7" fmla="*/ 39 h 39"/>
                <a:gd name="T8" fmla="*/ 0 w 47"/>
                <a:gd name="T9" fmla="*/ 20 h 39"/>
                <a:gd name="T10" fmla="*/ 9 w 47"/>
                <a:gd name="T11" fmla="*/ 7 h 39"/>
                <a:gd name="T12" fmla="*/ 40 w 4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47" h="39">
                  <a:moveTo>
                    <a:pt x="40" y="0"/>
                  </a:moveTo>
                  <a:lnTo>
                    <a:pt x="47" y="19"/>
                  </a:lnTo>
                  <a:lnTo>
                    <a:pt x="25" y="33"/>
                  </a:lnTo>
                  <a:lnTo>
                    <a:pt x="6" y="39"/>
                  </a:lnTo>
                  <a:lnTo>
                    <a:pt x="0" y="20"/>
                  </a:lnTo>
                  <a:lnTo>
                    <a:pt x="9" y="7"/>
                  </a:lnTo>
                  <a:lnTo>
                    <a:pt x="40"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00" name="Freeform 571"/>
            <p:cNvSpPr>
              <a:spLocks noChangeAspect="1"/>
            </p:cNvSpPr>
            <p:nvPr/>
          </p:nvSpPr>
          <p:spPr bwMode="auto">
            <a:xfrm>
              <a:off x="1459394" y="2772825"/>
              <a:ext cx="37116" cy="88799"/>
            </a:xfrm>
            <a:custGeom>
              <a:avLst/>
              <a:gdLst>
                <a:gd name="T0" fmla="*/ 11 w 25"/>
                <a:gd name="T1" fmla="*/ 74 h 74"/>
                <a:gd name="T2" fmla="*/ 25 w 25"/>
                <a:gd name="T3" fmla="*/ 55 h 74"/>
                <a:gd name="T4" fmla="*/ 20 w 25"/>
                <a:gd name="T5" fmla="*/ 31 h 74"/>
                <a:gd name="T6" fmla="*/ 16 w 25"/>
                <a:gd name="T7" fmla="*/ 18 h 74"/>
                <a:gd name="T8" fmla="*/ 11 w 25"/>
                <a:gd name="T9" fmla="*/ 0 h 74"/>
                <a:gd name="T10" fmla="*/ 0 w 25"/>
                <a:gd name="T11" fmla="*/ 8 h 74"/>
                <a:gd name="T12" fmla="*/ 6 w 25"/>
                <a:gd name="T13" fmla="*/ 34 h 74"/>
                <a:gd name="T14" fmla="*/ 11 w 25"/>
                <a:gd name="T15" fmla="*/ 7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74">
                  <a:moveTo>
                    <a:pt x="11" y="74"/>
                  </a:moveTo>
                  <a:lnTo>
                    <a:pt x="25" y="55"/>
                  </a:lnTo>
                  <a:lnTo>
                    <a:pt x="20" y="31"/>
                  </a:lnTo>
                  <a:lnTo>
                    <a:pt x="16" y="18"/>
                  </a:lnTo>
                  <a:lnTo>
                    <a:pt x="11" y="0"/>
                  </a:lnTo>
                  <a:lnTo>
                    <a:pt x="0" y="8"/>
                  </a:lnTo>
                  <a:lnTo>
                    <a:pt x="6" y="34"/>
                  </a:lnTo>
                  <a:lnTo>
                    <a:pt x="11" y="74"/>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101" name="Freeform 572"/>
            <p:cNvSpPr>
              <a:spLocks noChangeAspect="1"/>
            </p:cNvSpPr>
            <p:nvPr/>
          </p:nvSpPr>
          <p:spPr bwMode="auto">
            <a:xfrm>
              <a:off x="1452844" y="2672443"/>
              <a:ext cx="96066" cy="63704"/>
            </a:xfrm>
            <a:custGeom>
              <a:avLst/>
              <a:gdLst>
                <a:gd name="T0" fmla="*/ 56 w 63"/>
                <a:gd name="T1" fmla="*/ 0 h 53"/>
                <a:gd name="T2" fmla="*/ 63 w 63"/>
                <a:gd name="T3" fmla="*/ 13 h 53"/>
                <a:gd name="T4" fmla="*/ 39 w 63"/>
                <a:gd name="T5" fmla="*/ 28 h 53"/>
                <a:gd name="T6" fmla="*/ 16 w 63"/>
                <a:gd name="T7" fmla="*/ 53 h 53"/>
                <a:gd name="T8" fmla="*/ 2 w 63"/>
                <a:gd name="T9" fmla="*/ 47 h 53"/>
                <a:gd name="T10" fmla="*/ 0 w 63"/>
                <a:gd name="T11" fmla="*/ 18 h 53"/>
                <a:gd name="T12" fmla="*/ 0 w 63"/>
                <a:gd name="T13" fmla="*/ 8 h 53"/>
                <a:gd name="T14" fmla="*/ 38 w 63"/>
                <a:gd name="T15" fmla="*/ 0 h 53"/>
                <a:gd name="T16" fmla="*/ 56 w 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53">
                  <a:moveTo>
                    <a:pt x="56" y="0"/>
                  </a:moveTo>
                  <a:lnTo>
                    <a:pt x="63" y="13"/>
                  </a:lnTo>
                  <a:lnTo>
                    <a:pt x="39" y="28"/>
                  </a:lnTo>
                  <a:lnTo>
                    <a:pt x="16" y="53"/>
                  </a:lnTo>
                  <a:lnTo>
                    <a:pt x="2" y="47"/>
                  </a:lnTo>
                  <a:lnTo>
                    <a:pt x="0" y="18"/>
                  </a:lnTo>
                  <a:lnTo>
                    <a:pt x="0" y="8"/>
                  </a:lnTo>
                  <a:lnTo>
                    <a:pt x="38" y="0"/>
                  </a:lnTo>
                  <a:lnTo>
                    <a:pt x="56"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sp>
        <p:nvSpPr>
          <p:cNvPr id="26" name="PL"/>
          <p:cNvSpPr>
            <a:spLocks noChangeAspect="1"/>
          </p:cNvSpPr>
          <p:nvPr/>
        </p:nvSpPr>
        <p:spPr bwMode="auto">
          <a:xfrm>
            <a:off x="6248400" y="3259138"/>
            <a:ext cx="1028700" cy="876300"/>
          </a:xfrm>
          <a:custGeom>
            <a:avLst/>
            <a:gdLst>
              <a:gd name="T0" fmla="*/ 14 w 697"/>
              <a:gd name="T1" fmla="*/ 185 h 735"/>
              <a:gd name="T2" fmla="*/ 0 w 697"/>
              <a:gd name="T3" fmla="*/ 235 h 735"/>
              <a:gd name="T4" fmla="*/ 31 w 697"/>
              <a:gd name="T5" fmla="*/ 282 h 735"/>
              <a:gd name="T6" fmla="*/ 25 w 697"/>
              <a:gd name="T7" fmla="*/ 322 h 735"/>
              <a:gd name="T8" fmla="*/ 38 w 697"/>
              <a:gd name="T9" fmla="*/ 356 h 735"/>
              <a:gd name="T10" fmla="*/ 47 w 697"/>
              <a:gd name="T11" fmla="*/ 423 h 735"/>
              <a:gd name="T12" fmla="*/ 50 w 697"/>
              <a:gd name="T13" fmla="*/ 448 h 735"/>
              <a:gd name="T14" fmla="*/ 42 w 697"/>
              <a:gd name="T15" fmla="*/ 472 h 735"/>
              <a:gd name="T16" fmla="*/ 61 w 697"/>
              <a:gd name="T17" fmla="*/ 485 h 735"/>
              <a:gd name="T18" fmla="*/ 80 w 697"/>
              <a:gd name="T19" fmla="*/ 501 h 735"/>
              <a:gd name="T20" fmla="*/ 99 w 697"/>
              <a:gd name="T21" fmla="*/ 541 h 735"/>
              <a:gd name="T22" fmla="*/ 119 w 697"/>
              <a:gd name="T23" fmla="*/ 568 h 735"/>
              <a:gd name="T24" fmla="*/ 160 w 697"/>
              <a:gd name="T25" fmla="*/ 580 h 735"/>
              <a:gd name="T26" fmla="*/ 188 w 697"/>
              <a:gd name="T27" fmla="*/ 578 h 735"/>
              <a:gd name="T28" fmla="*/ 228 w 697"/>
              <a:gd name="T29" fmla="*/ 620 h 735"/>
              <a:gd name="T30" fmla="*/ 276 w 697"/>
              <a:gd name="T31" fmla="*/ 643 h 735"/>
              <a:gd name="T32" fmla="*/ 312 w 697"/>
              <a:gd name="T33" fmla="*/ 636 h 735"/>
              <a:gd name="T34" fmla="*/ 350 w 697"/>
              <a:gd name="T35" fmla="*/ 664 h 735"/>
              <a:gd name="T36" fmla="*/ 369 w 697"/>
              <a:gd name="T37" fmla="*/ 667 h 735"/>
              <a:gd name="T38" fmla="*/ 397 w 697"/>
              <a:gd name="T39" fmla="*/ 680 h 735"/>
              <a:gd name="T40" fmla="*/ 429 w 697"/>
              <a:gd name="T41" fmla="*/ 707 h 735"/>
              <a:gd name="T42" fmla="*/ 457 w 697"/>
              <a:gd name="T43" fmla="*/ 711 h 735"/>
              <a:gd name="T44" fmla="*/ 479 w 697"/>
              <a:gd name="T45" fmla="*/ 696 h 735"/>
              <a:gd name="T46" fmla="*/ 609 w 697"/>
              <a:gd name="T47" fmla="*/ 735 h 735"/>
              <a:gd name="T48" fmla="*/ 614 w 697"/>
              <a:gd name="T49" fmla="*/ 696 h 735"/>
              <a:gd name="T50" fmla="*/ 678 w 697"/>
              <a:gd name="T51" fmla="*/ 580 h 735"/>
              <a:gd name="T52" fmla="*/ 697 w 697"/>
              <a:gd name="T53" fmla="*/ 532 h 735"/>
              <a:gd name="T54" fmla="*/ 673 w 697"/>
              <a:gd name="T55" fmla="*/ 461 h 735"/>
              <a:gd name="T56" fmla="*/ 638 w 697"/>
              <a:gd name="T57" fmla="*/ 408 h 735"/>
              <a:gd name="T58" fmla="*/ 638 w 697"/>
              <a:gd name="T59" fmla="*/ 361 h 735"/>
              <a:gd name="T60" fmla="*/ 636 w 697"/>
              <a:gd name="T61" fmla="*/ 322 h 735"/>
              <a:gd name="T62" fmla="*/ 636 w 697"/>
              <a:gd name="T63" fmla="*/ 296 h 735"/>
              <a:gd name="T64" fmla="*/ 661 w 697"/>
              <a:gd name="T65" fmla="*/ 259 h 735"/>
              <a:gd name="T66" fmla="*/ 650 w 697"/>
              <a:gd name="T67" fmla="*/ 182 h 735"/>
              <a:gd name="T68" fmla="*/ 642 w 697"/>
              <a:gd name="T69" fmla="*/ 129 h 735"/>
              <a:gd name="T70" fmla="*/ 609 w 697"/>
              <a:gd name="T71" fmla="*/ 84 h 735"/>
              <a:gd name="T72" fmla="*/ 528 w 697"/>
              <a:gd name="T73" fmla="*/ 80 h 735"/>
              <a:gd name="T74" fmla="*/ 435 w 697"/>
              <a:gd name="T75" fmla="*/ 71 h 735"/>
              <a:gd name="T76" fmla="*/ 385 w 697"/>
              <a:gd name="T77" fmla="*/ 56 h 735"/>
              <a:gd name="T78" fmla="*/ 355 w 697"/>
              <a:gd name="T79" fmla="*/ 74 h 735"/>
              <a:gd name="T80" fmla="*/ 326 w 697"/>
              <a:gd name="T81" fmla="*/ 53 h 735"/>
              <a:gd name="T82" fmla="*/ 303 w 697"/>
              <a:gd name="T83" fmla="*/ 46 h 735"/>
              <a:gd name="T84" fmla="*/ 276 w 697"/>
              <a:gd name="T85" fmla="*/ 3 h 735"/>
              <a:gd name="T86" fmla="*/ 232 w 697"/>
              <a:gd name="T87" fmla="*/ 9 h 735"/>
              <a:gd name="T88" fmla="*/ 190 w 697"/>
              <a:gd name="T89" fmla="*/ 28 h 735"/>
              <a:gd name="T90" fmla="*/ 124 w 697"/>
              <a:gd name="T91" fmla="*/ 61 h 735"/>
              <a:gd name="T92" fmla="*/ 66 w 697"/>
              <a:gd name="T93" fmla="*/ 90 h 735"/>
              <a:gd name="T94" fmla="*/ 31 w 697"/>
              <a:gd name="T95" fmla="*/ 129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97" h="735">
                <a:moveTo>
                  <a:pt x="17" y="139"/>
                </a:moveTo>
                <a:lnTo>
                  <a:pt x="14" y="185"/>
                </a:lnTo>
                <a:lnTo>
                  <a:pt x="14" y="213"/>
                </a:lnTo>
                <a:lnTo>
                  <a:pt x="0" y="235"/>
                </a:lnTo>
                <a:lnTo>
                  <a:pt x="28" y="272"/>
                </a:lnTo>
                <a:lnTo>
                  <a:pt x="31" y="282"/>
                </a:lnTo>
                <a:lnTo>
                  <a:pt x="24" y="306"/>
                </a:lnTo>
                <a:lnTo>
                  <a:pt x="25" y="322"/>
                </a:lnTo>
                <a:lnTo>
                  <a:pt x="39" y="343"/>
                </a:lnTo>
                <a:lnTo>
                  <a:pt x="38" y="356"/>
                </a:lnTo>
                <a:lnTo>
                  <a:pt x="36" y="395"/>
                </a:lnTo>
                <a:lnTo>
                  <a:pt x="47" y="423"/>
                </a:lnTo>
                <a:lnTo>
                  <a:pt x="56" y="438"/>
                </a:lnTo>
                <a:lnTo>
                  <a:pt x="50" y="448"/>
                </a:lnTo>
                <a:lnTo>
                  <a:pt x="50" y="464"/>
                </a:lnTo>
                <a:lnTo>
                  <a:pt x="42" y="472"/>
                </a:lnTo>
                <a:lnTo>
                  <a:pt x="42" y="482"/>
                </a:lnTo>
                <a:lnTo>
                  <a:pt x="61" y="485"/>
                </a:lnTo>
                <a:lnTo>
                  <a:pt x="75" y="491"/>
                </a:lnTo>
                <a:lnTo>
                  <a:pt x="80" y="501"/>
                </a:lnTo>
                <a:lnTo>
                  <a:pt x="80" y="519"/>
                </a:lnTo>
                <a:lnTo>
                  <a:pt x="99" y="541"/>
                </a:lnTo>
                <a:lnTo>
                  <a:pt x="115" y="549"/>
                </a:lnTo>
                <a:lnTo>
                  <a:pt x="119" y="568"/>
                </a:lnTo>
                <a:lnTo>
                  <a:pt x="141" y="599"/>
                </a:lnTo>
                <a:lnTo>
                  <a:pt x="160" y="580"/>
                </a:lnTo>
                <a:lnTo>
                  <a:pt x="176" y="575"/>
                </a:lnTo>
                <a:lnTo>
                  <a:pt x="188" y="578"/>
                </a:lnTo>
                <a:lnTo>
                  <a:pt x="220" y="617"/>
                </a:lnTo>
                <a:lnTo>
                  <a:pt x="228" y="620"/>
                </a:lnTo>
                <a:lnTo>
                  <a:pt x="267" y="640"/>
                </a:lnTo>
                <a:lnTo>
                  <a:pt x="276" y="643"/>
                </a:lnTo>
                <a:lnTo>
                  <a:pt x="293" y="639"/>
                </a:lnTo>
                <a:lnTo>
                  <a:pt x="312" y="636"/>
                </a:lnTo>
                <a:lnTo>
                  <a:pt x="328" y="643"/>
                </a:lnTo>
                <a:lnTo>
                  <a:pt x="350" y="664"/>
                </a:lnTo>
                <a:lnTo>
                  <a:pt x="359" y="676"/>
                </a:lnTo>
                <a:lnTo>
                  <a:pt x="369" y="667"/>
                </a:lnTo>
                <a:lnTo>
                  <a:pt x="380" y="664"/>
                </a:lnTo>
                <a:lnTo>
                  <a:pt x="397" y="680"/>
                </a:lnTo>
                <a:lnTo>
                  <a:pt x="416" y="696"/>
                </a:lnTo>
                <a:lnTo>
                  <a:pt x="429" y="707"/>
                </a:lnTo>
                <a:lnTo>
                  <a:pt x="448" y="714"/>
                </a:lnTo>
                <a:lnTo>
                  <a:pt x="457" y="711"/>
                </a:lnTo>
                <a:lnTo>
                  <a:pt x="466" y="701"/>
                </a:lnTo>
                <a:lnTo>
                  <a:pt x="479" y="696"/>
                </a:lnTo>
                <a:lnTo>
                  <a:pt x="502" y="704"/>
                </a:lnTo>
                <a:lnTo>
                  <a:pt x="609" y="735"/>
                </a:lnTo>
                <a:lnTo>
                  <a:pt x="626" y="720"/>
                </a:lnTo>
                <a:lnTo>
                  <a:pt x="614" y="696"/>
                </a:lnTo>
                <a:lnTo>
                  <a:pt x="603" y="657"/>
                </a:lnTo>
                <a:lnTo>
                  <a:pt x="678" y="580"/>
                </a:lnTo>
                <a:lnTo>
                  <a:pt x="692" y="562"/>
                </a:lnTo>
                <a:lnTo>
                  <a:pt x="697" y="532"/>
                </a:lnTo>
                <a:lnTo>
                  <a:pt x="685" y="494"/>
                </a:lnTo>
                <a:lnTo>
                  <a:pt x="673" y="461"/>
                </a:lnTo>
                <a:lnTo>
                  <a:pt x="652" y="424"/>
                </a:lnTo>
                <a:lnTo>
                  <a:pt x="638" y="408"/>
                </a:lnTo>
                <a:lnTo>
                  <a:pt x="636" y="386"/>
                </a:lnTo>
                <a:lnTo>
                  <a:pt x="638" y="361"/>
                </a:lnTo>
                <a:lnTo>
                  <a:pt x="645" y="337"/>
                </a:lnTo>
                <a:lnTo>
                  <a:pt x="636" y="322"/>
                </a:lnTo>
                <a:lnTo>
                  <a:pt x="624" y="312"/>
                </a:lnTo>
                <a:lnTo>
                  <a:pt x="636" y="296"/>
                </a:lnTo>
                <a:lnTo>
                  <a:pt x="655" y="266"/>
                </a:lnTo>
                <a:lnTo>
                  <a:pt x="661" y="259"/>
                </a:lnTo>
                <a:lnTo>
                  <a:pt x="657" y="208"/>
                </a:lnTo>
                <a:lnTo>
                  <a:pt x="650" y="182"/>
                </a:lnTo>
                <a:lnTo>
                  <a:pt x="642" y="155"/>
                </a:lnTo>
                <a:lnTo>
                  <a:pt x="642" y="129"/>
                </a:lnTo>
                <a:lnTo>
                  <a:pt x="628" y="105"/>
                </a:lnTo>
                <a:lnTo>
                  <a:pt x="609" y="84"/>
                </a:lnTo>
                <a:lnTo>
                  <a:pt x="589" y="81"/>
                </a:lnTo>
                <a:lnTo>
                  <a:pt x="528" y="80"/>
                </a:lnTo>
                <a:lnTo>
                  <a:pt x="495" y="77"/>
                </a:lnTo>
                <a:lnTo>
                  <a:pt x="435" y="71"/>
                </a:lnTo>
                <a:lnTo>
                  <a:pt x="410" y="58"/>
                </a:lnTo>
                <a:lnTo>
                  <a:pt x="385" y="56"/>
                </a:lnTo>
                <a:lnTo>
                  <a:pt x="371" y="61"/>
                </a:lnTo>
                <a:lnTo>
                  <a:pt x="355" y="74"/>
                </a:lnTo>
                <a:lnTo>
                  <a:pt x="340" y="68"/>
                </a:lnTo>
                <a:lnTo>
                  <a:pt x="326" y="53"/>
                </a:lnTo>
                <a:lnTo>
                  <a:pt x="309" y="53"/>
                </a:lnTo>
                <a:lnTo>
                  <a:pt x="303" y="46"/>
                </a:lnTo>
                <a:lnTo>
                  <a:pt x="298" y="21"/>
                </a:lnTo>
                <a:lnTo>
                  <a:pt x="276" y="3"/>
                </a:lnTo>
                <a:lnTo>
                  <a:pt x="261" y="0"/>
                </a:lnTo>
                <a:lnTo>
                  <a:pt x="232" y="9"/>
                </a:lnTo>
                <a:lnTo>
                  <a:pt x="209" y="16"/>
                </a:lnTo>
                <a:lnTo>
                  <a:pt x="190" y="28"/>
                </a:lnTo>
                <a:lnTo>
                  <a:pt x="157" y="50"/>
                </a:lnTo>
                <a:lnTo>
                  <a:pt x="124" y="61"/>
                </a:lnTo>
                <a:lnTo>
                  <a:pt x="96" y="74"/>
                </a:lnTo>
                <a:lnTo>
                  <a:pt x="66" y="90"/>
                </a:lnTo>
                <a:lnTo>
                  <a:pt x="50" y="111"/>
                </a:lnTo>
                <a:lnTo>
                  <a:pt x="31" y="129"/>
                </a:lnTo>
                <a:lnTo>
                  <a:pt x="17" y="139"/>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nvGrpSpPr>
          <p:cNvPr id="27" name="FI"/>
          <p:cNvGrpSpPr>
            <a:grpSpLocks/>
          </p:cNvGrpSpPr>
          <p:nvPr/>
        </p:nvGrpSpPr>
        <p:grpSpPr bwMode="auto">
          <a:xfrm>
            <a:off x="6795831" y="990600"/>
            <a:ext cx="873127" cy="1531932"/>
            <a:chOff x="3757282" y="1308775"/>
            <a:chExt cx="401" cy="793"/>
          </a:xfrm>
          <a:solidFill>
            <a:srgbClr val="FAFAFA"/>
          </a:solidFill>
          <a:effectLst/>
        </p:grpSpPr>
        <p:sp>
          <p:nvSpPr>
            <p:cNvPr id="95" name="Freeform 566"/>
            <p:cNvSpPr>
              <a:spLocks noChangeAspect="1"/>
            </p:cNvSpPr>
            <p:nvPr/>
          </p:nvSpPr>
          <p:spPr bwMode="auto">
            <a:xfrm>
              <a:off x="3757282" y="1309520"/>
              <a:ext cx="24" cy="22"/>
            </a:xfrm>
            <a:custGeom>
              <a:avLst/>
              <a:gdLst>
                <a:gd name="T0" fmla="*/ 30 w 35"/>
                <a:gd name="T1" fmla="*/ 0 h 37"/>
                <a:gd name="T2" fmla="*/ 16 w 35"/>
                <a:gd name="T3" fmla="*/ 9 h 37"/>
                <a:gd name="T4" fmla="*/ 0 w 35"/>
                <a:gd name="T5" fmla="*/ 24 h 37"/>
                <a:gd name="T6" fmla="*/ 2 w 35"/>
                <a:gd name="T7" fmla="*/ 37 h 37"/>
                <a:gd name="T8" fmla="*/ 11 w 35"/>
                <a:gd name="T9" fmla="*/ 37 h 37"/>
                <a:gd name="T10" fmla="*/ 35 w 35"/>
                <a:gd name="T11" fmla="*/ 19 h 37"/>
                <a:gd name="T12" fmla="*/ 30 w 35"/>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35" h="37">
                  <a:moveTo>
                    <a:pt x="30" y="0"/>
                  </a:moveTo>
                  <a:lnTo>
                    <a:pt x="16" y="9"/>
                  </a:lnTo>
                  <a:lnTo>
                    <a:pt x="0" y="24"/>
                  </a:lnTo>
                  <a:lnTo>
                    <a:pt x="2" y="37"/>
                  </a:lnTo>
                  <a:lnTo>
                    <a:pt x="11" y="37"/>
                  </a:lnTo>
                  <a:lnTo>
                    <a:pt x="35" y="19"/>
                  </a:lnTo>
                  <a:lnTo>
                    <a:pt x="30"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6" name="Freeform 567"/>
            <p:cNvSpPr>
              <a:spLocks noChangeAspect="1"/>
            </p:cNvSpPr>
            <p:nvPr/>
          </p:nvSpPr>
          <p:spPr bwMode="auto">
            <a:xfrm>
              <a:off x="3757306" y="1308775"/>
              <a:ext cx="377" cy="793"/>
            </a:xfrm>
            <a:custGeom>
              <a:avLst/>
              <a:gdLst>
                <a:gd name="T0" fmla="*/ 151 w 553"/>
                <a:gd name="T1" fmla="*/ 1239 h 1281"/>
                <a:gd name="T2" fmla="*/ 118 w 553"/>
                <a:gd name="T3" fmla="*/ 1207 h 1281"/>
                <a:gd name="T4" fmla="*/ 75 w 553"/>
                <a:gd name="T5" fmla="*/ 1197 h 1281"/>
                <a:gd name="T6" fmla="*/ 75 w 553"/>
                <a:gd name="T7" fmla="*/ 1096 h 1281"/>
                <a:gd name="T8" fmla="*/ 56 w 553"/>
                <a:gd name="T9" fmla="*/ 1028 h 1281"/>
                <a:gd name="T10" fmla="*/ 52 w 553"/>
                <a:gd name="T11" fmla="*/ 975 h 1281"/>
                <a:gd name="T12" fmla="*/ 38 w 553"/>
                <a:gd name="T13" fmla="*/ 930 h 1281"/>
                <a:gd name="T14" fmla="*/ 66 w 553"/>
                <a:gd name="T15" fmla="*/ 883 h 1281"/>
                <a:gd name="T16" fmla="*/ 80 w 553"/>
                <a:gd name="T17" fmla="*/ 840 h 1281"/>
                <a:gd name="T18" fmla="*/ 136 w 553"/>
                <a:gd name="T19" fmla="*/ 788 h 1281"/>
                <a:gd name="T20" fmla="*/ 174 w 553"/>
                <a:gd name="T21" fmla="*/ 725 h 1281"/>
                <a:gd name="T22" fmla="*/ 201 w 553"/>
                <a:gd name="T23" fmla="*/ 672 h 1281"/>
                <a:gd name="T24" fmla="*/ 225 w 553"/>
                <a:gd name="T25" fmla="*/ 636 h 1281"/>
                <a:gd name="T26" fmla="*/ 229 w 553"/>
                <a:gd name="T27" fmla="*/ 599 h 1281"/>
                <a:gd name="T28" fmla="*/ 220 w 553"/>
                <a:gd name="T29" fmla="*/ 562 h 1281"/>
                <a:gd name="T30" fmla="*/ 193 w 553"/>
                <a:gd name="T31" fmla="*/ 546 h 1281"/>
                <a:gd name="T32" fmla="*/ 151 w 553"/>
                <a:gd name="T33" fmla="*/ 445 h 1281"/>
                <a:gd name="T34" fmla="*/ 155 w 553"/>
                <a:gd name="T35" fmla="*/ 361 h 1281"/>
                <a:gd name="T36" fmla="*/ 136 w 553"/>
                <a:gd name="T37" fmla="*/ 277 h 1281"/>
                <a:gd name="T38" fmla="*/ 103 w 553"/>
                <a:gd name="T39" fmla="*/ 223 h 1281"/>
                <a:gd name="T40" fmla="*/ 38 w 553"/>
                <a:gd name="T41" fmla="*/ 182 h 1281"/>
                <a:gd name="T42" fmla="*/ 14 w 553"/>
                <a:gd name="T43" fmla="*/ 139 h 1281"/>
                <a:gd name="T44" fmla="*/ 19 w 553"/>
                <a:gd name="T45" fmla="*/ 111 h 1281"/>
                <a:gd name="T46" fmla="*/ 61 w 553"/>
                <a:gd name="T47" fmla="*/ 135 h 1281"/>
                <a:gd name="T48" fmla="*/ 136 w 553"/>
                <a:gd name="T49" fmla="*/ 155 h 1281"/>
                <a:gd name="T50" fmla="*/ 165 w 553"/>
                <a:gd name="T51" fmla="*/ 176 h 1281"/>
                <a:gd name="T52" fmla="*/ 201 w 553"/>
                <a:gd name="T53" fmla="*/ 139 h 1281"/>
                <a:gd name="T54" fmla="*/ 225 w 553"/>
                <a:gd name="T55" fmla="*/ 111 h 1281"/>
                <a:gd name="T56" fmla="*/ 220 w 553"/>
                <a:gd name="T57" fmla="*/ 52 h 1281"/>
                <a:gd name="T58" fmla="*/ 258 w 553"/>
                <a:gd name="T59" fmla="*/ 27 h 1281"/>
                <a:gd name="T60" fmla="*/ 309 w 553"/>
                <a:gd name="T61" fmla="*/ 37 h 1281"/>
                <a:gd name="T62" fmla="*/ 309 w 553"/>
                <a:gd name="T63" fmla="*/ 84 h 1281"/>
                <a:gd name="T64" fmla="*/ 267 w 553"/>
                <a:gd name="T65" fmla="*/ 131 h 1281"/>
                <a:gd name="T66" fmla="*/ 314 w 553"/>
                <a:gd name="T67" fmla="*/ 121 h 1281"/>
                <a:gd name="T68" fmla="*/ 319 w 553"/>
                <a:gd name="T69" fmla="*/ 42 h 1281"/>
                <a:gd name="T70" fmla="*/ 347 w 553"/>
                <a:gd name="T71" fmla="*/ 89 h 1281"/>
                <a:gd name="T72" fmla="*/ 338 w 553"/>
                <a:gd name="T73" fmla="*/ 160 h 1281"/>
                <a:gd name="T74" fmla="*/ 375 w 553"/>
                <a:gd name="T75" fmla="*/ 223 h 1281"/>
                <a:gd name="T76" fmla="*/ 399 w 553"/>
                <a:gd name="T77" fmla="*/ 281 h 1281"/>
                <a:gd name="T78" fmla="*/ 403 w 553"/>
                <a:gd name="T79" fmla="*/ 371 h 1281"/>
                <a:gd name="T80" fmla="*/ 441 w 553"/>
                <a:gd name="T81" fmla="*/ 498 h 1281"/>
                <a:gd name="T82" fmla="*/ 455 w 553"/>
                <a:gd name="T83" fmla="*/ 636 h 1281"/>
                <a:gd name="T84" fmla="*/ 474 w 553"/>
                <a:gd name="T85" fmla="*/ 735 h 1281"/>
                <a:gd name="T86" fmla="*/ 529 w 553"/>
                <a:gd name="T87" fmla="*/ 803 h 1281"/>
                <a:gd name="T88" fmla="*/ 553 w 553"/>
                <a:gd name="T89" fmla="*/ 857 h 1281"/>
                <a:gd name="T90" fmla="*/ 526 w 553"/>
                <a:gd name="T91" fmla="*/ 964 h 1281"/>
                <a:gd name="T92" fmla="*/ 512 w 553"/>
                <a:gd name="T93" fmla="*/ 1022 h 1281"/>
                <a:gd name="T94" fmla="*/ 483 w 553"/>
                <a:gd name="T95" fmla="*/ 1055 h 1281"/>
                <a:gd name="T96" fmla="*/ 413 w 553"/>
                <a:gd name="T97" fmla="*/ 1133 h 1281"/>
                <a:gd name="T98" fmla="*/ 380 w 553"/>
                <a:gd name="T99" fmla="*/ 1170 h 1281"/>
                <a:gd name="T100" fmla="*/ 338 w 553"/>
                <a:gd name="T101" fmla="*/ 1192 h 1281"/>
                <a:gd name="T102" fmla="*/ 272 w 553"/>
                <a:gd name="T103" fmla="*/ 1213 h 1281"/>
                <a:gd name="T104" fmla="*/ 206 w 553"/>
                <a:gd name="T105" fmla="*/ 1244 h 1281"/>
                <a:gd name="T106" fmla="*/ 155 w 553"/>
                <a:gd name="T107" fmla="*/ 1281 h 1281"/>
                <a:gd name="connsiteX0" fmla="*/ 2803 w 10000"/>
                <a:gd name="connsiteY0" fmla="*/ 10000 h 10000"/>
                <a:gd name="connsiteX1" fmla="*/ 2731 w 10000"/>
                <a:gd name="connsiteY1" fmla="*/ 9672 h 10000"/>
                <a:gd name="connsiteX2" fmla="*/ 2387 w 10000"/>
                <a:gd name="connsiteY2" fmla="*/ 9500 h 10000"/>
                <a:gd name="connsiteX3" fmla="*/ 2134 w 10000"/>
                <a:gd name="connsiteY3" fmla="*/ 9422 h 10000"/>
                <a:gd name="connsiteX4" fmla="*/ 1700 w 10000"/>
                <a:gd name="connsiteY4" fmla="*/ 9344 h 10000"/>
                <a:gd name="connsiteX5" fmla="*/ 1356 w 10000"/>
                <a:gd name="connsiteY5" fmla="*/ 9344 h 10000"/>
                <a:gd name="connsiteX6" fmla="*/ 1193 w 10000"/>
                <a:gd name="connsiteY6" fmla="*/ 9180 h 10000"/>
                <a:gd name="connsiteX7" fmla="*/ 1356 w 10000"/>
                <a:gd name="connsiteY7" fmla="*/ 8556 h 10000"/>
                <a:gd name="connsiteX8" fmla="*/ 1284 w 10000"/>
                <a:gd name="connsiteY8" fmla="*/ 8189 h 10000"/>
                <a:gd name="connsiteX9" fmla="*/ 1013 w 10000"/>
                <a:gd name="connsiteY9" fmla="*/ 8025 h 10000"/>
                <a:gd name="connsiteX10" fmla="*/ 850 w 10000"/>
                <a:gd name="connsiteY10" fmla="*/ 7947 h 10000"/>
                <a:gd name="connsiteX11" fmla="*/ 940 w 10000"/>
                <a:gd name="connsiteY11" fmla="*/ 7611 h 10000"/>
                <a:gd name="connsiteX12" fmla="*/ 850 w 10000"/>
                <a:gd name="connsiteY12" fmla="*/ 7416 h 10000"/>
                <a:gd name="connsiteX13" fmla="*/ 687 w 10000"/>
                <a:gd name="connsiteY13" fmla="*/ 7260 h 10000"/>
                <a:gd name="connsiteX14" fmla="*/ 940 w 10000"/>
                <a:gd name="connsiteY14" fmla="*/ 6893 h 10000"/>
                <a:gd name="connsiteX15" fmla="*/ 1193 w 10000"/>
                <a:gd name="connsiteY15" fmla="*/ 6893 h 10000"/>
                <a:gd name="connsiteX16" fmla="*/ 1356 w 10000"/>
                <a:gd name="connsiteY16" fmla="*/ 6815 h 10000"/>
                <a:gd name="connsiteX17" fmla="*/ 1447 w 10000"/>
                <a:gd name="connsiteY17" fmla="*/ 6557 h 10000"/>
                <a:gd name="connsiteX18" fmla="*/ 1953 w 10000"/>
                <a:gd name="connsiteY18" fmla="*/ 6362 h 10000"/>
                <a:gd name="connsiteX19" fmla="*/ 2459 w 10000"/>
                <a:gd name="connsiteY19" fmla="*/ 6151 h 10000"/>
                <a:gd name="connsiteX20" fmla="*/ 2550 w 10000"/>
                <a:gd name="connsiteY20" fmla="*/ 5902 h 10000"/>
                <a:gd name="connsiteX21" fmla="*/ 3146 w 10000"/>
                <a:gd name="connsiteY21" fmla="*/ 5660 h 10000"/>
                <a:gd name="connsiteX22" fmla="*/ 3725 w 10000"/>
                <a:gd name="connsiteY22" fmla="*/ 5371 h 10000"/>
                <a:gd name="connsiteX23" fmla="*/ 3635 w 10000"/>
                <a:gd name="connsiteY23" fmla="*/ 5246 h 10000"/>
                <a:gd name="connsiteX24" fmla="*/ 3635 w 10000"/>
                <a:gd name="connsiteY24" fmla="*/ 5082 h 10000"/>
                <a:gd name="connsiteX25" fmla="*/ 4069 w 10000"/>
                <a:gd name="connsiteY25" fmla="*/ 4965 h 10000"/>
                <a:gd name="connsiteX26" fmla="*/ 4231 w 10000"/>
                <a:gd name="connsiteY26" fmla="*/ 4918 h 10000"/>
                <a:gd name="connsiteX27" fmla="*/ 4141 w 10000"/>
                <a:gd name="connsiteY27" fmla="*/ 4676 h 10000"/>
                <a:gd name="connsiteX28" fmla="*/ 4141 w 10000"/>
                <a:gd name="connsiteY28" fmla="*/ 4426 h 10000"/>
                <a:gd name="connsiteX29" fmla="*/ 3978 w 10000"/>
                <a:gd name="connsiteY29" fmla="*/ 4387 h 10000"/>
                <a:gd name="connsiteX30" fmla="*/ 3725 w 10000"/>
                <a:gd name="connsiteY30" fmla="*/ 4426 h 10000"/>
                <a:gd name="connsiteX31" fmla="*/ 3490 w 10000"/>
                <a:gd name="connsiteY31" fmla="*/ 4262 h 10000"/>
                <a:gd name="connsiteX32" fmla="*/ 3237 w 10000"/>
                <a:gd name="connsiteY32" fmla="*/ 3810 h 10000"/>
                <a:gd name="connsiteX33" fmla="*/ 2731 w 10000"/>
                <a:gd name="connsiteY33" fmla="*/ 3474 h 10000"/>
                <a:gd name="connsiteX34" fmla="*/ 2893 w 10000"/>
                <a:gd name="connsiteY34" fmla="*/ 3021 h 10000"/>
                <a:gd name="connsiteX35" fmla="*/ 2803 w 10000"/>
                <a:gd name="connsiteY35" fmla="*/ 2818 h 10000"/>
                <a:gd name="connsiteX36" fmla="*/ 2206 w 10000"/>
                <a:gd name="connsiteY36" fmla="*/ 2529 h 10000"/>
                <a:gd name="connsiteX37" fmla="*/ 2459 w 10000"/>
                <a:gd name="connsiteY37" fmla="*/ 2162 h 10000"/>
                <a:gd name="connsiteX38" fmla="*/ 2297 w 10000"/>
                <a:gd name="connsiteY38" fmla="*/ 1952 h 10000"/>
                <a:gd name="connsiteX39" fmla="*/ 1863 w 10000"/>
                <a:gd name="connsiteY39" fmla="*/ 1741 h 10000"/>
                <a:gd name="connsiteX40" fmla="*/ 1609 w 10000"/>
                <a:gd name="connsiteY40" fmla="*/ 1874 h 10000"/>
                <a:gd name="connsiteX41" fmla="*/ 687 w 10000"/>
                <a:gd name="connsiteY41" fmla="*/ 1421 h 10000"/>
                <a:gd name="connsiteX42" fmla="*/ 434 w 10000"/>
                <a:gd name="connsiteY42" fmla="*/ 1249 h 10000"/>
                <a:gd name="connsiteX43" fmla="*/ 253 w 10000"/>
                <a:gd name="connsiteY43" fmla="*/ 1085 h 10000"/>
                <a:gd name="connsiteX44" fmla="*/ 0 w 10000"/>
                <a:gd name="connsiteY44" fmla="*/ 1023 h 10000"/>
                <a:gd name="connsiteX45" fmla="*/ 344 w 10000"/>
                <a:gd name="connsiteY45" fmla="*/ 867 h 10000"/>
                <a:gd name="connsiteX46" fmla="*/ 850 w 10000"/>
                <a:gd name="connsiteY46" fmla="*/ 867 h 10000"/>
                <a:gd name="connsiteX47" fmla="*/ 1103 w 10000"/>
                <a:gd name="connsiteY47" fmla="*/ 1054 h 10000"/>
                <a:gd name="connsiteX48" fmla="*/ 1790 w 10000"/>
                <a:gd name="connsiteY48" fmla="*/ 1421 h 10000"/>
                <a:gd name="connsiteX49" fmla="*/ 2459 w 10000"/>
                <a:gd name="connsiteY49" fmla="*/ 1210 h 10000"/>
                <a:gd name="connsiteX50" fmla="*/ 2893 w 10000"/>
                <a:gd name="connsiteY50" fmla="*/ 1249 h 10000"/>
                <a:gd name="connsiteX51" fmla="*/ 2984 w 10000"/>
                <a:gd name="connsiteY51" fmla="*/ 1374 h 10000"/>
                <a:gd name="connsiteX52" fmla="*/ 3490 w 10000"/>
                <a:gd name="connsiteY52" fmla="*/ 1421 h 10000"/>
                <a:gd name="connsiteX53" fmla="*/ 3635 w 10000"/>
                <a:gd name="connsiteY53" fmla="*/ 1085 h 10000"/>
                <a:gd name="connsiteX54" fmla="*/ 3888 w 10000"/>
                <a:gd name="connsiteY54" fmla="*/ 984 h 10000"/>
                <a:gd name="connsiteX55" fmla="*/ 4069 w 10000"/>
                <a:gd name="connsiteY55" fmla="*/ 867 h 10000"/>
                <a:gd name="connsiteX56" fmla="*/ 4069 w 10000"/>
                <a:gd name="connsiteY56" fmla="*/ 742 h 10000"/>
                <a:gd name="connsiteX57" fmla="*/ 3978 w 10000"/>
                <a:gd name="connsiteY57" fmla="*/ 406 h 10000"/>
                <a:gd name="connsiteX58" fmla="*/ 4412 w 10000"/>
                <a:gd name="connsiteY58" fmla="*/ 211 h 10000"/>
                <a:gd name="connsiteX59" fmla="*/ 4665 w 10000"/>
                <a:gd name="connsiteY59" fmla="*/ 211 h 10000"/>
                <a:gd name="connsiteX60" fmla="*/ 5081 w 10000"/>
                <a:gd name="connsiteY60" fmla="*/ 0 h 10000"/>
                <a:gd name="connsiteX61" fmla="*/ 5588 w 10000"/>
                <a:gd name="connsiteY61" fmla="*/ 289 h 10000"/>
                <a:gd name="connsiteX62" fmla="*/ 5769 w 10000"/>
                <a:gd name="connsiteY62" fmla="*/ 406 h 10000"/>
                <a:gd name="connsiteX63" fmla="*/ 5588 w 10000"/>
                <a:gd name="connsiteY63" fmla="*/ 656 h 10000"/>
                <a:gd name="connsiteX64" fmla="*/ 5172 w 10000"/>
                <a:gd name="connsiteY64" fmla="*/ 820 h 10000"/>
                <a:gd name="connsiteX65" fmla="*/ 4828 w 10000"/>
                <a:gd name="connsiteY65" fmla="*/ 1023 h 10000"/>
                <a:gd name="connsiteX66" fmla="*/ 5604 w 10000"/>
                <a:gd name="connsiteY66" fmla="*/ 755 h 10000"/>
                <a:gd name="connsiteX67" fmla="*/ 5678 w 10000"/>
                <a:gd name="connsiteY67" fmla="*/ 945 h 10000"/>
                <a:gd name="connsiteX68" fmla="*/ 5678 w 10000"/>
                <a:gd name="connsiteY68" fmla="*/ 695 h 10000"/>
                <a:gd name="connsiteX69" fmla="*/ 5769 w 10000"/>
                <a:gd name="connsiteY69" fmla="*/ 328 h 10000"/>
                <a:gd name="connsiteX70" fmla="*/ 6022 w 10000"/>
                <a:gd name="connsiteY70" fmla="*/ 242 h 10000"/>
                <a:gd name="connsiteX71" fmla="*/ 6275 w 10000"/>
                <a:gd name="connsiteY71" fmla="*/ 695 h 10000"/>
                <a:gd name="connsiteX72" fmla="*/ 6275 w 10000"/>
                <a:gd name="connsiteY72" fmla="*/ 1085 h 10000"/>
                <a:gd name="connsiteX73" fmla="*/ 6112 w 10000"/>
                <a:gd name="connsiteY73" fmla="*/ 1249 h 10000"/>
                <a:gd name="connsiteX74" fmla="*/ 6112 w 10000"/>
                <a:gd name="connsiteY74" fmla="*/ 1499 h 10000"/>
                <a:gd name="connsiteX75" fmla="*/ 6781 w 10000"/>
                <a:gd name="connsiteY75" fmla="*/ 1741 h 10000"/>
                <a:gd name="connsiteX76" fmla="*/ 6781 w 10000"/>
                <a:gd name="connsiteY76" fmla="*/ 1905 h 10000"/>
                <a:gd name="connsiteX77" fmla="*/ 7215 w 10000"/>
                <a:gd name="connsiteY77" fmla="*/ 2194 h 10000"/>
                <a:gd name="connsiteX78" fmla="*/ 7378 w 10000"/>
                <a:gd name="connsiteY78" fmla="*/ 2404 h 10000"/>
                <a:gd name="connsiteX79" fmla="*/ 7288 w 10000"/>
                <a:gd name="connsiteY79" fmla="*/ 2896 h 10000"/>
                <a:gd name="connsiteX80" fmla="*/ 7559 w 10000"/>
                <a:gd name="connsiteY80" fmla="*/ 3443 h 10000"/>
                <a:gd name="connsiteX81" fmla="*/ 7975 w 10000"/>
                <a:gd name="connsiteY81" fmla="*/ 3888 h 10000"/>
                <a:gd name="connsiteX82" fmla="*/ 7884 w 10000"/>
                <a:gd name="connsiteY82" fmla="*/ 4551 h 10000"/>
                <a:gd name="connsiteX83" fmla="*/ 8228 w 10000"/>
                <a:gd name="connsiteY83" fmla="*/ 4965 h 10000"/>
                <a:gd name="connsiteX84" fmla="*/ 8409 w 10000"/>
                <a:gd name="connsiteY84" fmla="*/ 5129 h 10000"/>
                <a:gd name="connsiteX85" fmla="*/ 8571 w 10000"/>
                <a:gd name="connsiteY85" fmla="*/ 5738 h 10000"/>
                <a:gd name="connsiteX86" fmla="*/ 8734 w 10000"/>
                <a:gd name="connsiteY86" fmla="*/ 5995 h 10000"/>
                <a:gd name="connsiteX87" fmla="*/ 9566 w 10000"/>
                <a:gd name="connsiteY87" fmla="*/ 6269 h 10000"/>
                <a:gd name="connsiteX88" fmla="*/ 10000 w 10000"/>
                <a:gd name="connsiteY88" fmla="*/ 6526 h 10000"/>
                <a:gd name="connsiteX89" fmla="*/ 10000 w 10000"/>
                <a:gd name="connsiteY89" fmla="*/ 6690 h 10000"/>
                <a:gd name="connsiteX90" fmla="*/ 9656 w 10000"/>
                <a:gd name="connsiteY90" fmla="*/ 7447 h 10000"/>
                <a:gd name="connsiteX91" fmla="*/ 9512 w 10000"/>
                <a:gd name="connsiteY91" fmla="*/ 7525 h 10000"/>
                <a:gd name="connsiteX92" fmla="*/ 9656 w 10000"/>
                <a:gd name="connsiteY92" fmla="*/ 7689 h 10000"/>
                <a:gd name="connsiteX93" fmla="*/ 9259 w 10000"/>
                <a:gd name="connsiteY93" fmla="*/ 7978 h 10000"/>
                <a:gd name="connsiteX94" fmla="*/ 8734 w 10000"/>
                <a:gd name="connsiteY94" fmla="*/ 8103 h 10000"/>
                <a:gd name="connsiteX95" fmla="*/ 8734 w 10000"/>
                <a:gd name="connsiteY95" fmla="*/ 8236 h 10000"/>
                <a:gd name="connsiteX96" fmla="*/ 7975 w 10000"/>
                <a:gd name="connsiteY96" fmla="*/ 8728 h 10000"/>
                <a:gd name="connsiteX97" fmla="*/ 7468 w 10000"/>
                <a:gd name="connsiteY97" fmla="*/ 8845 h 10000"/>
                <a:gd name="connsiteX98" fmla="*/ 7378 w 10000"/>
                <a:gd name="connsiteY98" fmla="*/ 9133 h 10000"/>
                <a:gd name="connsiteX99" fmla="*/ 6872 w 10000"/>
                <a:gd name="connsiteY99" fmla="*/ 9133 h 10000"/>
                <a:gd name="connsiteX100" fmla="*/ 6618 w 10000"/>
                <a:gd name="connsiteY100" fmla="*/ 9227 h 10000"/>
                <a:gd name="connsiteX101" fmla="*/ 6112 w 10000"/>
                <a:gd name="connsiteY101" fmla="*/ 9305 h 10000"/>
                <a:gd name="connsiteX102" fmla="*/ 5425 w 10000"/>
                <a:gd name="connsiteY102" fmla="*/ 9258 h 10000"/>
                <a:gd name="connsiteX103" fmla="*/ 4919 w 10000"/>
                <a:gd name="connsiteY103" fmla="*/ 9469 h 10000"/>
                <a:gd name="connsiteX104" fmla="*/ 4322 w 10000"/>
                <a:gd name="connsiteY104" fmla="*/ 9633 h 10000"/>
                <a:gd name="connsiteX105" fmla="*/ 3725 w 10000"/>
                <a:gd name="connsiteY105" fmla="*/ 9711 h 10000"/>
                <a:gd name="connsiteX106" fmla="*/ 3291 w 10000"/>
                <a:gd name="connsiteY106" fmla="*/ 9883 h 10000"/>
                <a:gd name="connsiteX107" fmla="*/ 2803 w 10000"/>
                <a:gd name="connsiteY107" fmla="*/ 10000 h 10000"/>
                <a:gd name="connsiteX0" fmla="*/ 2803 w 10000"/>
                <a:gd name="connsiteY0" fmla="*/ 10000 h 10000"/>
                <a:gd name="connsiteX1" fmla="*/ 2731 w 10000"/>
                <a:gd name="connsiteY1" fmla="*/ 9672 h 10000"/>
                <a:gd name="connsiteX2" fmla="*/ 2387 w 10000"/>
                <a:gd name="connsiteY2" fmla="*/ 9500 h 10000"/>
                <a:gd name="connsiteX3" fmla="*/ 2134 w 10000"/>
                <a:gd name="connsiteY3" fmla="*/ 9422 h 10000"/>
                <a:gd name="connsiteX4" fmla="*/ 1700 w 10000"/>
                <a:gd name="connsiteY4" fmla="*/ 9344 h 10000"/>
                <a:gd name="connsiteX5" fmla="*/ 1356 w 10000"/>
                <a:gd name="connsiteY5" fmla="*/ 9344 h 10000"/>
                <a:gd name="connsiteX6" fmla="*/ 1193 w 10000"/>
                <a:gd name="connsiteY6" fmla="*/ 9180 h 10000"/>
                <a:gd name="connsiteX7" fmla="*/ 1356 w 10000"/>
                <a:gd name="connsiteY7" fmla="*/ 8556 h 10000"/>
                <a:gd name="connsiteX8" fmla="*/ 1284 w 10000"/>
                <a:gd name="connsiteY8" fmla="*/ 8189 h 10000"/>
                <a:gd name="connsiteX9" fmla="*/ 1013 w 10000"/>
                <a:gd name="connsiteY9" fmla="*/ 8025 h 10000"/>
                <a:gd name="connsiteX10" fmla="*/ 850 w 10000"/>
                <a:gd name="connsiteY10" fmla="*/ 7947 h 10000"/>
                <a:gd name="connsiteX11" fmla="*/ 940 w 10000"/>
                <a:gd name="connsiteY11" fmla="*/ 7611 h 10000"/>
                <a:gd name="connsiteX12" fmla="*/ 850 w 10000"/>
                <a:gd name="connsiteY12" fmla="*/ 7416 h 10000"/>
                <a:gd name="connsiteX13" fmla="*/ 687 w 10000"/>
                <a:gd name="connsiteY13" fmla="*/ 7260 h 10000"/>
                <a:gd name="connsiteX14" fmla="*/ 940 w 10000"/>
                <a:gd name="connsiteY14" fmla="*/ 6893 h 10000"/>
                <a:gd name="connsiteX15" fmla="*/ 1193 w 10000"/>
                <a:gd name="connsiteY15" fmla="*/ 6893 h 10000"/>
                <a:gd name="connsiteX16" fmla="*/ 1356 w 10000"/>
                <a:gd name="connsiteY16" fmla="*/ 6815 h 10000"/>
                <a:gd name="connsiteX17" fmla="*/ 1447 w 10000"/>
                <a:gd name="connsiteY17" fmla="*/ 6557 h 10000"/>
                <a:gd name="connsiteX18" fmla="*/ 1953 w 10000"/>
                <a:gd name="connsiteY18" fmla="*/ 6362 h 10000"/>
                <a:gd name="connsiteX19" fmla="*/ 2459 w 10000"/>
                <a:gd name="connsiteY19" fmla="*/ 6151 h 10000"/>
                <a:gd name="connsiteX20" fmla="*/ 2550 w 10000"/>
                <a:gd name="connsiteY20" fmla="*/ 5902 h 10000"/>
                <a:gd name="connsiteX21" fmla="*/ 3146 w 10000"/>
                <a:gd name="connsiteY21" fmla="*/ 5660 h 10000"/>
                <a:gd name="connsiteX22" fmla="*/ 3725 w 10000"/>
                <a:gd name="connsiteY22" fmla="*/ 5371 h 10000"/>
                <a:gd name="connsiteX23" fmla="*/ 3635 w 10000"/>
                <a:gd name="connsiteY23" fmla="*/ 5246 h 10000"/>
                <a:gd name="connsiteX24" fmla="*/ 3635 w 10000"/>
                <a:gd name="connsiteY24" fmla="*/ 5082 h 10000"/>
                <a:gd name="connsiteX25" fmla="*/ 4069 w 10000"/>
                <a:gd name="connsiteY25" fmla="*/ 4965 h 10000"/>
                <a:gd name="connsiteX26" fmla="*/ 4231 w 10000"/>
                <a:gd name="connsiteY26" fmla="*/ 4918 h 10000"/>
                <a:gd name="connsiteX27" fmla="*/ 4141 w 10000"/>
                <a:gd name="connsiteY27" fmla="*/ 4676 h 10000"/>
                <a:gd name="connsiteX28" fmla="*/ 4141 w 10000"/>
                <a:gd name="connsiteY28" fmla="*/ 4426 h 10000"/>
                <a:gd name="connsiteX29" fmla="*/ 3978 w 10000"/>
                <a:gd name="connsiteY29" fmla="*/ 4387 h 10000"/>
                <a:gd name="connsiteX30" fmla="*/ 3725 w 10000"/>
                <a:gd name="connsiteY30" fmla="*/ 4426 h 10000"/>
                <a:gd name="connsiteX31" fmla="*/ 3490 w 10000"/>
                <a:gd name="connsiteY31" fmla="*/ 4262 h 10000"/>
                <a:gd name="connsiteX32" fmla="*/ 3237 w 10000"/>
                <a:gd name="connsiteY32" fmla="*/ 3810 h 10000"/>
                <a:gd name="connsiteX33" fmla="*/ 2731 w 10000"/>
                <a:gd name="connsiteY33" fmla="*/ 3474 h 10000"/>
                <a:gd name="connsiteX34" fmla="*/ 2893 w 10000"/>
                <a:gd name="connsiteY34" fmla="*/ 3021 h 10000"/>
                <a:gd name="connsiteX35" fmla="*/ 2803 w 10000"/>
                <a:gd name="connsiteY35" fmla="*/ 2818 h 10000"/>
                <a:gd name="connsiteX36" fmla="*/ 2206 w 10000"/>
                <a:gd name="connsiteY36" fmla="*/ 2529 h 10000"/>
                <a:gd name="connsiteX37" fmla="*/ 2459 w 10000"/>
                <a:gd name="connsiteY37" fmla="*/ 2162 h 10000"/>
                <a:gd name="connsiteX38" fmla="*/ 2297 w 10000"/>
                <a:gd name="connsiteY38" fmla="*/ 1952 h 10000"/>
                <a:gd name="connsiteX39" fmla="*/ 1863 w 10000"/>
                <a:gd name="connsiteY39" fmla="*/ 1741 h 10000"/>
                <a:gd name="connsiteX40" fmla="*/ 1609 w 10000"/>
                <a:gd name="connsiteY40" fmla="*/ 1874 h 10000"/>
                <a:gd name="connsiteX41" fmla="*/ 687 w 10000"/>
                <a:gd name="connsiteY41" fmla="*/ 1421 h 10000"/>
                <a:gd name="connsiteX42" fmla="*/ 434 w 10000"/>
                <a:gd name="connsiteY42" fmla="*/ 1249 h 10000"/>
                <a:gd name="connsiteX43" fmla="*/ 253 w 10000"/>
                <a:gd name="connsiteY43" fmla="*/ 1085 h 10000"/>
                <a:gd name="connsiteX44" fmla="*/ 0 w 10000"/>
                <a:gd name="connsiteY44" fmla="*/ 1023 h 10000"/>
                <a:gd name="connsiteX45" fmla="*/ 344 w 10000"/>
                <a:gd name="connsiteY45" fmla="*/ 867 h 10000"/>
                <a:gd name="connsiteX46" fmla="*/ 850 w 10000"/>
                <a:gd name="connsiteY46" fmla="*/ 867 h 10000"/>
                <a:gd name="connsiteX47" fmla="*/ 1103 w 10000"/>
                <a:gd name="connsiteY47" fmla="*/ 1054 h 10000"/>
                <a:gd name="connsiteX48" fmla="*/ 1790 w 10000"/>
                <a:gd name="connsiteY48" fmla="*/ 1421 h 10000"/>
                <a:gd name="connsiteX49" fmla="*/ 2459 w 10000"/>
                <a:gd name="connsiteY49" fmla="*/ 1210 h 10000"/>
                <a:gd name="connsiteX50" fmla="*/ 2893 w 10000"/>
                <a:gd name="connsiteY50" fmla="*/ 1249 h 10000"/>
                <a:gd name="connsiteX51" fmla="*/ 2984 w 10000"/>
                <a:gd name="connsiteY51" fmla="*/ 1374 h 10000"/>
                <a:gd name="connsiteX52" fmla="*/ 3490 w 10000"/>
                <a:gd name="connsiteY52" fmla="*/ 1421 h 10000"/>
                <a:gd name="connsiteX53" fmla="*/ 3635 w 10000"/>
                <a:gd name="connsiteY53" fmla="*/ 1085 h 10000"/>
                <a:gd name="connsiteX54" fmla="*/ 3888 w 10000"/>
                <a:gd name="connsiteY54" fmla="*/ 984 h 10000"/>
                <a:gd name="connsiteX55" fmla="*/ 4069 w 10000"/>
                <a:gd name="connsiteY55" fmla="*/ 867 h 10000"/>
                <a:gd name="connsiteX56" fmla="*/ 4069 w 10000"/>
                <a:gd name="connsiteY56" fmla="*/ 742 h 10000"/>
                <a:gd name="connsiteX57" fmla="*/ 3978 w 10000"/>
                <a:gd name="connsiteY57" fmla="*/ 406 h 10000"/>
                <a:gd name="connsiteX58" fmla="*/ 4412 w 10000"/>
                <a:gd name="connsiteY58" fmla="*/ 211 h 10000"/>
                <a:gd name="connsiteX59" fmla="*/ 4665 w 10000"/>
                <a:gd name="connsiteY59" fmla="*/ 211 h 10000"/>
                <a:gd name="connsiteX60" fmla="*/ 5081 w 10000"/>
                <a:gd name="connsiteY60" fmla="*/ 0 h 10000"/>
                <a:gd name="connsiteX61" fmla="*/ 5588 w 10000"/>
                <a:gd name="connsiteY61" fmla="*/ 289 h 10000"/>
                <a:gd name="connsiteX62" fmla="*/ 5769 w 10000"/>
                <a:gd name="connsiteY62" fmla="*/ 406 h 10000"/>
                <a:gd name="connsiteX63" fmla="*/ 5588 w 10000"/>
                <a:gd name="connsiteY63" fmla="*/ 656 h 10000"/>
                <a:gd name="connsiteX64" fmla="*/ 5172 w 10000"/>
                <a:gd name="connsiteY64" fmla="*/ 820 h 10000"/>
                <a:gd name="connsiteX65" fmla="*/ 5741 w 10000"/>
                <a:gd name="connsiteY65" fmla="*/ 659 h 10000"/>
                <a:gd name="connsiteX66" fmla="*/ 5604 w 10000"/>
                <a:gd name="connsiteY66" fmla="*/ 755 h 10000"/>
                <a:gd name="connsiteX67" fmla="*/ 5678 w 10000"/>
                <a:gd name="connsiteY67" fmla="*/ 945 h 10000"/>
                <a:gd name="connsiteX68" fmla="*/ 5678 w 10000"/>
                <a:gd name="connsiteY68" fmla="*/ 695 h 10000"/>
                <a:gd name="connsiteX69" fmla="*/ 5769 w 10000"/>
                <a:gd name="connsiteY69" fmla="*/ 328 h 10000"/>
                <a:gd name="connsiteX70" fmla="*/ 6022 w 10000"/>
                <a:gd name="connsiteY70" fmla="*/ 242 h 10000"/>
                <a:gd name="connsiteX71" fmla="*/ 6275 w 10000"/>
                <a:gd name="connsiteY71" fmla="*/ 695 h 10000"/>
                <a:gd name="connsiteX72" fmla="*/ 6275 w 10000"/>
                <a:gd name="connsiteY72" fmla="*/ 1085 h 10000"/>
                <a:gd name="connsiteX73" fmla="*/ 6112 w 10000"/>
                <a:gd name="connsiteY73" fmla="*/ 1249 h 10000"/>
                <a:gd name="connsiteX74" fmla="*/ 6112 w 10000"/>
                <a:gd name="connsiteY74" fmla="*/ 1499 h 10000"/>
                <a:gd name="connsiteX75" fmla="*/ 6781 w 10000"/>
                <a:gd name="connsiteY75" fmla="*/ 1741 h 10000"/>
                <a:gd name="connsiteX76" fmla="*/ 6781 w 10000"/>
                <a:gd name="connsiteY76" fmla="*/ 1905 h 10000"/>
                <a:gd name="connsiteX77" fmla="*/ 7215 w 10000"/>
                <a:gd name="connsiteY77" fmla="*/ 2194 h 10000"/>
                <a:gd name="connsiteX78" fmla="*/ 7378 w 10000"/>
                <a:gd name="connsiteY78" fmla="*/ 2404 h 10000"/>
                <a:gd name="connsiteX79" fmla="*/ 7288 w 10000"/>
                <a:gd name="connsiteY79" fmla="*/ 2896 h 10000"/>
                <a:gd name="connsiteX80" fmla="*/ 7559 w 10000"/>
                <a:gd name="connsiteY80" fmla="*/ 3443 h 10000"/>
                <a:gd name="connsiteX81" fmla="*/ 7975 w 10000"/>
                <a:gd name="connsiteY81" fmla="*/ 3888 h 10000"/>
                <a:gd name="connsiteX82" fmla="*/ 7884 w 10000"/>
                <a:gd name="connsiteY82" fmla="*/ 4551 h 10000"/>
                <a:gd name="connsiteX83" fmla="*/ 8228 w 10000"/>
                <a:gd name="connsiteY83" fmla="*/ 4965 h 10000"/>
                <a:gd name="connsiteX84" fmla="*/ 8409 w 10000"/>
                <a:gd name="connsiteY84" fmla="*/ 5129 h 10000"/>
                <a:gd name="connsiteX85" fmla="*/ 8571 w 10000"/>
                <a:gd name="connsiteY85" fmla="*/ 5738 h 10000"/>
                <a:gd name="connsiteX86" fmla="*/ 8734 w 10000"/>
                <a:gd name="connsiteY86" fmla="*/ 5995 h 10000"/>
                <a:gd name="connsiteX87" fmla="*/ 9566 w 10000"/>
                <a:gd name="connsiteY87" fmla="*/ 6269 h 10000"/>
                <a:gd name="connsiteX88" fmla="*/ 10000 w 10000"/>
                <a:gd name="connsiteY88" fmla="*/ 6526 h 10000"/>
                <a:gd name="connsiteX89" fmla="*/ 10000 w 10000"/>
                <a:gd name="connsiteY89" fmla="*/ 6690 h 10000"/>
                <a:gd name="connsiteX90" fmla="*/ 9656 w 10000"/>
                <a:gd name="connsiteY90" fmla="*/ 7447 h 10000"/>
                <a:gd name="connsiteX91" fmla="*/ 9512 w 10000"/>
                <a:gd name="connsiteY91" fmla="*/ 7525 h 10000"/>
                <a:gd name="connsiteX92" fmla="*/ 9656 w 10000"/>
                <a:gd name="connsiteY92" fmla="*/ 7689 h 10000"/>
                <a:gd name="connsiteX93" fmla="*/ 9259 w 10000"/>
                <a:gd name="connsiteY93" fmla="*/ 7978 h 10000"/>
                <a:gd name="connsiteX94" fmla="*/ 8734 w 10000"/>
                <a:gd name="connsiteY94" fmla="*/ 8103 h 10000"/>
                <a:gd name="connsiteX95" fmla="*/ 8734 w 10000"/>
                <a:gd name="connsiteY95" fmla="*/ 8236 h 10000"/>
                <a:gd name="connsiteX96" fmla="*/ 7975 w 10000"/>
                <a:gd name="connsiteY96" fmla="*/ 8728 h 10000"/>
                <a:gd name="connsiteX97" fmla="*/ 7468 w 10000"/>
                <a:gd name="connsiteY97" fmla="*/ 8845 h 10000"/>
                <a:gd name="connsiteX98" fmla="*/ 7378 w 10000"/>
                <a:gd name="connsiteY98" fmla="*/ 9133 h 10000"/>
                <a:gd name="connsiteX99" fmla="*/ 6872 w 10000"/>
                <a:gd name="connsiteY99" fmla="*/ 9133 h 10000"/>
                <a:gd name="connsiteX100" fmla="*/ 6618 w 10000"/>
                <a:gd name="connsiteY100" fmla="*/ 9227 h 10000"/>
                <a:gd name="connsiteX101" fmla="*/ 6112 w 10000"/>
                <a:gd name="connsiteY101" fmla="*/ 9305 h 10000"/>
                <a:gd name="connsiteX102" fmla="*/ 5425 w 10000"/>
                <a:gd name="connsiteY102" fmla="*/ 9258 h 10000"/>
                <a:gd name="connsiteX103" fmla="*/ 4919 w 10000"/>
                <a:gd name="connsiteY103" fmla="*/ 9469 h 10000"/>
                <a:gd name="connsiteX104" fmla="*/ 4322 w 10000"/>
                <a:gd name="connsiteY104" fmla="*/ 9633 h 10000"/>
                <a:gd name="connsiteX105" fmla="*/ 3725 w 10000"/>
                <a:gd name="connsiteY105" fmla="*/ 9711 h 10000"/>
                <a:gd name="connsiteX106" fmla="*/ 3291 w 10000"/>
                <a:gd name="connsiteY106" fmla="*/ 9883 h 10000"/>
                <a:gd name="connsiteX107" fmla="*/ 2803 w 10000"/>
                <a:gd name="connsiteY107" fmla="*/ 10000 h 10000"/>
                <a:gd name="connsiteX0" fmla="*/ 2803 w 10000"/>
                <a:gd name="connsiteY0" fmla="*/ 10000 h 10000"/>
                <a:gd name="connsiteX1" fmla="*/ 2731 w 10000"/>
                <a:gd name="connsiteY1" fmla="*/ 9672 h 10000"/>
                <a:gd name="connsiteX2" fmla="*/ 2387 w 10000"/>
                <a:gd name="connsiteY2" fmla="*/ 9500 h 10000"/>
                <a:gd name="connsiteX3" fmla="*/ 2134 w 10000"/>
                <a:gd name="connsiteY3" fmla="*/ 9422 h 10000"/>
                <a:gd name="connsiteX4" fmla="*/ 1700 w 10000"/>
                <a:gd name="connsiteY4" fmla="*/ 9344 h 10000"/>
                <a:gd name="connsiteX5" fmla="*/ 1356 w 10000"/>
                <a:gd name="connsiteY5" fmla="*/ 9344 h 10000"/>
                <a:gd name="connsiteX6" fmla="*/ 1193 w 10000"/>
                <a:gd name="connsiteY6" fmla="*/ 9180 h 10000"/>
                <a:gd name="connsiteX7" fmla="*/ 1356 w 10000"/>
                <a:gd name="connsiteY7" fmla="*/ 8556 h 10000"/>
                <a:gd name="connsiteX8" fmla="*/ 1284 w 10000"/>
                <a:gd name="connsiteY8" fmla="*/ 8189 h 10000"/>
                <a:gd name="connsiteX9" fmla="*/ 1013 w 10000"/>
                <a:gd name="connsiteY9" fmla="*/ 8025 h 10000"/>
                <a:gd name="connsiteX10" fmla="*/ 850 w 10000"/>
                <a:gd name="connsiteY10" fmla="*/ 7947 h 10000"/>
                <a:gd name="connsiteX11" fmla="*/ 940 w 10000"/>
                <a:gd name="connsiteY11" fmla="*/ 7611 h 10000"/>
                <a:gd name="connsiteX12" fmla="*/ 850 w 10000"/>
                <a:gd name="connsiteY12" fmla="*/ 7416 h 10000"/>
                <a:gd name="connsiteX13" fmla="*/ 687 w 10000"/>
                <a:gd name="connsiteY13" fmla="*/ 7260 h 10000"/>
                <a:gd name="connsiteX14" fmla="*/ 940 w 10000"/>
                <a:gd name="connsiteY14" fmla="*/ 6893 h 10000"/>
                <a:gd name="connsiteX15" fmla="*/ 1193 w 10000"/>
                <a:gd name="connsiteY15" fmla="*/ 6893 h 10000"/>
                <a:gd name="connsiteX16" fmla="*/ 1356 w 10000"/>
                <a:gd name="connsiteY16" fmla="*/ 6815 h 10000"/>
                <a:gd name="connsiteX17" fmla="*/ 1447 w 10000"/>
                <a:gd name="connsiteY17" fmla="*/ 6557 h 10000"/>
                <a:gd name="connsiteX18" fmla="*/ 1953 w 10000"/>
                <a:gd name="connsiteY18" fmla="*/ 6362 h 10000"/>
                <a:gd name="connsiteX19" fmla="*/ 2459 w 10000"/>
                <a:gd name="connsiteY19" fmla="*/ 6151 h 10000"/>
                <a:gd name="connsiteX20" fmla="*/ 2550 w 10000"/>
                <a:gd name="connsiteY20" fmla="*/ 5902 h 10000"/>
                <a:gd name="connsiteX21" fmla="*/ 3146 w 10000"/>
                <a:gd name="connsiteY21" fmla="*/ 5660 h 10000"/>
                <a:gd name="connsiteX22" fmla="*/ 3725 w 10000"/>
                <a:gd name="connsiteY22" fmla="*/ 5371 h 10000"/>
                <a:gd name="connsiteX23" fmla="*/ 3635 w 10000"/>
                <a:gd name="connsiteY23" fmla="*/ 5246 h 10000"/>
                <a:gd name="connsiteX24" fmla="*/ 3635 w 10000"/>
                <a:gd name="connsiteY24" fmla="*/ 5082 h 10000"/>
                <a:gd name="connsiteX25" fmla="*/ 4069 w 10000"/>
                <a:gd name="connsiteY25" fmla="*/ 4965 h 10000"/>
                <a:gd name="connsiteX26" fmla="*/ 4231 w 10000"/>
                <a:gd name="connsiteY26" fmla="*/ 4918 h 10000"/>
                <a:gd name="connsiteX27" fmla="*/ 4141 w 10000"/>
                <a:gd name="connsiteY27" fmla="*/ 4676 h 10000"/>
                <a:gd name="connsiteX28" fmla="*/ 4141 w 10000"/>
                <a:gd name="connsiteY28" fmla="*/ 4426 h 10000"/>
                <a:gd name="connsiteX29" fmla="*/ 3978 w 10000"/>
                <a:gd name="connsiteY29" fmla="*/ 4387 h 10000"/>
                <a:gd name="connsiteX30" fmla="*/ 3725 w 10000"/>
                <a:gd name="connsiteY30" fmla="*/ 4426 h 10000"/>
                <a:gd name="connsiteX31" fmla="*/ 3490 w 10000"/>
                <a:gd name="connsiteY31" fmla="*/ 4262 h 10000"/>
                <a:gd name="connsiteX32" fmla="*/ 3237 w 10000"/>
                <a:gd name="connsiteY32" fmla="*/ 3810 h 10000"/>
                <a:gd name="connsiteX33" fmla="*/ 2731 w 10000"/>
                <a:gd name="connsiteY33" fmla="*/ 3474 h 10000"/>
                <a:gd name="connsiteX34" fmla="*/ 2893 w 10000"/>
                <a:gd name="connsiteY34" fmla="*/ 3021 h 10000"/>
                <a:gd name="connsiteX35" fmla="*/ 2803 w 10000"/>
                <a:gd name="connsiteY35" fmla="*/ 2818 h 10000"/>
                <a:gd name="connsiteX36" fmla="*/ 2206 w 10000"/>
                <a:gd name="connsiteY36" fmla="*/ 2529 h 10000"/>
                <a:gd name="connsiteX37" fmla="*/ 2459 w 10000"/>
                <a:gd name="connsiteY37" fmla="*/ 2162 h 10000"/>
                <a:gd name="connsiteX38" fmla="*/ 2297 w 10000"/>
                <a:gd name="connsiteY38" fmla="*/ 1952 h 10000"/>
                <a:gd name="connsiteX39" fmla="*/ 1863 w 10000"/>
                <a:gd name="connsiteY39" fmla="*/ 1741 h 10000"/>
                <a:gd name="connsiteX40" fmla="*/ 1609 w 10000"/>
                <a:gd name="connsiteY40" fmla="*/ 1874 h 10000"/>
                <a:gd name="connsiteX41" fmla="*/ 687 w 10000"/>
                <a:gd name="connsiteY41" fmla="*/ 1421 h 10000"/>
                <a:gd name="connsiteX42" fmla="*/ 434 w 10000"/>
                <a:gd name="connsiteY42" fmla="*/ 1249 h 10000"/>
                <a:gd name="connsiteX43" fmla="*/ 253 w 10000"/>
                <a:gd name="connsiteY43" fmla="*/ 1085 h 10000"/>
                <a:gd name="connsiteX44" fmla="*/ 0 w 10000"/>
                <a:gd name="connsiteY44" fmla="*/ 1023 h 10000"/>
                <a:gd name="connsiteX45" fmla="*/ 344 w 10000"/>
                <a:gd name="connsiteY45" fmla="*/ 867 h 10000"/>
                <a:gd name="connsiteX46" fmla="*/ 850 w 10000"/>
                <a:gd name="connsiteY46" fmla="*/ 867 h 10000"/>
                <a:gd name="connsiteX47" fmla="*/ 1103 w 10000"/>
                <a:gd name="connsiteY47" fmla="*/ 1054 h 10000"/>
                <a:gd name="connsiteX48" fmla="*/ 1790 w 10000"/>
                <a:gd name="connsiteY48" fmla="*/ 1421 h 10000"/>
                <a:gd name="connsiteX49" fmla="*/ 2459 w 10000"/>
                <a:gd name="connsiteY49" fmla="*/ 1210 h 10000"/>
                <a:gd name="connsiteX50" fmla="*/ 2893 w 10000"/>
                <a:gd name="connsiteY50" fmla="*/ 1249 h 10000"/>
                <a:gd name="connsiteX51" fmla="*/ 2984 w 10000"/>
                <a:gd name="connsiteY51" fmla="*/ 1374 h 10000"/>
                <a:gd name="connsiteX52" fmla="*/ 3490 w 10000"/>
                <a:gd name="connsiteY52" fmla="*/ 1421 h 10000"/>
                <a:gd name="connsiteX53" fmla="*/ 3635 w 10000"/>
                <a:gd name="connsiteY53" fmla="*/ 1085 h 10000"/>
                <a:gd name="connsiteX54" fmla="*/ 3888 w 10000"/>
                <a:gd name="connsiteY54" fmla="*/ 984 h 10000"/>
                <a:gd name="connsiteX55" fmla="*/ 4069 w 10000"/>
                <a:gd name="connsiteY55" fmla="*/ 867 h 10000"/>
                <a:gd name="connsiteX56" fmla="*/ 4069 w 10000"/>
                <a:gd name="connsiteY56" fmla="*/ 742 h 10000"/>
                <a:gd name="connsiteX57" fmla="*/ 3978 w 10000"/>
                <a:gd name="connsiteY57" fmla="*/ 406 h 10000"/>
                <a:gd name="connsiteX58" fmla="*/ 4412 w 10000"/>
                <a:gd name="connsiteY58" fmla="*/ 211 h 10000"/>
                <a:gd name="connsiteX59" fmla="*/ 4665 w 10000"/>
                <a:gd name="connsiteY59" fmla="*/ 211 h 10000"/>
                <a:gd name="connsiteX60" fmla="*/ 5081 w 10000"/>
                <a:gd name="connsiteY60" fmla="*/ 0 h 10000"/>
                <a:gd name="connsiteX61" fmla="*/ 5588 w 10000"/>
                <a:gd name="connsiteY61" fmla="*/ 289 h 10000"/>
                <a:gd name="connsiteX62" fmla="*/ 5769 w 10000"/>
                <a:gd name="connsiteY62" fmla="*/ 406 h 10000"/>
                <a:gd name="connsiteX63" fmla="*/ 5588 w 10000"/>
                <a:gd name="connsiteY63" fmla="*/ 656 h 10000"/>
                <a:gd name="connsiteX64" fmla="*/ 5572 w 10000"/>
                <a:gd name="connsiteY64" fmla="*/ 577 h 10000"/>
                <a:gd name="connsiteX65" fmla="*/ 5741 w 10000"/>
                <a:gd name="connsiteY65" fmla="*/ 659 h 10000"/>
                <a:gd name="connsiteX66" fmla="*/ 5604 w 10000"/>
                <a:gd name="connsiteY66" fmla="*/ 755 h 10000"/>
                <a:gd name="connsiteX67" fmla="*/ 5678 w 10000"/>
                <a:gd name="connsiteY67" fmla="*/ 945 h 10000"/>
                <a:gd name="connsiteX68" fmla="*/ 5678 w 10000"/>
                <a:gd name="connsiteY68" fmla="*/ 695 h 10000"/>
                <a:gd name="connsiteX69" fmla="*/ 5769 w 10000"/>
                <a:gd name="connsiteY69" fmla="*/ 328 h 10000"/>
                <a:gd name="connsiteX70" fmla="*/ 6022 w 10000"/>
                <a:gd name="connsiteY70" fmla="*/ 242 h 10000"/>
                <a:gd name="connsiteX71" fmla="*/ 6275 w 10000"/>
                <a:gd name="connsiteY71" fmla="*/ 695 h 10000"/>
                <a:gd name="connsiteX72" fmla="*/ 6275 w 10000"/>
                <a:gd name="connsiteY72" fmla="*/ 1085 h 10000"/>
                <a:gd name="connsiteX73" fmla="*/ 6112 w 10000"/>
                <a:gd name="connsiteY73" fmla="*/ 1249 h 10000"/>
                <a:gd name="connsiteX74" fmla="*/ 6112 w 10000"/>
                <a:gd name="connsiteY74" fmla="*/ 1499 h 10000"/>
                <a:gd name="connsiteX75" fmla="*/ 6781 w 10000"/>
                <a:gd name="connsiteY75" fmla="*/ 1741 h 10000"/>
                <a:gd name="connsiteX76" fmla="*/ 6781 w 10000"/>
                <a:gd name="connsiteY76" fmla="*/ 1905 h 10000"/>
                <a:gd name="connsiteX77" fmla="*/ 7215 w 10000"/>
                <a:gd name="connsiteY77" fmla="*/ 2194 h 10000"/>
                <a:gd name="connsiteX78" fmla="*/ 7378 w 10000"/>
                <a:gd name="connsiteY78" fmla="*/ 2404 h 10000"/>
                <a:gd name="connsiteX79" fmla="*/ 7288 w 10000"/>
                <a:gd name="connsiteY79" fmla="*/ 2896 h 10000"/>
                <a:gd name="connsiteX80" fmla="*/ 7559 w 10000"/>
                <a:gd name="connsiteY80" fmla="*/ 3443 h 10000"/>
                <a:gd name="connsiteX81" fmla="*/ 7975 w 10000"/>
                <a:gd name="connsiteY81" fmla="*/ 3888 h 10000"/>
                <a:gd name="connsiteX82" fmla="*/ 7884 w 10000"/>
                <a:gd name="connsiteY82" fmla="*/ 4551 h 10000"/>
                <a:gd name="connsiteX83" fmla="*/ 8228 w 10000"/>
                <a:gd name="connsiteY83" fmla="*/ 4965 h 10000"/>
                <a:gd name="connsiteX84" fmla="*/ 8409 w 10000"/>
                <a:gd name="connsiteY84" fmla="*/ 5129 h 10000"/>
                <a:gd name="connsiteX85" fmla="*/ 8571 w 10000"/>
                <a:gd name="connsiteY85" fmla="*/ 5738 h 10000"/>
                <a:gd name="connsiteX86" fmla="*/ 8734 w 10000"/>
                <a:gd name="connsiteY86" fmla="*/ 5995 h 10000"/>
                <a:gd name="connsiteX87" fmla="*/ 9566 w 10000"/>
                <a:gd name="connsiteY87" fmla="*/ 6269 h 10000"/>
                <a:gd name="connsiteX88" fmla="*/ 10000 w 10000"/>
                <a:gd name="connsiteY88" fmla="*/ 6526 h 10000"/>
                <a:gd name="connsiteX89" fmla="*/ 10000 w 10000"/>
                <a:gd name="connsiteY89" fmla="*/ 6690 h 10000"/>
                <a:gd name="connsiteX90" fmla="*/ 9656 w 10000"/>
                <a:gd name="connsiteY90" fmla="*/ 7447 h 10000"/>
                <a:gd name="connsiteX91" fmla="*/ 9512 w 10000"/>
                <a:gd name="connsiteY91" fmla="*/ 7525 h 10000"/>
                <a:gd name="connsiteX92" fmla="*/ 9656 w 10000"/>
                <a:gd name="connsiteY92" fmla="*/ 7689 h 10000"/>
                <a:gd name="connsiteX93" fmla="*/ 9259 w 10000"/>
                <a:gd name="connsiteY93" fmla="*/ 7978 h 10000"/>
                <a:gd name="connsiteX94" fmla="*/ 8734 w 10000"/>
                <a:gd name="connsiteY94" fmla="*/ 8103 h 10000"/>
                <a:gd name="connsiteX95" fmla="*/ 8734 w 10000"/>
                <a:gd name="connsiteY95" fmla="*/ 8236 h 10000"/>
                <a:gd name="connsiteX96" fmla="*/ 7975 w 10000"/>
                <a:gd name="connsiteY96" fmla="*/ 8728 h 10000"/>
                <a:gd name="connsiteX97" fmla="*/ 7468 w 10000"/>
                <a:gd name="connsiteY97" fmla="*/ 8845 h 10000"/>
                <a:gd name="connsiteX98" fmla="*/ 7378 w 10000"/>
                <a:gd name="connsiteY98" fmla="*/ 9133 h 10000"/>
                <a:gd name="connsiteX99" fmla="*/ 6872 w 10000"/>
                <a:gd name="connsiteY99" fmla="*/ 9133 h 10000"/>
                <a:gd name="connsiteX100" fmla="*/ 6618 w 10000"/>
                <a:gd name="connsiteY100" fmla="*/ 9227 h 10000"/>
                <a:gd name="connsiteX101" fmla="*/ 6112 w 10000"/>
                <a:gd name="connsiteY101" fmla="*/ 9305 h 10000"/>
                <a:gd name="connsiteX102" fmla="*/ 5425 w 10000"/>
                <a:gd name="connsiteY102" fmla="*/ 9258 h 10000"/>
                <a:gd name="connsiteX103" fmla="*/ 4919 w 10000"/>
                <a:gd name="connsiteY103" fmla="*/ 9469 h 10000"/>
                <a:gd name="connsiteX104" fmla="*/ 4322 w 10000"/>
                <a:gd name="connsiteY104" fmla="*/ 9633 h 10000"/>
                <a:gd name="connsiteX105" fmla="*/ 3725 w 10000"/>
                <a:gd name="connsiteY105" fmla="*/ 9711 h 10000"/>
                <a:gd name="connsiteX106" fmla="*/ 3291 w 10000"/>
                <a:gd name="connsiteY106" fmla="*/ 9883 h 10000"/>
                <a:gd name="connsiteX107" fmla="*/ 2803 w 10000"/>
                <a:gd name="connsiteY107" fmla="*/ 10000 h 10000"/>
                <a:gd name="connsiteX0" fmla="*/ 2803 w 10000"/>
                <a:gd name="connsiteY0" fmla="*/ 10000 h 10000"/>
                <a:gd name="connsiteX1" fmla="*/ 2731 w 10000"/>
                <a:gd name="connsiteY1" fmla="*/ 9672 h 10000"/>
                <a:gd name="connsiteX2" fmla="*/ 2387 w 10000"/>
                <a:gd name="connsiteY2" fmla="*/ 9500 h 10000"/>
                <a:gd name="connsiteX3" fmla="*/ 2134 w 10000"/>
                <a:gd name="connsiteY3" fmla="*/ 9422 h 10000"/>
                <a:gd name="connsiteX4" fmla="*/ 1700 w 10000"/>
                <a:gd name="connsiteY4" fmla="*/ 9344 h 10000"/>
                <a:gd name="connsiteX5" fmla="*/ 1356 w 10000"/>
                <a:gd name="connsiteY5" fmla="*/ 9344 h 10000"/>
                <a:gd name="connsiteX6" fmla="*/ 1193 w 10000"/>
                <a:gd name="connsiteY6" fmla="*/ 9180 h 10000"/>
                <a:gd name="connsiteX7" fmla="*/ 1356 w 10000"/>
                <a:gd name="connsiteY7" fmla="*/ 8556 h 10000"/>
                <a:gd name="connsiteX8" fmla="*/ 1284 w 10000"/>
                <a:gd name="connsiteY8" fmla="*/ 8189 h 10000"/>
                <a:gd name="connsiteX9" fmla="*/ 1013 w 10000"/>
                <a:gd name="connsiteY9" fmla="*/ 8025 h 10000"/>
                <a:gd name="connsiteX10" fmla="*/ 850 w 10000"/>
                <a:gd name="connsiteY10" fmla="*/ 7947 h 10000"/>
                <a:gd name="connsiteX11" fmla="*/ 940 w 10000"/>
                <a:gd name="connsiteY11" fmla="*/ 7611 h 10000"/>
                <a:gd name="connsiteX12" fmla="*/ 850 w 10000"/>
                <a:gd name="connsiteY12" fmla="*/ 7416 h 10000"/>
                <a:gd name="connsiteX13" fmla="*/ 687 w 10000"/>
                <a:gd name="connsiteY13" fmla="*/ 7260 h 10000"/>
                <a:gd name="connsiteX14" fmla="*/ 940 w 10000"/>
                <a:gd name="connsiteY14" fmla="*/ 6893 h 10000"/>
                <a:gd name="connsiteX15" fmla="*/ 1193 w 10000"/>
                <a:gd name="connsiteY15" fmla="*/ 6893 h 10000"/>
                <a:gd name="connsiteX16" fmla="*/ 1356 w 10000"/>
                <a:gd name="connsiteY16" fmla="*/ 6815 h 10000"/>
                <a:gd name="connsiteX17" fmla="*/ 1447 w 10000"/>
                <a:gd name="connsiteY17" fmla="*/ 6557 h 10000"/>
                <a:gd name="connsiteX18" fmla="*/ 1953 w 10000"/>
                <a:gd name="connsiteY18" fmla="*/ 6362 h 10000"/>
                <a:gd name="connsiteX19" fmla="*/ 2459 w 10000"/>
                <a:gd name="connsiteY19" fmla="*/ 6151 h 10000"/>
                <a:gd name="connsiteX20" fmla="*/ 2550 w 10000"/>
                <a:gd name="connsiteY20" fmla="*/ 5902 h 10000"/>
                <a:gd name="connsiteX21" fmla="*/ 3146 w 10000"/>
                <a:gd name="connsiteY21" fmla="*/ 5660 h 10000"/>
                <a:gd name="connsiteX22" fmla="*/ 3725 w 10000"/>
                <a:gd name="connsiteY22" fmla="*/ 5371 h 10000"/>
                <a:gd name="connsiteX23" fmla="*/ 3635 w 10000"/>
                <a:gd name="connsiteY23" fmla="*/ 5246 h 10000"/>
                <a:gd name="connsiteX24" fmla="*/ 3635 w 10000"/>
                <a:gd name="connsiteY24" fmla="*/ 5082 h 10000"/>
                <a:gd name="connsiteX25" fmla="*/ 4069 w 10000"/>
                <a:gd name="connsiteY25" fmla="*/ 4965 h 10000"/>
                <a:gd name="connsiteX26" fmla="*/ 4231 w 10000"/>
                <a:gd name="connsiteY26" fmla="*/ 4918 h 10000"/>
                <a:gd name="connsiteX27" fmla="*/ 4141 w 10000"/>
                <a:gd name="connsiteY27" fmla="*/ 4676 h 10000"/>
                <a:gd name="connsiteX28" fmla="*/ 4141 w 10000"/>
                <a:gd name="connsiteY28" fmla="*/ 4426 h 10000"/>
                <a:gd name="connsiteX29" fmla="*/ 3978 w 10000"/>
                <a:gd name="connsiteY29" fmla="*/ 4387 h 10000"/>
                <a:gd name="connsiteX30" fmla="*/ 3725 w 10000"/>
                <a:gd name="connsiteY30" fmla="*/ 4426 h 10000"/>
                <a:gd name="connsiteX31" fmla="*/ 3490 w 10000"/>
                <a:gd name="connsiteY31" fmla="*/ 4262 h 10000"/>
                <a:gd name="connsiteX32" fmla="*/ 3237 w 10000"/>
                <a:gd name="connsiteY32" fmla="*/ 3810 h 10000"/>
                <a:gd name="connsiteX33" fmla="*/ 2731 w 10000"/>
                <a:gd name="connsiteY33" fmla="*/ 3474 h 10000"/>
                <a:gd name="connsiteX34" fmla="*/ 2893 w 10000"/>
                <a:gd name="connsiteY34" fmla="*/ 3021 h 10000"/>
                <a:gd name="connsiteX35" fmla="*/ 2803 w 10000"/>
                <a:gd name="connsiteY35" fmla="*/ 2818 h 10000"/>
                <a:gd name="connsiteX36" fmla="*/ 2206 w 10000"/>
                <a:gd name="connsiteY36" fmla="*/ 2529 h 10000"/>
                <a:gd name="connsiteX37" fmla="*/ 2459 w 10000"/>
                <a:gd name="connsiteY37" fmla="*/ 2162 h 10000"/>
                <a:gd name="connsiteX38" fmla="*/ 2297 w 10000"/>
                <a:gd name="connsiteY38" fmla="*/ 1952 h 10000"/>
                <a:gd name="connsiteX39" fmla="*/ 1863 w 10000"/>
                <a:gd name="connsiteY39" fmla="*/ 1741 h 10000"/>
                <a:gd name="connsiteX40" fmla="*/ 1609 w 10000"/>
                <a:gd name="connsiteY40" fmla="*/ 1874 h 10000"/>
                <a:gd name="connsiteX41" fmla="*/ 687 w 10000"/>
                <a:gd name="connsiteY41" fmla="*/ 1421 h 10000"/>
                <a:gd name="connsiteX42" fmla="*/ 434 w 10000"/>
                <a:gd name="connsiteY42" fmla="*/ 1249 h 10000"/>
                <a:gd name="connsiteX43" fmla="*/ 253 w 10000"/>
                <a:gd name="connsiteY43" fmla="*/ 1085 h 10000"/>
                <a:gd name="connsiteX44" fmla="*/ 0 w 10000"/>
                <a:gd name="connsiteY44" fmla="*/ 1023 h 10000"/>
                <a:gd name="connsiteX45" fmla="*/ 344 w 10000"/>
                <a:gd name="connsiteY45" fmla="*/ 867 h 10000"/>
                <a:gd name="connsiteX46" fmla="*/ 850 w 10000"/>
                <a:gd name="connsiteY46" fmla="*/ 867 h 10000"/>
                <a:gd name="connsiteX47" fmla="*/ 1103 w 10000"/>
                <a:gd name="connsiteY47" fmla="*/ 1054 h 10000"/>
                <a:gd name="connsiteX48" fmla="*/ 1790 w 10000"/>
                <a:gd name="connsiteY48" fmla="*/ 1421 h 10000"/>
                <a:gd name="connsiteX49" fmla="*/ 2459 w 10000"/>
                <a:gd name="connsiteY49" fmla="*/ 1210 h 10000"/>
                <a:gd name="connsiteX50" fmla="*/ 2893 w 10000"/>
                <a:gd name="connsiteY50" fmla="*/ 1249 h 10000"/>
                <a:gd name="connsiteX51" fmla="*/ 2984 w 10000"/>
                <a:gd name="connsiteY51" fmla="*/ 1374 h 10000"/>
                <a:gd name="connsiteX52" fmla="*/ 3490 w 10000"/>
                <a:gd name="connsiteY52" fmla="*/ 1421 h 10000"/>
                <a:gd name="connsiteX53" fmla="*/ 3635 w 10000"/>
                <a:gd name="connsiteY53" fmla="*/ 1085 h 10000"/>
                <a:gd name="connsiteX54" fmla="*/ 3888 w 10000"/>
                <a:gd name="connsiteY54" fmla="*/ 984 h 10000"/>
                <a:gd name="connsiteX55" fmla="*/ 4069 w 10000"/>
                <a:gd name="connsiteY55" fmla="*/ 867 h 10000"/>
                <a:gd name="connsiteX56" fmla="*/ 4069 w 10000"/>
                <a:gd name="connsiteY56" fmla="*/ 742 h 10000"/>
                <a:gd name="connsiteX57" fmla="*/ 3978 w 10000"/>
                <a:gd name="connsiteY57" fmla="*/ 406 h 10000"/>
                <a:gd name="connsiteX58" fmla="*/ 4412 w 10000"/>
                <a:gd name="connsiteY58" fmla="*/ 211 h 10000"/>
                <a:gd name="connsiteX59" fmla="*/ 4665 w 10000"/>
                <a:gd name="connsiteY59" fmla="*/ 211 h 10000"/>
                <a:gd name="connsiteX60" fmla="*/ 5081 w 10000"/>
                <a:gd name="connsiteY60" fmla="*/ 0 h 10000"/>
                <a:gd name="connsiteX61" fmla="*/ 5588 w 10000"/>
                <a:gd name="connsiteY61" fmla="*/ 289 h 10000"/>
                <a:gd name="connsiteX62" fmla="*/ 5769 w 10000"/>
                <a:gd name="connsiteY62" fmla="*/ 406 h 10000"/>
                <a:gd name="connsiteX63" fmla="*/ 5588 w 10000"/>
                <a:gd name="connsiteY63" fmla="*/ 656 h 10000"/>
                <a:gd name="connsiteX64" fmla="*/ 5572 w 10000"/>
                <a:gd name="connsiteY64" fmla="*/ 577 h 10000"/>
                <a:gd name="connsiteX65" fmla="*/ 5741 w 10000"/>
                <a:gd name="connsiteY65" fmla="*/ 659 h 10000"/>
                <a:gd name="connsiteX66" fmla="*/ 5604 w 10000"/>
                <a:gd name="connsiteY66" fmla="*/ 755 h 10000"/>
                <a:gd name="connsiteX67" fmla="*/ 5678 w 10000"/>
                <a:gd name="connsiteY67" fmla="*/ 945 h 10000"/>
                <a:gd name="connsiteX68" fmla="*/ 5792 w 10000"/>
                <a:gd name="connsiteY68" fmla="*/ 574 h 10000"/>
                <a:gd name="connsiteX69" fmla="*/ 5769 w 10000"/>
                <a:gd name="connsiteY69" fmla="*/ 328 h 10000"/>
                <a:gd name="connsiteX70" fmla="*/ 6022 w 10000"/>
                <a:gd name="connsiteY70" fmla="*/ 242 h 10000"/>
                <a:gd name="connsiteX71" fmla="*/ 6275 w 10000"/>
                <a:gd name="connsiteY71" fmla="*/ 695 h 10000"/>
                <a:gd name="connsiteX72" fmla="*/ 6275 w 10000"/>
                <a:gd name="connsiteY72" fmla="*/ 1085 h 10000"/>
                <a:gd name="connsiteX73" fmla="*/ 6112 w 10000"/>
                <a:gd name="connsiteY73" fmla="*/ 1249 h 10000"/>
                <a:gd name="connsiteX74" fmla="*/ 6112 w 10000"/>
                <a:gd name="connsiteY74" fmla="*/ 1499 h 10000"/>
                <a:gd name="connsiteX75" fmla="*/ 6781 w 10000"/>
                <a:gd name="connsiteY75" fmla="*/ 1741 h 10000"/>
                <a:gd name="connsiteX76" fmla="*/ 6781 w 10000"/>
                <a:gd name="connsiteY76" fmla="*/ 1905 h 10000"/>
                <a:gd name="connsiteX77" fmla="*/ 7215 w 10000"/>
                <a:gd name="connsiteY77" fmla="*/ 2194 h 10000"/>
                <a:gd name="connsiteX78" fmla="*/ 7378 w 10000"/>
                <a:gd name="connsiteY78" fmla="*/ 2404 h 10000"/>
                <a:gd name="connsiteX79" fmla="*/ 7288 w 10000"/>
                <a:gd name="connsiteY79" fmla="*/ 2896 h 10000"/>
                <a:gd name="connsiteX80" fmla="*/ 7559 w 10000"/>
                <a:gd name="connsiteY80" fmla="*/ 3443 h 10000"/>
                <a:gd name="connsiteX81" fmla="*/ 7975 w 10000"/>
                <a:gd name="connsiteY81" fmla="*/ 3888 h 10000"/>
                <a:gd name="connsiteX82" fmla="*/ 7884 w 10000"/>
                <a:gd name="connsiteY82" fmla="*/ 4551 h 10000"/>
                <a:gd name="connsiteX83" fmla="*/ 8228 w 10000"/>
                <a:gd name="connsiteY83" fmla="*/ 4965 h 10000"/>
                <a:gd name="connsiteX84" fmla="*/ 8409 w 10000"/>
                <a:gd name="connsiteY84" fmla="*/ 5129 h 10000"/>
                <a:gd name="connsiteX85" fmla="*/ 8571 w 10000"/>
                <a:gd name="connsiteY85" fmla="*/ 5738 h 10000"/>
                <a:gd name="connsiteX86" fmla="*/ 8734 w 10000"/>
                <a:gd name="connsiteY86" fmla="*/ 5995 h 10000"/>
                <a:gd name="connsiteX87" fmla="*/ 9566 w 10000"/>
                <a:gd name="connsiteY87" fmla="*/ 6269 h 10000"/>
                <a:gd name="connsiteX88" fmla="*/ 10000 w 10000"/>
                <a:gd name="connsiteY88" fmla="*/ 6526 h 10000"/>
                <a:gd name="connsiteX89" fmla="*/ 10000 w 10000"/>
                <a:gd name="connsiteY89" fmla="*/ 6690 h 10000"/>
                <a:gd name="connsiteX90" fmla="*/ 9656 w 10000"/>
                <a:gd name="connsiteY90" fmla="*/ 7447 h 10000"/>
                <a:gd name="connsiteX91" fmla="*/ 9512 w 10000"/>
                <a:gd name="connsiteY91" fmla="*/ 7525 h 10000"/>
                <a:gd name="connsiteX92" fmla="*/ 9656 w 10000"/>
                <a:gd name="connsiteY92" fmla="*/ 7689 h 10000"/>
                <a:gd name="connsiteX93" fmla="*/ 9259 w 10000"/>
                <a:gd name="connsiteY93" fmla="*/ 7978 h 10000"/>
                <a:gd name="connsiteX94" fmla="*/ 8734 w 10000"/>
                <a:gd name="connsiteY94" fmla="*/ 8103 h 10000"/>
                <a:gd name="connsiteX95" fmla="*/ 8734 w 10000"/>
                <a:gd name="connsiteY95" fmla="*/ 8236 h 10000"/>
                <a:gd name="connsiteX96" fmla="*/ 7975 w 10000"/>
                <a:gd name="connsiteY96" fmla="*/ 8728 h 10000"/>
                <a:gd name="connsiteX97" fmla="*/ 7468 w 10000"/>
                <a:gd name="connsiteY97" fmla="*/ 8845 h 10000"/>
                <a:gd name="connsiteX98" fmla="*/ 7378 w 10000"/>
                <a:gd name="connsiteY98" fmla="*/ 9133 h 10000"/>
                <a:gd name="connsiteX99" fmla="*/ 6872 w 10000"/>
                <a:gd name="connsiteY99" fmla="*/ 9133 h 10000"/>
                <a:gd name="connsiteX100" fmla="*/ 6618 w 10000"/>
                <a:gd name="connsiteY100" fmla="*/ 9227 h 10000"/>
                <a:gd name="connsiteX101" fmla="*/ 6112 w 10000"/>
                <a:gd name="connsiteY101" fmla="*/ 9305 h 10000"/>
                <a:gd name="connsiteX102" fmla="*/ 5425 w 10000"/>
                <a:gd name="connsiteY102" fmla="*/ 9258 h 10000"/>
                <a:gd name="connsiteX103" fmla="*/ 4919 w 10000"/>
                <a:gd name="connsiteY103" fmla="*/ 9469 h 10000"/>
                <a:gd name="connsiteX104" fmla="*/ 4322 w 10000"/>
                <a:gd name="connsiteY104" fmla="*/ 9633 h 10000"/>
                <a:gd name="connsiteX105" fmla="*/ 3725 w 10000"/>
                <a:gd name="connsiteY105" fmla="*/ 9711 h 10000"/>
                <a:gd name="connsiteX106" fmla="*/ 3291 w 10000"/>
                <a:gd name="connsiteY106" fmla="*/ 9883 h 10000"/>
                <a:gd name="connsiteX107" fmla="*/ 2803 w 10000"/>
                <a:gd name="connsiteY107"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0000" h="10000">
                  <a:moveTo>
                    <a:pt x="2803" y="10000"/>
                  </a:moveTo>
                  <a:cubicBezTo>
                    <a:pt x="2779" y="9891"/>
                    <a:pt x="2755" y="9781"/>
                    <a:pt x="2731" y="9672"/>
                  </a:cubicBezTo>
                  <a:lnTo>
                    <a:pt x="2387" y="9500"/>
                  </a:lnTo>
                  <a:lnTo>
                    <a:pt x="2134" y="9422"/>
                  </a:lnTo>
                  <a:lnTo>
                    <a:pt x="1700" y="9344"/>
                  </a:lnTo>
                  <a:lnTo>
                    <a:pt x="1356" y="9344"/>
                  </a:lnTo>
                  <a:cubicBezTo>
                    <a:pt x="1302" y="9289"/>
                    <a:pt x="1247" y="9235"/>
                    <a:pt x="1193" y="9180"/>
                  </a:cubicBezTo>
                  <a:cubicBezTo>
                    <a:pt x="1247" y="8972"/>
                    <a:pt x="1302" y="8764"/>
                    <a:pt x="1356" y="8556"/>
                  </a:cubicBezTo>
                  <a:cubicBezTo>
                    <a:pt x="1332" y="8434"/>
                    <a:pt x="1308" y="8311"/>
                    <a:pt x="1284" y="8189"/>
                  </a:cubicBezTo>
                  <a:lnTo>
                    <a:pt x="1013" y="8025"/>
                  </a:lnTo>
                  <a:lnTo>
                    <a:pt x="850" y="7947"/>
                  </a:lnTo>
                  <a:lnTo>
                    <a:pt x="940" y="7611"/>
                  </a:lnTo>
                  <a:lnTo>
                    <a:pt x="850" y="7416"/>
                  </a:lnTo>
                  <a:lnTo>
                    <a:pt x="687" y="7260"/>
                  </a:lnTo>
                  <a:lnTo>
                    <a:pt x="940" y="6893"/>
                  </a:lnTo>
                  <a:lnTo>
                    <a:pt x="1193" y="6893"/>
                  </a:lnTo>
                  <a:lnTo>
                    <a:pt x="1356" y="6815"/>
                  </a:lnTo>
                  <a:cubicBezTo>
                    <a:pt x="1386" y="6729"/>
                    <a:pt x="1417" y="6643"/>
                    <a:pt x="1447" y="6557"/>
                  </a:cubicBezTo>
                  <a:lnTo>
                    <a:pt x="1953" y="6362"/>
                  </a:lnTo>
                  <a:lnTo>
                    <a:pt x="2459" y="6151"/>
                  </a:lnTo>
                  <a:cubicBezTo>
                    <a:pt x="2489" y="6068"/>
                    <a:pt x="2520" y="5985"/>
                    <a:pt x="2550" y="5902"/>
                  </a:cubicBezTo>
                  <a:lnTo>
                    <a:pt x="3146" y="5660"/>
                  </a:lnTo>
                  <a:lnTo>
                    <a:pt x="3725" y="5371"/>
                  </a:lnTo>
                  <a:cubicBezTo>
                    <a:pt x="3695" y="5329"/>
                    <a:pt x="3665" y="5288"/>
                    <a:pt x="3635" y="5246"/>
                  </a:cubicBezTo>
                  <a:lnTo>
                    <a:pt x="3635" y="5082"/>
                  </a:lnTo>
                  <a:lnTo>
                    <a:pt x="4069" y="4965"/>
                  </a:lnTo>
                  <a:lnTo>
                    <a:pt x="4231" y="4918"/>
                  </a:lnTo>
                  <a:cubicBezTo>
                    <a:pt x="4201" y="4837"/>
                    <a:pt x="4171" y="4757"/>
                    <a:pt x="4141" y="4676"/>
                  </a:cubicBezTo>
                  <a:lnTo>
                    <a:pt x="4141" y="4426"/>
                  </a:lnTo>
                  <a:lnTo>
                    <a:pt x="3978" y="4387"/>
                  </a:lnTo>
                  <a:lnTo>
                    <a:pt x="3725" y="4426"/>
                  </a:lnTo>
                  <a:lnTo>
                    <a:pt x="3490" y="4262"/>
                  </a:lnTo>
                  <a:cubicBezTo>
                    <a:pt x="3406" y="4111"/>
                    <a:pt x="3321" y="3961"/>
                    <a:pt x="3237" y="3810"/>
                  </a:cubicBezTo>
                  <a:lnTo>
                    <a:pt x="2731" y="3474"/>
                  </a:lnTo>
                  <a:lnTo>
                    <a:pt x="2893" y="3021"/>
                  </a:lnTo>
                  <a:cubicBezTo>
                    <a:pt x="2863" y="2953"/>
                    <a:pt x="2833" y="2886"/>
                    <a:pt x="2803" y="2818"/>
                  </a:cubicBezTo>
                  <a:lnTo>
                    <a:pt x="2206" y="2529"/>
                  </a:lnTo>
                  <a:lnTo>
                    <a:pt x="2459" y="2162"/>
                  </a:lnTo>
                  <a:lnTo>
                    <a:pt x="2297" y="1952"/>
                  </a:lnTo>
                  <a:lnTo>
                    <a:pt x="1863" y="1741"/>
                  </a:lnTo>
                  <a:lnTo>
                    <a:pt x="1609" y="1874"/>
                  </a:lnTo>
                  <a:lnTo>
                    <a:pt x="687" y="1421"/>
                  </a:lnTo>
                  <a:lnTo>
                    <a:pt x="434" y="1249"/>
                  </a:lnTo>
                  <a:cubicBezTo>
                    <a:pt x="374" y="1194"/>
                    <a:pt x="313" y="1140"/>
                    <a:pt x="253" y="1085"/>
                  </a:cubicBezTo>
                  <a:lnTo>
                    <a:pt x="0" y="1023"/>
                  </a:lnTo>
                  <a:lnTo>
                    <a:pt x="344" y="867"/>
                  </a:lnTo>
                  <a:lnTo>
                    <a:pt x="850" y="867"/>
                  </a:lnTo>
                  <a:lnTo>
                    <a:pt x="1103" y="1054"/>
                  </a:lnTo>
                  <a:lnTo>
                    <a:pt x="1790" y="1421"/>
                  </a:lnTo>
                  <a:lnTo>
                    <a:pt x="2459" y="1210"/>
                  </a:lnTo>
                  <a:lnTo>
                    <a:pt x="2893" y="1249"/>
                  </a:lnTo>
                  <a:cubicBezTo>
                    <a:pt x="2923" y="1291"/>
                    <a:pt x="2954" y="1332"/>
                    <a:pt x="2984" y="1374"/>
                  </a:cubicBezTo>
                  <a:lnTo>
                    <a:pt x="3490" y="1421"/>
                  </a:lnTo>
                  <a:cubicBezTo>
                    <a:pt x="3538" y="1309"/>
                    <a:pt x="3587" y="1197"/>
                    <a:pt x="3635" y="1085"/>
                  </a:cubicBezTo>
                  <a:lnTo>
                    <a:pt x="3888" y="984"/>
                  </a:lnTo>
                  <a:lnTo>
                    <a:pt x="4069" y="867"/>
                  </a:lnTo>
                  <a:lnTo>
                    <a:pt x="4069" y="742"/>
                  </a:lnTo>
                  <a:cubicBezTo>
                    <a:pt x="4039" y="630"/>
                    <a:pt x="4008" y="518"/>
                    <a:pt x="3978" y="406"/>
                  </a:cubicBezTo>
                  <a:lnTo>
                    <a:pt x="4412" y="211"/>
                  </a:lnTo>
                  <a:lnTo>
                    <a:pt x="4665" y="211"/>
                  </a:lnTo>
                  <a:lnTo>
                    <a:pt x="5081" y="0"/>
                  </a:lnTo>
                  <a:lnTo>
                    <a:pt x="5588" y="289"/>
                  </a:lnTo>
                  <a:lnTo>
                    <a:pt x="5769" y="406"/>
                  </a:lnTo>
                  <a:lnTo>
                    <a:pt x="5588" y="656"/>
                  </a:lnTo>
                  <a:cubicBezTo>
                    <a:pt x="5583" y="630"/>
                    <a:pt x="5577" y="603"/>
                    <a:pt x="5572" y="577"/>
                  </a:cubicBezTo>
                  <a:lnTo>
                    <a:pt x="5741" y="659"/>
                  </a:lnTo>
                  <a:lnTo>
                    <a:pt x="5604" y="755"/>
                  </a:lnTo>
                  <a:cubicBezTo>
                    <a:pt x="5629" y="818"/>
                    <a:pt x="5653" y="882"/>
                    <a:pt x="5678" y="945"/>
                  </a:cubicBezTo>
                  <a:lnTo>
                    <a:pt x="5792" y="574"/>
                  </a:lnTo>
                  <a:cubicBezTo>
                    <a:pt x="5822" y="452"/>
                    <a:pt x="5739" y="450"/>
                    <a:pt x="5769" y="328"/>
                  </a:cubicBezTo>
                  <a:lnTo>
                    <a:pt x="6022" y="242"/>
                  </a:lnTo>
                  <a:lnTo>
                    <a:pt x="6275" y="695"/>
                  </a:lnTo>
                  <a:lnTo>
                    <a:pt x="6275" y="1085"/>
                  </a:lnTo>
                  <a:cubicBezTo>
                    <a:pt x="6221" y="1140"/>
                    <a:pt x="6166" y="1194"/>
                    <a:pt x="6112" y="1249"/>
                  </a:cubicBezTo>
                  <a:lnTo>
                    <a:pt x="6112" y="1499"/>
                  </a:lnTo>
                  <a:lnTo>
                    <a:pt x="6781" y="1741"/>
                  </a:lnTo>
                  <a:lnTo>
                    <a:pt x="6781" y="1905"/>
                  </a:lnTo>
                  <a:lnTo>
                    <a:pt x="7215" y="2194"/>
                  </a:lnTo>
                  <a:lnTo>
                    <a:pt x="7378" y="2404"/>
                  </a:lnTo>
                  <a:lnTo>
                    <a:pt x="7288" y="2896"/>
                  </a:lnTo>
                  <a:lnTo>
                    <a:pt x="7559" y="3443"/>
                  </a:lnTo>
                  <a:lnTo>
                    <a:pt x="7975" y="3888"/>
                  </a:lnTo>
                  <a:cubicBezTo>
                    <a:pt x="7945" y="4109"/>
                    <a:pt x="7914" y="4330"/>
                    <a:pt x="7884" y="4551"/>
                  </a:cubicBezTo>
                  <a:lnTo>
                    <a:pt x="8228" y="4965"/>
                  </a:lnTo>
                  <a:cubicBezTo>
                    <a:pt x="8288" y="5020"/>
                    <a:pt x="8349" y="5074"/>
                    <a:pt x="8409" y="5129"/>
                  </a:cubicBezTo>
                  <a:lnTo>
                    <a:pt x="8571" y="5738"/>
                  </a:lnTo>
                  <a:cubicBezTo>
                    <a:pt x="8625" y="5824"/>
                    <a:pt x="8680" y="5909"/>
                    <a:pt x="8734" y="5995"/>
                  </a:cubicBezTo>
                  <a:lnTo>
                    <a:pt x="9566" y="6269"/>
                  </a:lnTo>
                  <a:lnTo>
                    <a:pt x="10000" y="6526"/>
                  </a:lnTo>
                  <a:lnTo>
                    <a:pt x="10000" y="6690"/>
                  </a:lnTo>
                  <a:lnTo>
                    <a:pt x="9656" y="7447"/>
                  </a:lnTo>
                  <a:lnTo>
                    <a:pt x="9512" y="7525"/>
                  </a:lnTo>
                  <a:lnTo>
                    <a:pt x="9656" y="7689"/>
                  </a:lnTo>
                  <a:lnTo>
                    <a:pt x="9259" y="7978"/>
                  </a:lnTo>
                  <a:lnTo>
                    <a:pt x="8734" y="8103"/>
                  </a:lnTo>
                  <a:lnTo>
                    <a:pt x="8734" y="8236"/>
                  </a:lnTo>
                  <a:lnTo>
                    <a:pt x="7975" y="8728"/>
                  </a:lnTo>
                  <a:lnTo>
                    <a:pt x="7468" y="8845"/>
                  </a:lnTo>
                  <a:lnTo>
                    <a:pt x="7378" y="9133"/>
                  </a:lnTo>
                  <a:lnTo>
                    <a:pt x="6872" y="9133"/>
                  </a:lnTo>
                  <a:lnTo>
                    <a:pt x="6618" y="9227"/>
                  </a:lnTo>
                  <a:lnTo>
                    <a:pt x="6112" y="9305"/>
                  </a:lnTo>
                  <a:lnTo>
                    <a:pt x="5425" y="9258"/>
                  </a:lnTo>
                  <a:lnTo>
                    <a:pt x="4919" y="9469"/>
                  </a:lnTo>
                  <a:lnTo>
                    <a:pt x="4322" y="9633"/>
                  </a:lnTo>
                  <a:lnTo>
                    <a:pt x="3725" y="9711"/>
                  </a:lnTo>
                  <a:lnTo>
                    <a:pt x="3291" y="9883"/>
                  </a:lnTo>
                  <a:lnTo>
                    <a:pt x="2803" y="1000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grpSp>
        <p:nvGrpSpPr>
          <p:cNvPr id="28" name="SE"/>
          <p:cNvGrpSpPr>
            <a:grpSpLocks/>
          </p:cNvGrpSpPr>
          <p:nvPr/>
        </p:nvGrpSpPr>
        <p:grpSpPr bwMode="auto">
          <a:xfrm>
            <a:off x="6097588" y="1157287"/>
            <a:ext cx="1035054" cy="2009769"/>
            <a:chOff x="3043262" y="1475462"/>
            <a:chExt cx="475" cy="1041"/>
          </a:xfrm>
          <a:solidFill>
            <a:srgbClr val="FAFAFA"/>
          </a:solidFill>
          <a:effectLst/>
        </p:grpSpPr>
        <p:sp>
          <p:nvSpPr>
            <p:cNvPr id="92" name="Freeform 563"/>
            <p:cNvSpPr>
              <a:spLocks noChangeAspect="1"/>
            </p:cNvSpPr>
            <p:nvPr/>
          </p:nvSpPr>
          <p:spPr bwMode="auto">
            <a:xfrm>
              <a:off x="3043451" y="1476363"/>
              <a:ext cx="32" cy="81"/>
            </a:xfrm>
            <a:custGeom>
              <a:avLst/>
              <a:gdLst>
                <a:gd name="T0" fmla="*/ 46 w 46"/>
                <a:gd name="T1" fmla="*/ 0 h 131"/>
                <a:gd name="T2" fmla="*/ 44 w 46"/>
                <a:gd name="T3" fmla="*/ 44 h 131"/>
                <a:gd name="T4" fmla="*/ 30 w 46"/>
                <a:gd name="T5" fmla="*/ 78 h 131"/>
                <a:gd name="T6" fmla="*/ 9 w 46"/>
                <a:gd name="T7" fmla="*/ 99 h 131"/>
                <a:gd name="T8" fmla="*/ 14 w 46"/>
                <a:gd name="T9" fmla="*/ 122 h 131"/>
                <a:gd name="T10" fmla="*/ 5 w 46"/>
                <a:gd name="T11" fmla="*/ 131 h 131"/>
                <a:gd name="T12" fmla="*/ 0 w 46"/>
                <a:gd name="T13" fmla="*/ 102 h 131"/>
                <a:gd name="T14" fmla="*/ 7 w 46"/>
                <a:gd name="T15" fmla="*/ 81 h 131"/>
                <a:gd name="T16" fmla="*/ 14 w 46"/>
                <a:gd name="T17" fmla="*/ 57 h 131"/>
                <a:gd name="T18" fmla="*/ 46 w 46"/>
                <a:gd name="T19"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31">
                  <a:moveTo>
                    <a:pt x="46" y="0"/>
                  </a:moveTo>
                  <a:lnTo>
                    <a:pt x="44" y="44"/>
                  </a:lnTo>
                  <a:lnTo>
                    <a:pt x="30" y="78"/>
                  </a:lnTo>
                  <a:lnTo>
                    <a:pt x="9" y="99"/>
                  </a:lnTo>
                  <a:lnTo>
                    <a:pt x="14" y="122"/>
                  </a:lnTo>
                  <a:lnTo>
                    <a:pt x="5" y="131"/>
                  </a:lnTo>
                  <a:lnTo>
                    <a:pt x="0" y="102"/>
                  </a:lnTo>
                  <a:lnTo>
                    <a:pt x="7" y="81"/>
                  </a:lnTo>
                  <a:lnTo>
                    <a:pt x="14" y="57"/>
                  </a:lnTo>
                  <a:lnTo>
                    <a:pt x="46"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3" name="Freeform 564"/>
            <p:cNvSpPr>
              <a:spLocks noChangeAspect="1"/>
            </p:cNvSpPr>
            <p:nvPr/>
          </p:nvSpPr>
          <p:spPr bwMode="auto">
            <a:xfrm>
              <a:off x="3043522" y="1476325"/>
              <a:ext cx="42" cy="64"/>
            </a:xfrm>
            <a:custGeom>
              <a:avLst/>
              <a:gdLst>
                <a:gd name="T0" fmla="*/ 50 w 64"/>
                <a:gd name="T1" fmla="*/ 0 h 104"/>
                <a:gd name="T2" fmla="*/ 64 w 64"/>
                <a:gd name="T3" fmla="*/ 0 h 104"/>
                <a:gd name="T4" fmla="*/ 47 w 64"/>
                <a:gd name="T5" fmla="*/ 22 h 104"/>
                <a:gd name="T6" fmla="*/ 45 w 64"/>
                <a:gd name="T7" fmla="*/ 37 h 104"/>
                <a:gd name="T8" fmla="*/ 50 w 64"/>
                <a:gd name="T9" fmla="*/ 59 h 104"/>
                <a:gd name="T10" fmla="*/ 33 w 64"/>
                <a:gd name="T11" fmla="*/ 80 h 104"/>
                <a:gd name="T12" fmla="*/ 12 w 64"/>
                <a:gd name="T13" fmla="*/ 104 h 104"/>
                <a:gd name="T14" fmla="*/ 8 w 64"/>
                <a:gd name="T15" fmla="*/ 80 h 104"/>
                <a:gd name="T16" fmla="*/ 0 w 64"/>
                <a:gd name="T17" fmla="*/ 70 h 104"/>
                <a:gd name="T18" fmla="*/ 0 w 64"/>
                <a:gd name="T19" fmla="*/ 52 h 104"/>
                <a:gd name="T20" fmla="*/ 19 w 64"/>
                <a:gd name="T21" fmla="*/ 32 h 104"/>
                <a:gd name="T22" fmla="*/ 50 w 64"/>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04">
                  <a:moveTo>
                    <a:pt x="50" y="0"/>
                  </a:moveTo>
                  <a:lnTo>
                    <a:pt x="64" y="0"/>
                  </a:lnTo>
                  <a:lnTo>
                    <a:pt x="47" y="22"/>
                  </a:lnTo>
                  <a:lnTo>
                    <a:pt x="45" y="37"/>
                  </a:lnTo>
                  <a:lnTo>
                    <a:pt x="50" y="59"/>
                  </a:lnTo>
                  <a:lnTo>
                    <a:pt x="33" y="80"/>
                  </a:lnTo>
                  <a:lnTo>
                    <a:pt x="12" y="104"/>
                  </a:lnTo>
                  <a:lnTo>
                    <a:pt x="8" y="80"/>
                  </a:lnTo>
                  <a:lnTo>
                    <a:pt x="0" y="70"/>
                  </a:lnTo>
                  <a:lnTo>
                    <a:pt x="0" y="52"/>
                  </a:lnTo>
                  <a:lnTo>
                    <a:pt x="19" y="32"/>
                  </a:lnTo>
                  <a:lnTo>
                    <a:pt x="50"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4" name="Freeform 565"/>
            <p:cNvSpPr>
              <a:spLocks noChangeAspect="1"/>
            </p:cNvSpPr>
            <p:nvPr/>
          </p:nvSpPr>
          <p:spPr bwMode="auto">
            <a:xfrm>
              <a:off x="3043262" y="1475462"/>
              <a:ext cx="475" cy="1041"/>
            </a:xfrm>
            <a:custGeom>
              <a:avLst/>
              <a:gdLst>
                <a:gd name="T0" fmla="*/ 551 w 701"/>
                <a:gd name="T1" fmla="*/ 30 h 1686"/>
                <a:gd name="T2" fmla="*/ 646 w 701"/>
                <a:gd name="T3" fmla="*/ 104 h 1686"/>
                <a:gd name="T4" fmla="*/ 655 w 701"/>
                <a:gd name="T5" fmla="*/ 168 h 1686"/>
                <a:gd name="T6" fmla="*/ 677 w 701"/>
                <a:gd name="T7" fmla="*/ 225 h 1686"/>
                <a:gd name="T8" fmla="*/ 674 w 701"/>
                <a:gd name="T9" fmla="*/ 299 h 1686"/>
                <a:gd name="T10" fmla="*/ 692 w 701"/>
                <a:gd name="T11" fmla="*/ 352 h 1686"/>
                <a:gd name="T12" fmla="*/ 687 w 701"/>
                <a:gd name="T13" fmla="*/ 394 h 1686"/>
                <a:gd name="T14" fmla="*/ 603 w 701"/>
                <a:gd name="T15" fmla="*/ 404 h 1686"/>
                <a:gd name="T16" fmla="*/ 566 w 701"/>
                <a:gd name="T17" fmla="*/ 468 h 1686"/>
                <a:gd name="T18" fmla="*/ 556 w 701"/>
                <a:gd name="T19" fmla="*/ 515 h 1686"/>
                <a:gd name="T20" fmla="*/ 561 w 701"/>
                <a:gd name="T21" fmla="*/ 583 h 1686"/>
                <a:gd name="T22" fmla="*/ 533 w 701"/>
                <a:gd name="T23" fmla="*/ 647 h 1686"/>
                <a:gd name="T24" fmla="*/ 453 w 701"/>
                <a:gd name="T25" fmla="*/ 700 h 1686"/>
                <a:gd name="T26" fmla="*/ 424 w 701"/>
                <a:gd name="T27" fmla="*/ 731 h 1686"/>
                <a:gd name="T28" fmla="*/ 387 w 701"/>
                <a:gd name="T29" fmla="*/ 811 h 1686"/>
                <a:gd name="T30" fmla="*/ 376 w 701"/>
                <a:gd name="T31" fmla="*/ 871 h 1686"/>
                <a:gd name="T32" fmla="*/ 343 w 701"/>
                <a:gd name="T33" fmla="*/ 956 h 1686"/>
                <a:gd name="T34" fmla="*/ 391 w 701"/>
                <a:gd name="T35" fmla="*/ 1067 h 1686"/>
                <a:gd name="T36" fmla="*/ 429 w 701"/>
                <a:gd name="T37" fmla="*/ 1151 h 1686"/>
                <a:gd name="T38" fmla="*/ 387 w 701"/>
                <a:gd name="T39" fmla="*/ 1182 h 1686"/>
                <a:gd name="T40" fmla="*/ 352 w 701"/>
                <a:gd name="T41" fmla="*/ 1188 h 1686"/>
                <a:gd name="T42" fmla="*/ 272 w 701"/>
                <a:gd name="T43" fmla="*/ 1194 h 1686"/>
                <a:gd name="T44" fmla="*/ 347 w 701"/>
                <a:gd name="T45" fmla="*/ 1214 h 1686"/>
                <a:gd name="T46" fmla="*/ 387 w 701"/>
                <a:gd name="T47" fmla="*/ 1241 h 1686"/>
                <a:gd name="T48" fmla="*/ 361 w 701"/>
                <a:gd name="T49" fmla="*/ 1262 h 1686"/>
                <a:gd name="T50" fmla="*/ 314 w 701"/>
                <a:gd name="T51" fmla="*/ 1309 h 1686"/>
                <a:gd name="T52" fmla="*/ 300 w 701"/>
                <a:gd name="T53" fmla="*/ 1356 h 1686"/>
                <a:gd name="T54" fmla="*/ 281 w 701"/>
                <a:gd name="T55" fmla="*/ 1467 h 1686"/>
                <a:gd name="T56" fmla="*/ 258 w 701"/>
                <a:gd name="T57" fmla="*/ 1541 h 1686"/>
                <a:gd name="T58" fmla="*/ 201 w 701"/>
                <a:gd name="T59" fmla="*/ 1599 h 1686"/>
                <a:gd name="T60" fmla="*/ 145 w 701"/>
                <a:gd name="T61" fmla="*/ 1620 h 1686"/>
                <a:gd name="T62" fmla="*/ 135 w 701"/>
                <a:gd name="T63" fmla="*/ 1670 h 1686"/>
                <a:gd name="T64" fmla="*/ 80 w 701"/>
                <a:gd name="T65" fmla="*/ 1686 h 1686"/>
                <a:gd name="T66" fmla="*/ 55 w 701"/>
                <a:gd name="T67" fmla="*/ 1659 h 1686"/>
                <a:gd name="T68" fmla="*/ 33 w 701"/>
                <a:gd name="T69" fmla="*/ 1568 h 1686"/>
                <a:gd name="T70" fmla="*/ 52 w 701"/>
                <a:gd name="T71" fmla="*/ 1546 h 1686"/>
                <a:gd name="T72" fmla="*/ 55 w 701"/>
                <a:gd name="T73" fmla="*/ 1515 h 1686"/>
                <a:gd name="T74" fmla="*/ 33 w 701"/>
                <a:gd name="T75" fmla="*/ 1430 h 1686"/>
                <a:gd name="T76" fmla="*/ 14 w 701"/>
                <a:gd name="T77" fmla="*/ 1362 h 1686"/>
                <a:gd name="T78" fmla="*/ 0 w 701"/>
                <a:gd name="T79" fmla="*/ 1256 h 1686"/>
                <a:gd name="T80" fmla="*/ 24 w 701"/>
                <a:gd name="T81" fmla="*/ 1214 h 1686"/>
                <a:gd name="T82" fmla="*/ 42 w 701"/>
                <a:gd name="T83" fmla="*/ 1108 h 1686"/>
                <a:gd name="T84" fmla="*/ 88 w 701"/>
                <a:gd name="T85" fmla="*/ 1046 h 1686"/>
                <a:gd name="T86" fmla="*/ 74 w 701"/>
                <a:gd name="T87" fmla="*/ 935 h 1686"/>
                <a:gd name="T88" fmla="*/ 93 w 701"/>
                <a:gd name="T89" fmla="*/ 882 h 1686"/>
                <a:gd name="T90" fmla="*/ 85 w 701"/>
                <a:gd name="T91" fmla="*/ 790 h 1686"/>
                <a:gd name="T92" fmla="*/ 104 w 701"/>
                <a:gd name="T93" fmla="*/ 679 h 1686"/>
                <a:gd name="T94" fmla="*/ 164 w 701"/>
                <a:gd name="T95" fmla="*/ 605 h 1686"/>
                <a:gd name="T96" fmla="*/ 220 w 701"/>
                <a:gd name="T97" fmla="*/ 583 h 1686"/>
                <a:gd name="T98" fmla="*/ 197 w 701"/>
                <a:gd name="T99" fmla="*/ 515 h 1686"/>
                <a:gd name="T100" fmla="*/ 220 w 701"/>
                <a:gd name="T101" fmla="*/ 458 h 1686"/>
                <a:gd name="T102" fmla="*/ 234 w 701"/>
                <a:gd name="T103" fmla="*/ 373 h 1686"/>
                <a:gd name="T104" fmla="*/ 296 w 701"/>
                <a:gd name="T105" fmla="*/ 320 h 1686"/>
                <a:gd name="T106" fmla="*/ 324 w 701"/>
                <a:gd name="T107" fmla="*/ 252 h 1686"/>
                <a:gd name="T108" fmla="*/ 368 w 701"/>
                <a:gd name="T109" fmla="*/ 147 h 1686"/>
                <a:gd name="T110" fmla="*/ 418 w 701"/>
                <a:gd name="T111" fmla="*/ 98 h 1686"/>
                <a:gd name="T112" fmla="*/ 465 w 701"/>
                <a:gd name="T113" fmla="*/ 60 h 1686"/>
                <a:gd name="T114" fmla="*/ 523 w 701"/>
                <a:gd name="T115" fmla="*/ 0 h 1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1" h="1686">
                  <a:moveTo>
                    <a:pt x="528" y="0"/>
                  </a:moveTo>
                  <a:lnTo>
                    <a:pt x="537" y="5"/>
                  </a:lnTo>
                  <a:lnTo>
                    <a:pt x="551" y="30"/>
                  </a:lnTo>
                  <a:lnTo>
                    <a:pt x="613" y="98"/>
                  </a:lnTo>
                  <a:lnTo>
                    <a:pt x="622" y="83"/>
                  </a:lnTo>
                  <a:lnTo>
                    <a:pt x="646" y="104"/>
                  </a:lnTo>
                  <a:lnTo>
                    <a:pt x="655" y="125"/>
                  </a:lnTo>
                  <a:lnTo>
                    <a:pt x="655" y="141"/>
                  </a:lnTo>
                  <a:lnTo>
                    <a:pt x="655" y="168"/>
                  </a:lnTo>
                  <a:lnTo>
                    <a:pt x="646" y="184"/>
                  </a:lnTo>
                  <a:lnTo>
                    <a:pt x="663" y="205"/>
                  </a:lnTo>
                  <a:lnTo>
                    <a:pt x="677" y="225"/>
                  </a:lnTo>
                  <a:lnTo>
                    <a:pt x="677" y="242"/>
                  </a:lnTo>
                  <a:lnTo>
                    <a:pt x="677" y="268"/>
                  </a:lnTo>
                  <a:lnTo>
                    <a:pt x="674" y="299"/>
                  </a:lnTo>
                  <a:lnTo>
                    <a:pt x="663" y="310"/>
                  </a:lnTo>
                  <a:lnTo>
                    <a:pt x="677" y="326"/>
                  </a:lnTo>
                  <a:lnTo>
                    <a:pt x="692" y="352"/>
                  </a:lnTo>
                  <a:lnTo>
                    <a:pt x="701" y="379"/>
                  </a:lnTo>
                  <a:lnTo>
                    <a:pt x="701" y="389"/>
                  </a:lnTo>
                  <a:lnTo>
                    <a:pt x="687" y="394"/>
                  </a:lnTo>
                  <a:lnTo>
                    <a:pt x="627" y="394"/>
                  </a:lnTo>
                  <a:lnTo>
                    <a:pt x="613" y="394"/>
                  </a:lnTo>
                  <a:lnTo>
                    <a:pt x="603" y="404"/>
                  </a:lnTo>
                  <a:lnTo>
                    <a:pt x="603" y="426"/>
                  </a:lnTo>
                  <a:lnTo>
                    <a:pt x="594" y="441"/>
                  </a:lnTo>
                  <a:lnTo>
                    <a:pt x="566" y="468"/>
                  </a:lnTo>
                  <a:lnTo>
                    <a:pt x="570" y="490"/>
                  </a:lnTo>
                  <a:lnTo>
                    <a:pt x="566" y="505"/>
                  </a:lnTo>
                  <a:lnTo>
                    <a:pt x="556" y="515"/>
                  </a:lnTo>
                  <a:lnTo>
                    <a:pt x="566" y="548"/>
                  </a:lnTo>
                  <a:lnTo>
                    <a:pt x="570" y="568"/>
                  </a:lnTo>
                  <a:lnTo>
                    <a:pt x="561" y="583"/>
                  </a:lnTo>
                  <a:lnTo>
                    <a:pt x="542" y="601"/>
                  </a:lnTo>
                  <a:lnTo>
                    <a:pt x="537" y="620"/>
                  </a:lnTo>
                  <a:lnTo>
                    <a:pt x="533" y="647"/>
                  </a:lnTo>
                  <a:lnTo>
                    <a:pt x="500" y="663"/>
                  </a:lnTo>
                  <a:lnTo>
                    <a:pt x="481" y="679"/>
                  </a:lnTo>
                  <a:lnTo>
                    <a:pt x="453" y="700"/>
                  </a:lnTo>
                  <a:lnTo>
                    <a:pt x="457" y="716"/>
                  </a:lnTo>
                  <a:lnTo>
                    <a:pt x="434" y="721"/>
                  </a:lnTo>
                  <a:lnTo>
                    <a:pt x="424" y="731"/>
                  </a:lnTo>
                  <a:lnTo>
                    <a:pt x="401" y="768"/>
                  </a:lnTo>
                  <a:lnTo>
                    <a:pt x="382" y="784"/>
                  </a:lnTo>
                  <a:lnTo>
                    <a:pt x="387" y="811"/>
                  </a:lnTo>
                  <a:lnTo>
                    <a:pt x="376" y="818"/>
                  </a:lnTo>
                  <a:lnTo>
                    <a:pt x="366" y="830"/>
                  </a:lnTo>
                  <a:lnTo>
                    <a:pt x="376" y="871"/>
                  </a:lnTo>
                  <a:lnTo>
                    <a:pt x="371" y="898"/>
                  </a:lnTo>
                  <a:lnTo>
                    <a:pt x="347" y="913"/>
                  </a:lnTo>
                  <a:lnTo>
                    <a:pt x="343" y="956"/>
                  </a:lnTo>
                  <a:lnTo>
                    <a:pt x="347" y="1009"/>
                  </a:lnTo>
                  <a:lnTo>
                    <a:pt x="357" y="1034"/>
                  </a:lnTo>
                  <a:lnTo>
                    <a:pt x="391" y="1067"/>
                  </a:lnTo>
                  <a:lnTo>
                    <a:pt x="405" y="1098"/>
                  </a:lnTo>
                  <a:lnTo>
                    <a:pt x="420" y="1130"/>
                  </a:lnTo>
                  <a:lnTo>
                    <a:pt x="429" y="1151"/>
                  </a:lnTo>
                  <a:lnTo>
                    <a:pt x="420" y="1172"/>
                  </a:lnTo>
                  <a:lnTo>
                    <a:pt x="401" y="1188"/>
                  </a:lnTo>
                  <a:lnTo>
                    <a:pt x="387" y="1182"/>
                  </a:lnTo>
                  <a:lnTo>
                    <a:pt x="376" y="1167"/>
                  </a:lnTo>
                  <a:lnTo>
                    <a:pt x="357" y="1172"/>
                  </a:lnTo>
                  <a:lnTo>
                    <a:pt x="352" y="1188"/>
                  </a:lnTo>
                  <a:lnTo>
                    <a:pt x="324" y="1188"/>
                  </a:lnTo>
                  <a:lnTo>
                    <a:pt x="281" y="1182"/>
                  </a:lnTo>
                  <a:lnTo>
                    <a:pt x="272" y="1194"/>
                  </a:lnTo>
                  <a:lnTo>
                    <a:pt x="300" y="1209"/>
                  </a:lnTo>
                  <a:lnTo>
                    <a:pt x="338" y="1194"/>
                  </a:lnTo>
                  <a:lnTo>
                    <a:pt x="347" y="1214"/>
                  </a:lnTo>
                  <a:lnTo>
                    <a:pt x="376" y="1219"/>
                  </a:lnTo>
                  <a:lnTo>
                    <a:pt x="396" y="1229"/>
                  </a:lnTo>
                  <a:lnTo>
                    <a:pt x="387" y="1241"/>
                  </a:lnTo>
                  <a:lnTo>
                    <a:pt x="361" y="1235"/>
                  </a:lnTo>
                  <a:lnTo>
                    <a:pt x="357" y="1246"/>
                  </a:lnTo>
                  <a:lnTo>
                    <a:pt x="361" y="1262"/>
                  </a:lnTo>
                  <a:lnTo>
                    <a:pt x="347" y="1283"/>
                  </a:lnTo>
                  <a:lnTo>
                    <a:pt x="324" y="1303"/>
                  </a:lnTo>
                  <a:lnTo>
                    <a:pt x="314" y="1309"/>
                  </a:lnTo>
                  <a:lnTo>
                    <a:pt x="305" y="1315"/>
                  </a:lnTo>
                  <a:lnTo>
                    <a:pt x="310" y="1340"/>
                  </a:lnTo>
                  <a:lnTo>
                    <a:pt x="300" y="1356"/>
                  </a:lnTo>
                  <a:lnTo>
                    <a:pt x="286" y="1389"/>
                  </a:lnTo>
                  <a:lnTo>
                    <a:pt x="291" y="1420"/>
                  </a:lnTo>
                  <a:lnTo>
                    <a:pt x="281" y="1467"/>
                  </a:lnTo>
                  <a:lnTo>
                    <a:pt x="272" y="1488"/>
                  </a:lnTo>
                  <a:lnTo>
                    <a:pt x="272" y="1519"/>
                  </a:lnTo>
                  <a:lnTo>
                    <a:pt x="258" y="1541"/>
                  </a:lnTo>
                  <a:lnTo>
                    <a:pt x="239" y="1578"/>
                  </a:lnTo>
                  <a:lnTo>
                    <a:pt x="234" y="1605"/>
                  </a:lnTo>
                  <a:lnTo>
                    <a:pt x="201" y="1599"/>
                  </a:lnTo>
                  <a:lnTo>
                    <a:pt x="168" y="1599"/>
                  </a:lnTo>
                  <a:lnTo>
                    <a:pt x="164" y="1615"/>
                  </a:lnTo>
                  <a:lnTo>
                    <a:pt x="145" y="1620"/>
                  </a:lnTo>
                  <a:lnTo>
                    <a:pt x="135" y="1626"/>
                  </a:lnTo>
                  <a:lnTo>
                    <a:pt x="140" y="1643"/>
                  </a:lnTo>
                  <a:lnTo>
                    <a:pt x="135" y="1670"/>
                  </a:lnTo>
                  <a:lnTo>
                    <a:pt x="112" y="1686"/>
                  </a:lnTo>
                  <a:lnTo>
                    <a:pt x="99" y="1670"/>
                  </a:lnTo>
                  <a:lnTo>
                    <a:pt x="80" y="1686"/>
                  </a:lnTo>
                  <a:lnTo>
                    <a:pt x="55" y="1686"/>
                  </a:lnTo>
                  <a:lnTo>
                    <a:pt x="47" y="1670"/>
                  </a:lnTo>
                  <a:lnTo>
                    <a:pt x="55" y="1659"/>
                  </a:lnTo>
                  <a:lnTo>
                    <a:pt x="61" y="1630"/>
                  </a:lnTo>
                  <a:lnTo>
                    <a:pt x="42" y="1589"/>
                  </a:lnTo>
                  <a:lnTo>
                    <a:pt x="33" y="1568"/>
                  </a:lnTo>
                  <a:lnTo>
                    <a:pt x="38" y="1556"/>
                  </a:lnTo>
                  <a:lnTo>
                    <a:pt x="47" y="1556"/>
                  </a:lnTo>
                  <a:lnTo>
                    <a:pt x="52" y="1546"/>
                  </a:lnTo>
                  <a:lnTo>
                    <a:pt x="55" y="1535"/>
                  </a:lnTo>
                  <a:lnTo>
                    <a:pt x="61" y="1525"/>
                  </a:lnTo>
                  <a:lnTo>
                    <a:pt x="55" y="1515"/>
                  </a:lnTo>
                  <a:lnTo>
                    <a:pt x="47" y="1494"/>
                  </a:lnTo>
                  <a:lnTo>
                    <a:pt x="28" y="1462"/>
                  </a:lnTo>
                  <a:lnTo>
                    <a:pt x="33" y="1430"/>
                  </a:lnTo>
                  <a:lnTo>
                    <a:pt x="19" y="1404"/>
                  </a:lnTo>
                  <a:lnTo>
                    <a:pt x="5" y="1389"/>
                  </a:lnTo>
                  <a:lnTo>
                    <a:pt x="14" y="1362"/>
                  </a:lnTo>
                  <a:lnTo>
                    <a:pt x="24" y="1309"/>
                  </a:lnTo>
                  <a:lnTo>
                    <a:pt x="5" y="1283"/>
                  </a:lnTo>
                  <a:lnTo>
                    <a:pt x="0" y="1256"/>
                  </a:lnTo>
                  <a:lnTo>
                    <a:pt x="0" y="1241"/>
                  </a:lnTo>
                  <a:lnTo>
                    <a:pt x="9" y="1209"/>
                  </a:lnTo>
                  <a:lnTo>
                    <a:pt x="24" y="1214"/>
                  </a:lnTo>
                  <a:lnTo>
                    <a:pt x="38" y="1172"/>
                  </a:lnTo>
                  <a:lnTo>
                    <a:pt x="38" y="1124"/>
                  </a:lnTo>
                  <a:lnTo>
                    <a:pt x="42" y="1108"/>
                  </a:lnTo>
                  <a:lnTo>
                    <a:pt x="61" y="1093"/>
                  </a:lnTo>
                  <a:lnTo>
                    <a:pt x="88" y="1071"/>
                  </a:lnTo>
                  <a:lnTo>
                    <a:pt x="88" y="1046"/>
                  </a:lnTo>
                  <a:lnTo>
                    <a:pt x="85" y="966"/>
                  </a:lnTo>
                  <a:lnTo>
                    <a:pt x="74" y="956"/>
                  </a:lnTo>
                  <a:lnTo>
                    <a:pt x="74" y="935"/>
                  </a:lnTo>
                  <a:lnTo>
                    <a:pt x="99" y="923"/>
                  </a:lnTo>
                  <a:lnTo>
                    <a:pt x="107" y="913"/>
                  </a:lnTo>
                  <a:lnTo>
                    <a:pt x="93" y="882"/>
                  </a:lnTo>
                  <a:lnTo>
                    <a:pt x="74" y="851"/>
                  </a:lnTo>
                  <a:lnTo>
                    <a:pt x="80" y="815"/>
                  </a:lnTo>
                  <a:lnTo>
                    <a:pt x="85" y="790"/>
                  </a:lnTo>
                  <a:lnTo>
                    <a:pt x="104" y="743"/>
                  </a:lnTo>
                  <a:lnTo>
                    <a:pt x="104" y="721"/>
                  </a:lnTo>
                  <a:lnTo>
                    <a:pt x="104" y="679"/>
                  </a:lnTo>
                  <a:lnTo>
                    <a:pt x="118" y="642"/>
                  </a:lnTo>
                  <a:lnTo>
                    <a:pt x="140" y="620"/>
                  </a:lnTo>
                  <a:lnTo>
                    <a:pt x="164" y="605"/>
                  </a:lnTo>
                  <a:lnTo>
                    <a:pt x="187" y="610"/>
                  </a:lnTo>
                  <a:lnTo>
                    <a:pt x="211" y="620"/>
                  </a:lnTo>
                  <a:lnTo>
                    <a:pt x="220" y="583"/>
                  </a:lnTo>
                  <a:lnTo>
                    <a:pt x="211" y="552"/>
                  </a:lnTo>
                  <a:lnTo>
                    <a:pt x="201" y="531"/>
                  </a:lnTo>
                  <a:lnTo>
                    <a:pt x="197" y="515"/>
                  </a:lnTo>
                  <a:lnTo>
                    <a:pt x="201" y="500"/>
                  </a:lnTo>
                  <a:lnTo>
                    <a:pt x="216" y="494"/>
                  </a:lnTo>
                  <a:lnTo>
                    <a:pt x="220" y="458"/>
                  </a:lnTo>
                  <a:lnTo>
                    <a:pt x="230" y="426"/>
                  </a:lnTo>
                  <a:lnTo>
                    <a:pt x="234" y="400"/>
                  </a:lnTo>
                  <a:lnTo>
                    <a:pt x="234" y="373"/>
                  </a:lnTo>
                  <a:lnTo>
                    <a:pt x="248" y="347"/>
                  </a:lnTo>
                  <a:lnTo>
                    <a:pt x="277" y="326"/>
                  </a:lnTo>
                  <a:lnTo>
                    <a:pt x="296" y="320"/>
                  </a:lnTo>
                  <a:lnTo>
                    <a:pt x="296" y="295"/>
                  </a:lnTo>
                  <a:lnTo>
                    <a:pt x="305" y="278"/>
                  </a:lnTo>
                  <a:lnTo>
                    <a:pt x="324" y="252"/>
                  </a:lnTo>
                  <a:lnTo>
                    <a:pt x="343" y="236"/>
                  </a:lnTo>
                  <a:lnTo>
                    <a:pt x="333" y="191"/>
                  </a:lnTo>
                  <a:lnTo>
                    <a:pt x="368" y="147"/>
                  </a:lnTo>
                  <a:lnTo>
                    <a:pt x="376" y="128"/>
                  </a:lnTo>
                  <a:lnTo>
                    <a:pt x="401" y="123"/>
                  </a:lnTo>
                  <a:lnTo>
                    <a:pt x="418" y="98"/>
                  </a:lnTo>
                  <a:lnTo>
                    <a:pt x="418" y="83"/>
                  </a:lnTo>
                  <a:lnTo>
                    <a:pt x="434" y="64"/>
                  </a:lnTo>
                  <a:lnTo>
                    <a:pt x="465" y="60"/>
                  </a:lnTo>
                  <a:lnTo>
                    <a:pt x="500" y="60"/>
                  </a:lnTo>
                  <a:lnTo>
                    <a:pt x="528" y="30"/>
                  </a:lnTo>
                  <a:lnTo>
                    <a:pt x="523" y="0"/>
                  </a:lnTo>
                  <a:lnTo>
                    <a:pt x="528"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grpSp>
        <p:nvGrpSpPr>
          <p:cNvPr id="29" name="NO"/>
          <p:cNvGrpSpPr>
            <a:grpSpLocks/>
          </p:cNvGrpSpPr>
          <p:nvPr/>
        </p:nvGrpSpPr>
        <p:grpSpPr bwMode="auto">
          <a:xfrm>
            <a:off x="5584744" y="990600"/>
            <a:ext cx="1892300" cy="1884365"/>
            <a:chOff x="2536825" y="1148442"/>
            <a:chExt cx="1192" cy="1187"/>
          </a:xfrm>
          <a:solidFill>
            <a:srgbClr val="FAFAFA"/>
          </a:solidFill>
          <a:effectLst/>
        </p:grpSpPr>
        <p:sp>
          <p:nvSpPr>
            <p:cNvPr id="81" name="Freeform 552"/>
            <p:cNvSpPr>
              <a:spLocks noChangeAspect="1"/>
            </p:cNvSpPr>
            <p:nvPr/>
          </p:nvSpPr>
          <p:spPr bwMode="auto">
            <a:xfrm>
              <a:off x="2536825" y="1148442"/>
              <a:ext cx="1192" cy="1187"/>
            </a:xfrm>
            <a:custGeom>
              <a:avLst/>
              <a:gdLst>
                <a:gd name="T0" fmla="*/ 376 w 1279"/>
                <a:gd name="T1" fmla="*/ 1439 h 1576"/>
                <a:gd name="T2" fmla="*/ 427 w 1279"/>
                <a:gd name="T3" fmla="*/ 1349 h 1576"/>
                <a:gd name="T4" fmla="*/ 413 w 1279"/>
                <a:gd name="T5" fmla="*/ 1227 h 1576"/>
                <a:gd name="T6" fmla="*/ 423 w 1279"/>
                <a:gd name="T7" fmla="*/ 1122 h 1576"/>
                <a:gd name="T8" fmla="*/ 446 w 1279"/>
                <a:gd name="T9" fmla="*/ 977 h 1576"/>
                <a:gd name="T10" fmla="*/ 511 w 1279"/>
                <a:gd name="T11" fmla="*/ 877 h 1576"/>
                <a:gd name="T12" fmla="*/ 544 w 1279"/>
                <a:gd name="T13" fmla="*/ 798 h 1576"/>
                <a:gd name="T14" fmla="*/ 568 w 1279"/>
                <a:gd name="T15" fmla="*/ 719 h 1576"/>
                <a:gd name="T16" fmla="*/ 638 w 1279"/>
                <a:gd name="T17" fmla="*/ 587 h 1576"/>
                <a:gd name="T18" fmla="*/ 676 w 1279"/>
                <a:gd name="T19" fmla="*/ 482 h 1576"/>
                <a:gd name="T20" fmla="*/ 762 w 1279"/>
                <a:gd name="T21" fmla="*/ 376 h 1576"/>
                <a:gd name="T22" fmla="*/ 833 w 1279"/>
                <a:gd name="T23" fmla="*/ 340 h 1576"/>
                <a:gd name="T24" fmla="*/ 880 w 1279"/>
                <a:gd name="T25" fmla="*/ 247 h 1576"/>
                <a:gd name="T26" fmla="*/ 993 w 1279"/>
                <a:gd name="T27" fmla="*/ 297 h 1576"/>
                <a:gd name="T28" fmla="*/ 1053 w 1279"/>
                <a:gd name="T29" fmla="*/ 312 h 1576"/>
                <a:gd name="T30" fmla="*/ 1086 w 1279"/>
                <a:gd name="T31" fmla="*/ 189 h 1576"/>
                <a:gd name="T32" fmla="*/ 1180 w 1279"/>
                <a:gd name="T33" fmla="*/ 179 h 1576"/>
                <a:gd name="T34" fmla="*/ 1213 w 1279"/>
                <a:gd name="T35" fmla="*/ 226 h 1576"/>
                <a:gd name="T36" fmla="*/ 1241 w 1279"/>
                <a:gd name="T37" fmla="*/ 163 h 1576"/>
                <a:gd name="T38" fmla="*/ 1274 w 1279"/>
                <a:gd name="T39" fmla="*/ 89 h 1576"/>
                <a:gd name="T40" fmla="*/ 1213 w 1279"/>
                <a:gd name="T41" fmla="*/ 27 h 1576"/>
                <a:gd name="T42" fmla="*/ 1157 w 1279"/>
                <a:gd name="T43" fmla="*/ 31 h 1576"/>
                <a:gd name="T44" fmla="*/ 1124 w 1279"/>
                <a:gd name="T45" fmla="*/ 27 h 1576"/>
                <a:gd name="T46" fmla="*/ 1078 w 1279"/>
                <a:gd name="T47" fmla="*/ 62 h 1576"/>
                <a:gd name="T48" fmla="*/ 1059 w 1279"/>
                <a:gd name="T49" fmla="*/ 42 h 1576"/>
                <a:gd name="T50" fmla="*/ 988 w 1279"/>
                <a:gd name="T51" fmla="*/ 136 h 1576"/>
                <a:gd name="T52" fmla="*/ 918 w 1279"/>
                <a:gd name="T53" fmla="*/ 163 h 1576"/>
                <a:gd name="T54" fmla="*/ 842 w 1279"/>
                <a:gd name="T55" fmla="*/ 189 h 1576"/>
                <a:gd name="T56" fmla="*/ 753 w 1279"/>
                <a:gd name="T57" fmla="*/ 210 h 1576"/>
                <a:gd name="T58" fmla="*/ 743 w 1279"/>
                <a:gd name="T59" fmla="*/ 287 h 1576"/>
                <a:gd name="T60" fmla="*/ 734 w 1279"/>
                <a:gd name="T61" fmla="*/ 355 h 1576"/>
                <a:gd name="T62" fmla="*/ 662 w 1279"/>
                <a:gd name="T63" fmla="*/ 371 h 1576"/>
                <a:gd name="T64" fmla="*/ 638 w 1279"/>
                <a:gd name="T65" fmla="*/ 429 h 1576"/>
                <a:gd name="T66" fmla="*/ 582 w 1279"/>
                <a:gd name="T67" fmla="*/ 513 h 1576"/>
                <a:gd name="T68" fmla="*/ 525 w 1279"/>
                <a:gd name="T69" fmla="*/ 618 h 1576"/>
                <a:gd name="T70" fmla="*/ 479 w 1279"/>
                <a:gd name="T71" fmla="*/ 725 h 1576"/>
                <a:gd name="T72" fmla="*/ 451 w 1279"/>
                <a:gd name="T73" fmla="*/ 788 h 1576"/>
                <a:gd name="T74" fmla="*/ 361 w 1279"/>
                <a:gd name="T75" fmla="*/ 877 h 1576"/>
                <a:gd name="T76" fmla="*/ 413 w 1279"/>
                <a:gd name="T77" fmla="*/ 887 h 1576"/>
                <a:gd name="T78" fmla="*/ 333 w 1279"/>
                <a:gd name="T79" fmla="*/ 904 h 1576"/>
                <a:gd name="T80" fmla="*/ 258 w 1279"/>
                <a:gd name="T81" fmla="*/ 957 h 1576"/>
                <a:gd name="T82" fmla="*/ 195 w 1279"/>
                <a:gd name="T83" fmla="*/ 961 h 1576"/>
                <a:gd name="T84" fmla="*/ 143 w 1279"/>
                <a:gd name="T85" fmla="*/ 1001 h 1576"/>
                <a:gd name="T86" fmla="*/ 110 w 1279"/>
                <a:gd name="T87" fmla="*/ 1041 h 1576"/>
                <a:gd name="T88" fmla="*/ 44 w 1279"/>
                <a:gd name="T89" fmla="*/ 1088 h 1576"/>
                <a:gd name="T90" fmla="*/ 25 w 1279"/>
                <a:gd name="T91" fmla="*/ 1261 h 1576"/>
                <a:gd name="T92" fmla="*/ 52 w 1279"/>
                <a:gd name="T93" fmla="*/ 1301 h 1576"/>
                <a:gd name="T94" fmla="*/ 25 w 1279"/>
                <a:gd name="T95" fmla="*/ 1378 h 1576"/>
                <a:gd name="T96" fmla="*/ 42 w 1279"/>
                <a:gd name="T97" fmla="*/ 1423 h 1576"/>
                <a:gd name="T98" fmla="*/ 0 w 1279"/>
                <a:gd name="T99" fmla="*/ 1462 h 1576"/>
                <a:gd name="T100" fmla="*/ 107 w 1279"/>
                <a:gd name="T101" fmla="*/ 1576 h 1576"/>
                <a:gd name="T102" fmla="*/ 265 w 1279"/>
                <a:gd name="T103" fmla="*/ 1446 h 1576"/>
                <a:gd name="T104" fmla="*/ 321 w 1279"/>
                <a:gd name="T105" fmla="*/ 1372 h 1576"/>
                <a:gd name="T106" fmla="*/ 333 w 1279"/>
                <a:gd name="T107" fmla="*/ 1483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79" h="1576">
                  <a:moveTo>
                    <a:pt x="343" y="1483"/>
                  </a:moveTo>
                  <a:lnTo>
                    <a:pt x="347" y="1480"/>
                  </a:lnTo>
                  <a:lnTo>
                    <a:pt x="361" y="1476"/>
                  </a:lnTo>
                  <a:lnTo>
                    <a:pt x="371" y="1459"/>
                  </a:lnTo>
                  <a:lnTo>
                    <a:pt x="376" y="1439"/>
                  </a:lnTo>
                  <a:lnTo>
                    <a:pt x="380" y="1428"/>
                  </a:lnTo>
                  <a:lnTo>
                    <a:pt x="376" y="1396"/>
                  </a:lnTo>
                  <a:lnTo>
                    <a:pt x="380" y="1375"/>
                  </a:lnTo>
                  <a:lnTo>
                    <a:pt x="394" y="1365"/>
                  </a:lnTo>
                  <a:lnTo>
                    <a:pt x="427" y="1349"/>
                  </a:lnTo>
                  <a:lnTo>
                    <a:pt x="432" y="1332"/>
                  </a:lnTo>
                  <a:lnTo>
                    <a:pt x="427" y="1280"/>
                  </a:lnTo>
                  <a:lnTo>
                    <a:pt x="423" y="1270"/>
                  </a:lnTo>
                  <a:lnTo>
                    <a:pt x="423" y="1238"/>
                  </a:lnTo>
                  <a:lnTo>
                    <a:pt x="413" y="1227"/>
                  </a:lnTo>
                  <a:lnTo>
                    <a:pt x="418" y="1202"/>
                  </a:lnTo>
                  <a:lnTo>
                    <a:pt x="427" y="1202"/>
                  </a:lnTo>
                  <a:lnTo>
                    <a:pt x="451" y="1186"/>
                  </a:lnTo>
                  <a:lnTo>
                    <a:pt x="432" y="1137"/>
                  </a:lnTo>
                  <a:lnTo>
                    <a:pt x="423" y="1122"/>
                  </a:lnTo>
                  <a:lnTo>
                    <a:pt x="423" y="1118"/>
                  </a:lnTo>
                  <a:lnTo>
                    <a:pt x="423" y="1078"/>
                  </a:lnTo>
                  <a:lnTo>
                    <a:pt x="437" y="1046"/>
                  </a:lnTo>
                  <a:lnTo>
                    <a:pt x="441" y="1014"/>
                  </a:lnTo>
                  <a:lnTo>
                    <a:pt x="446" y="977"/>
                  </a:lnTo>
                  <a:lnTo>
                    <a:pt x="441" y="945"/>
                  </a:lnTo>
                  <a:lnTo>
                    <a:pt x="451" y="924"/>
                  </a:lnTo>
                  <a:lnTo>
                    <a:pt x="456" y="908"/>
                  </a:lnTo>
                  <a:lnTo>
                    <a:pt x="484" y="887"/>
                  </a:lnTo>
                  <a:lnTo>
                    <a:pt x="511" y="877"/>
                  </a:lnTo>
                  <a:lnTo>
                    <a:pt x="536" y="887"/>
                  </a:lnTo>
                  <a:lnTo>
                    <a:pt x="544" y="893"/>
                  </a:lnTo>
                  <a:lnTo>
                    <a:pt x="558" y="872"/>
                  </a:lnTo>
                  <a:lnTo>
                    <a:pt x="558" y="846"/>
                  </a:lnTo>
                  <a:lnTo>
                    <a:pt x="544" y="798"/>
                  </a:lnTo>
                  <a:lnTo>
                    <a:pt x="539" y="778"/>
                  </a:lnTo>
                  <a:lnTo>
                    <a:pt x="544" y="766"/>
                  </a:lnTo>
                  <a:lnTo>
                    <a:pt x="553" y="766"/>
                  </a:lnTo>
                  <a:lnTo>
                    <a:pt x="563" y="751"/>
                  </a:lnTo>
                  <a:lnTo>
                    <a:pt x="568" y="719"/>
                  </a:lnTo>
                  <a:lnTo>
                    <a:pt x="572" y="677"/>
                  </a:lnTo>
                  <a:lnTo>
                    <a:pt x="577" y="635"/>
                  </a:lnTo>
                  <a:lnTo>
                    <a:pt x="591" y="618"/>
                  </a:lnTo>
                  <a:lnTo>
                    <a:pt x="619" y="598"/>
                  </a:lnTo>
                  <a:lnTo>
                    <a:pt x="638" y="587"/>
                  </a:lnTo>
                  <a:lnTo>
                    <a:pt x="643" y="556"/>
                  </a:lnTo>
                  <a:lnTo>
                    <a:pt x="652" y="534"/>
                  </a:lnTo>
                  <a:lnTo>
                    <a:pt x="676" y="513"/>
                  </a:lnTo>
                  <a:lnTo>
                    <a:pt x="681" y="497"/>
                  </a:lnTo>
                  <a:lnTo>
                    <a:pt x="676" y="482"/>
                  </a:lnTo>
                  <a:lnTo>
                    <a:pt x="676" y="460"/>
                  </a:lnTo>
                  <a:lnTo>
                    <a:pt x="695" y="445"/>
                  </a:lnTo>
                  <a:lnTo>
                    <a:pt x="718" y="398"/>
                  </a:lnTo>
                  <a:lnTo>
                    <a:pt x="734" y="402"/>
                  </a:lnTo>
                  <a:lnTo>
                    <a:pt x="762" y="376"/>
                  </a:lnTo>
                  <a:lnTo>
                    <a:pt x="758" y="355"/>
                  </a:lnTo>
                  <a:lnTo>
                    <a:pt x="776" y="334"/>
                  </a:lnTo>
                  <a:lnTo>
                    <a:pt x="786" y="340"/>
                  </a:lnTo>
                  <a:lnTo>
                    <a:pt x="805" y="334"/>
                  </a:lnTo>
                  <a:lnTo>
                    <a:pt x="833" y="340"/>
                  </a:lnTo>
                  <a:lnTo>
                    <a:pt x="870" y="303"/>
                  </a:lnTo>
                  <a:lnTo>
                    <a:pt x="866" y="281"/>
                  </a:lnTo>
                  <a:lnTo>
                    <a:pt x="870" y="271"/>
                  </a:lnTo>
                  <a:lnTo>
                    <a:pt x="861" y="267"/>
                  </a:lnTo>
                  <a:lnTo>
                    <a:pt x="880" y="247"/>
                  </a:lnTo>
                  <a:lnTo>
                    <a:pt x="908" y="243"/>
                  </a:lnTo>
                  <a:lnTo>
                    <a:pt x="927" y="271"/>
                  </a:lnTo>
                  <a:lnTo>
                    <a:pt x="960" y="312"/>
                  </a:lnTo>
                  <a:lnTo>
                    <a:pt x="974" y="312"/>
                  </a:lnTo>
                  <a:lnTo>
                    <a:pt x="993" y="297"/>
                  </a:lnTo>
                  <a:lnTo>
                    <a:pt x="1007" y="293"/>
                  </a:lnTo>
                  <a:lnTo>
                    <a:pt x="1016" y="297"/>
                  </a:lnTo>
                  <a:lnTo>
                    <a:pt x="1031" y="312"/>
                  </a:lnTo>
                  <a:lnTo>
                    <a:pt x="1048" y="318"/>
                  </a:lnTo>
                  <a:lnTo>
                    <a:pt x="1053" y="312"/>
                  </a:lnTo>
                  <a:lnTo>
                    <a:pt x="1062" y="293"/>
                  </a:lnTo>
                  <a:lnTo>
                    <a:pt x="1067" y="281"/>
                  </a:lnTo>
                  <a:lnTo>
                    <a:pt x="1086" y="247"/>
                  </a:lnTo>
                  <a:lnTo>
                    <a:pt x="1091" y="243"/>
                  </a:lnTo>
                  <a:lnTo>
                    <a:pt x="1086" y="189"/>
                  </a:lnTo>
                  <a:lnTo>
                    <a:pt x="1110" y="163"/>
                  </a:lnTo>
                  <a:lnTo>
                    <a:pt x="1119" y="169"/>
                  </a:lnTo>
                  <a:lnTo>
                    <a:pt x="1147" y="136"/>
                  </a:lnTo>
                  <a:lnTo>
                    <a:pt x="1171" y="169"/>
                  </a:lnTo>
                  <a:lnTo>
                    <a:pt x="1180" y="179"/>
                  </a:lnTo>
                  <a:lnTo>
                    <a:pt x="1194" y="173"/>
                  </a:lnTo>
                  <a:lnTo>
                    <a:pt x="1204" y="189"/>
                  </a:lnTo>
                  <a:lnTo>
                    <a:pt x="1204" y="200"/>
                  </a:lnTo>
                  <a:lnTo>
                    <a:pt x="1213" y="210"/>
                  </a:lnTo>
                  <a:lnTo>
                    <a:pt x="1213" y="226"/>
                  </a:lnTo>
                  <a:lnTo>
                    <a:pt x="1227" y="206"/>
                  </a:lnTo>
                  <a:lnTo>
                    <a:pt x="1251" y="184"/>
                  </a:lnTo>
                  <a:lnTo>
                    <a:pt x="1265" y="152"/>
                  </a:lnTo>
                  <a:lnTo>
                    <a:pt x="1255" y="147"/>
                  </a:lnTo>
                  <a:lnTo>
                    <a:pt x="1241" y="163"/>
                  </a:lnTo>
                  <a:lnTo>
                    <a:pt x="1237" y="136"/>
                  </a:lnTo>
                  <a:lnTo>
                    <a:pt x="1227" y="132"/>
                  </a:lnTo>
                  <a:lnTo>
                    <a:pt x="1223" y="116"/>
                  </a:lnTo>
                  <a:lnTo>
                    <a:pt x="1260" y="83"/>
                  </a:lnTo>
                  <a:lnTo>
                    <a:pt x="1274" y="89"/>
                  </a:lnTo>
                  <a:lnTo>
                    <a:pt x="1279" y="68"/>
                  </a:lnTo>
                  <a:lnTo>
                    <a:pt x="1270" y="62"/>
                  </a:lnTo>
                  <a:lnTo>
                    <a:pt x="1246" y="52"/>
                  </a:lnTo>
                  <a:lnTo>
                    <a:pt x="1232" y="46"/>
                  </a:lnTo>
                  <a:lnTo>
                    <a:pt x="1213" y="27"/>
                  </a:lnTo>
                  <a:lnTo>
                    <a:pt x="1194" y="21"/>
                  </a:lnTo>
                  <a:lnTo>
                    <a:pt x="1175" y="42"/>
                  </a:lnTo>
                  <a:lnTo>
                    <a:pt x="1166" y="58"/>
                  </a:lnTo>
                  <a:lnTo>
                    <a:pt x="1147" y="42"/>
                  </a:lnTo>
                  <a:lnTo>
                    <a:pt x="1157" y="31"/>
                  </a:lnTo>
                  <a:lnTo>
                    <a:pt x="1161" y="5"/>
                  </a:lnTo>
                  <a:lnTo>
                    <a:pt x="1157" y="0"/>
                  </a:lnTo>
                  <a:lnTo>
                    <a:pt x="1133" y="0"/>
                  </a:lnTo>
                  <a:lnTo>
                    <a:pt x="1128" y="10"/>
                  </a:lnTo>
                  <a:lnTo>
                    <a:pt x="1124" y="27"/>
                  </a:lnTo>
                  <a:lnTo>
                    <a:pt x="1128" y="42"/>
                  </a:lnTo>
                  <a:lnTo>
                    <a:pt x="1110" y="62"/>
                  </a:lnTo>
                  <a:lnTo>
                    <a:pt x="1095" y="31"/>
                  </a:lnTo>
                  <a:lnTo>
                    <a:pt x="1081" y="37"/>
                  </a:lnTo>
                  <a:lnTo>
                    <a:pt x="1078" y="62"/>
                  </a:lnTo>
                  <a:lnTo>
                    <a:pt x="1067" y="99"/>
                  </a:lnTo>
                  <a:lnTo>
                    <a:pt x="1045" y="126"/>
                  </a:lnTo>
                  <a:lnTo>
                    <a:pt x="1031" y="95"/>
                  </a:lnTo>
                  <a:lnTo>
                    <a:pt x="1053" y="74"/>
                  </a:lnTo>
                  <a:lnTo>
                    <a:pt x="1059" y="42"/>
                  </a:lnTo>
                  <a:lnTo>
                    <a:pt x="1045" y="42"/>
                  </a:lnTo>
                  <a:lnTo>
                    <a:pt x="1021" y="42"/>
                  </a:lnTo>
                  <a:lnTo>
                    <a:pt x="1002" y="74"/>
                  </a:lnTo>
                  <a:lnTo>
                    <a:pt x="979" y="116"/>
                  </a:lnTo>
                  <a:lnTo>
                    <a:pt x="988" y="136"/>
                  </a:lnTo>
                  <a:lnTo>
                    <a:pt x="974" y="147"/>
                  </a:lnTo>
                  <a:lnTo>
                    <a:pt x="955" y="132"/>
                  </a:lnTo>
                  <a:lnTo>
                    <a:pt x="936" y="142"/>
                  </a:lnTo>
                  <a:lnTo>
                    <a:pt x="941" y="163"/>
                  </a:lnTo>
                  <a:lnTo>
                    <a:pt x="918" y="163"/>
                  </a:lnTo>
                  <a:lnTo>
                    <a:pt x="903" y="169"/>
                  </a:lnTo>
                  <a:lnTo>
                    <a:pt x="885" y="194"/>
                  </a:lnTo>
                  <a:lnTo>
                    <a:pt x="861" y="189"/>
                  </a:lnTo>
                  <a:lnTo>
                    <a:pt x="861" y="206"/>
                  </a:lnTo>
                  <a:lnTo>
                    <a:pt x="842" y="189"/>
                  </a:lnTo>
                  <a:lnTo>
                    <a:pt x="819" y="200"/>
                  </a:lnTo>
                  <a:lnTo>
                    <a:pt x="814" y="221"/>
                  </a:lnTo>
                  <a:lnTo>
                    <a:pt x="795" y="226"/>
                  </a:lnTo>
                  <a:lnTo>
                    <a:pt x="781" y="206"/>
                  </a:lnTo>
                  <a:lnTo>
                    <a:pt x="753" y="210"/>
                  </a:lnTo>
                  <a:lnTo>
                    <a:pt x="725" y="221"/>
                  </a:lnTo>
                  <a:lnTo>
                    <a:pt x="725" y="253"/>
                  </a:lnTo>
                  <a:lnTo>
                    <a:pt x="743" y="258"/>
                  </a:lnTo>
                  <a:lnTo>
                    <a:pt x="743" y="267"/>
                  </a:lnTo>
                  <a:lnTo>
                    <a:pt x="743" y="287"/>
                  </a:lnTo>
                  <a:lnTo>
                    <a:pt x="729" y="281"/>
                  </a:lnTo>
                  <a:lnTo>
                    <a:pt x="713" y="293"/>
                  </a:lnTo>
                  <a:lnTo>
                    <a:pt x="718" y="312"/>
                  </a:lnTo>
                  <a:lnTo>
                    <a:pt x="734" y="330"/>
                  </a:lnTo>
                  <a:lnTo>
                    <a:pt x="734" y="355"/>
                  </a:lnTo>
                  <a:lnTo>
                    <a:pt x="718" y="345"/>
                  </a:lnTo>
                  <a:lnTo>
                    <a:pt x="704" y="349"/>
                  </a:lnTo>
                  <a:lnTo>
                    <a:pt x="704" y="371"/>
                  </a:lnTo>
                  <a:lnTo>
                    <a:pt x="681" y="371"/>
                  </a:lnTo>
                  <a:lnTo>
                    <a:pt x="662" y="371"/>
                  </a:lnTo>
                  <a:lnTo>
                    <a:pt x="657" y="386"/>
                  </a:lnTo>
                  <a:lnTo>
                    <a:pt x="652" y="398"/>
                  </a:lnTo>
                  <a:lnTo>
                    <a:pt x="638" y="402"/>
                  </a:lnTo>
                  <a:lnTo>
                    <a:pt x="633" y="413"/>
                  </a:lnTo>
                  <a:lnTo>
                    <a:pt x="638" y="429"/>
                  </a:lnTo>
                  <a:lnTo>
                    <a:pt x="610" y="439"/>
                  </a:lnTo>
                  <a:lnTo>
                    <a:pt x="629" y="460"/>
                  </a:lnTo>
                  <a:lnTo>
                    <a:pt x="633" y="472"/>
                  </a:lnTo>
                  <a:lnTo>
                    <a:pt x="615" y="487"/>
                  </a:lnTo>
                  <a:lnTo>
                    <a:pt x="582" y="513"/>
                  </a:lnTo>
                  <a:lnTo>
                    <a:pt x="558" y="534"/>
                  </a:lnTo>
                  <a:lnTo>
                    <a:pt x="544" y="566"/>
                  </a:lnTo>
                  <a:lnTo>
                    <a:pt x="520" y="587"/>
                  </a:lnTo>
                  <a:lnTo>
                    <a:pt x="520" y="603"/>
                  </a:lnTo>
                  <a:lnTo>
                    <a:pt x="525" y="618"/>
                  </a:lnTo>
                  <a:lnTo>
                    <a:pt x="506" y="635"/>
                  </a:lnTo>
                  <a:lnTo>
                    <a:pt x="511" y="655"/>
                  </a:lnTo>
                  <a:lnTo>
                    <a:pt x="492" y="692"/>
                  </a:lnTo>
                  <a:lnTo>
                    <a:pt x="479" y="698"/>
                  </a:lnTo>
                  <a:lnTo>
                    <a:pt x="479" y="725"/>
                  </a:lnTo>
                  <a:lnTo>
                    <a:pt x="489" y="741"/>
                  </a:lnTo>
                  <a:lnTo>
                    <a:pt x="473" y="756"/>
                  </a:lnTo>
                  <a:lnTo>
                    <a:pt x="465" y="745"/>
                  </a:lnTo>
                  <a:lnTo>
                    <a:pt x="446" y="756"/>
                  </a:lnTo>
                  <a:lnTo>
                    <a:pt x="451" y="788"/>
                  </a:lnTo>
                  <a:lnTo>
                    <a:pt x="432" y="798"/>
                  </a:lnTo>
                  <a:lnTo>
                    <a:pt x="404" y="803"/>
                  </a:lnTo>
                  <a:lnTo>
                    <a:pt x="385" y="830"/>
                  </a:lnTo>
                  <a:lnTo>
                    <a:pt x="380" y="856"/>
                  </a:lnTo>
                  <a:lnTo>
                    <a:pt x="361" y="877"/>
                  </a:lnTo>
                  <a:lnTo>
                    <a:pt x="361" y="893"/>
                  </a:lnTo>
                  <a:lnTo>
                    <a:pt x="385" y="872"/>
                  </a:lnTo>
                  <a:lnTo>
                    <a:pt x="413" y="850"/>
                  </a:lnTo>
                  <a:lnTo>
                    <a:pt x="423" y="856"/>
                  </a:lnTo>
                  <a:lnTo>
                    <a:pt x="413" y="887"/>
                  </a:lnTo>
                  <a:lnTo>
                    <a:pt x="390" y="904"/>
                  </a:lnTo>
                  <a:lnTo>
                    <a:pt x="366" y="899"/>
                  </a:lnTo>
                  <a:lnTo>
                    <a:pt x="371" y="920"/>
                  </a:lnTo>
                  <a:lnTo>
                    <a:pt x="338" y="936"/>
                  </a:lnTo>
                  <a:lnTo>
                    <a:pt x="333" y="904"/>
                  </a:lnTo>
                  <a:lnTo>
                    <a:pt x="319" y="893"/>
                  </a:lnTo>
                  <a:lnTo>
                    <a:pt x="300" y="924"/>
                  </a:lnTo>
                  <a:lnTo>
                    <a:pt x="281" y="924"/>
                  </a:lnTo>
                  <a:lnTo>
                    <a:pt x="261" y="930"/>
                  </a:lnTo>
                  <a:lnTo>
                    <a:pt x="258" y="957"/>
                  </a:lnTo>
                  <a:lnTo>
                    <a:pt x="248" y="961"/>
                  </a:lnTo>
                  <a:lnTo>
                    <a:pt x="248" y="975"/>
                  </a:lnTo>
                  <a:lnTo>
                    <a:pt x="237" y="970"/>
                  </a:lnTo>
                  <a:lnTo>
                    <a:pt x="220" y="958"/>
                  </a:lnTo>
                  <a:lnTo>
                    <a:pt x="195" y="961"/>
                  </a:lnTo>
                  <a:lnTo>
                    <a:pt x="195" y="977"/>
                  </a:lnTo>
                  <a:lnTo>
                    <a:pt x="197" y="991"/>
                  </a:lnTo>
                  <a:lnTo>
                    <a:pt x="187" y="995"/>
                  </a:lnTo>
                  <a:lnTo>
                    <a:pt x="164" y="982"/>
                  </a:lnTo>
                  <a:lnTo>
                    <a:pt x="143" y="1001"/>
                  </a:lnTo>
                  <a:lnTo>
                    <a:pt x="148" y="1017"/>
                  </a:lnTo>
                  <a:lnTo>
                    <a:pt x="145" y="1028"/>
                  </a:lnTo>
                  <a:lnTo>
                    <a:pt x="124" y="1017"/>
                  </a:lnTo>
                  <a:lnTo>
                    <a:pt x="118" y="1031"/>
                  </a:lnTo>
                  <a:lnTo>
                    <a:pt x="110" y="1041"/>
                  </a:lnTo>
                  <a:lnTo>
                    <a:pt x="85" y="1035"/>
                  </a:lnTo>
                  <a:lnTo>
                    <a:pt x="71" y="1038"/>
                  </a:lnTo>
                  <a:lnTo>
                    <a:pt x="68" y="1059"/>
                  </a:lnTo>
                  <a:lnTo>
                    <a:pt x="58" y="1065"/>
                  </a:lnTo>
                  <a:lnTo>
                    <a:pt x="44" y="1088"/>
                  </a:lnTo>
                  <a:lnTo>
                    <a:pt x="47" y="1118"/>
                  </a:lnTo>
                  <a:lnTo>
                    <a:pt x="42" y="1159"/>
                  </a:lnTo>
                  <a:lnTo>
                    <a:pt x="35" y="1202"/>
                  </a:lnTo>
                  <a:lnTo>
                    <a:pt x="30" y="1241"/>
                  </a:lnTo>
                  <a:lnTo>
                    <a:pt x="25" y="1261"/>
                  </a:lnTo>
                  <a:lnTo>
                    <a:pt x="38" y="1280"/>
                  </a:lnTo>
                  <a:lnTo>
                    <a:pt x="58" y="1264"/>
                  </a:lnTo>
                  <a:lnTo>
                    <a:pt x="72" y="1273"/>
                  </a:lnTo>
                  <a:lnTo>
                    <a:pt x="72" y="1288"/>
                  </a:lnTo>
                  <a:lnTo>
                    <a:pt x="52" y="1301"/>
                  </a:lnTo>
                  <a:lnTo>
                    <a:pt x="49" y="1328"/>
                  </a:lnTo>
                  <a:lnTo>
                    <a:pt x="44" y="1341"/>
                  </a:lnTo>
                  <a:lnTo>
                    <a:pt x="24" y="1338"/>
                  </a:lnTo>
                  <a:lnTo>
                    <a:pt x="16" y="1369"/>
                  </a:lnTo>
                  <a:lnTo>
                    <a:pt x="25" y="1378"/>
                  </a:lnTo>
                  <a:lnTo>
                    <a:pt x="44" y="1372"/>
                  </a:lnTo>
                  <a:lnTo>
                    <a:pt x="54" y="1386"/>
                  </a:lnTo>
                  <a:lnTo>
                    <a:pt x="56" y="1394"/>
                  </a:lnTo>
                  <a:lnTo>
                    <a:pt x="40" y="1405"/>
                  </a:lnTo>
                  <a:lnTo>
                    <a:pt x="42" y="1423"/>
                  </a:lnTo>
                  <a:lnTo>
                    <a:pt x="24" y="1428"/>
                  </a:lnTo>
                  <a:lnTo>
                    <a:pt x="11" y="1418"/>
                  </a:lnTo>
                  <a:lnTo>
                    <a:pt x="14" y="1443"/>
                  </a:lnTo>
                  <a:lnTo>
                    <a:pt x="11" y="1462"/>
                  </a:lnTo>
                  <a:lnTo>
                    <a:pt x="0" y="1462"/>
                  </a:lnTo>
                  <a:lnTo>
                    <a:pt x="28" y="1495"/>
                  </a:lnTo>
                  <a:lnTo>
                    <a:pt x="42" y="1513"/>
                  </a:lnTo>
                  <a:lnTo>
                    <a:pt x="49" y="1539"/>
                  </a:lnTo>
                  <a:lnTo>
                    <a:pt x="77" y="1557"/>
                  </a:lnTo>
                  <a:lnTo>
                    <a:pt x="107" y="1576"/>
                  </a:lnTo>
                  <a:lnTo>
                    <a:pt x="137" y="1576"/>
                  </a:lnTo>
                  <a:lnTo>
                    <a:pt x="178" y="1544"/>
                  </a:lnTo>
                  <a:lnTo>
                    <a:pt x="220" y="1510"/>
                  </a:lnTo>
                  <a:lnTo>
                    <a:pt x="258" y="1452"/>
                  </a:lnTo>
                  <a:lnTo>
                    <a:pt x="265" y="1446"/>
                  </a:lnTo>
                  <a:lnTo>
                    <a:pt x="275" y="1465"/>
                  </a:lnTo>
                  <a:lnTo>
                    <a:pt x="294" y="1452"/>
                  </a:lnTo>
                  <a:lnTo>
                    <a:pt x="300" y="1431"/>
                  </a:lnTo>
                  <a:lnTo>
                    <a:pt x="302" y="1405"/>
                  </a:lnTo>
                  <a:lnTo>
                    <a:pt x="321" y="1372"/>
                  </a:lnTo>
                  <a:lnTo>
                    <a:pt x="314" y="1409"/>
                  </a:lnTo>
                  <a:lnTo>
                    <a:pt x="324" y="1415"/>
                  </a:lnTo>
                  <a:lnTo>
                    <a:pt x="319" y="1431"/>
                  </a:lnTo>
                  <a:lnTo>
                    <a:pt x="324" y="1459"/>
                  </a:lnTo>
                  <a:lnTo>
                    <a:pt x="333" y="1483"/>
                  </a:lnTo>
                  <a:lnTo>
                    <a:pt x="344" y="1476"/>
                  </a:lnTo>
                  <a:lnTo>
                    <a:pt x="343" y="1483"/>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2" name="Freeform 553"/>
            <p:cNvSpPr>
              <a:spLocks noChangeAspect="1"/>
            </p:cNvSpPr>
            <p:nvPr/>
          </p:nvSpPr>
          <p:spPr bwMode="auto">
            <a:xfrm>
              <a:off x="2537422" y="1148650"/>
              <a:ext cx="36" cy="42"/>
            </a:xfrm>
            <a:custGeom>
              <a:avLst/>
              <a:gdLst>
                <a:gd name="T0" fmla="*/ 38 w 38"/>
                <a:gd name="T1" fmla="*/ 9 h 56"/>
                <a:gd name="T2" fmla="*/ 34 w 38"/>
                <a:gd name="T3" fmla="*/ 21 h 56"/>
                <a:gd name="T4" fmla="*/ 38 w 38"/>
                <a:gd name="T5" fmla="*/ 47 h 56"/>
                <a:gd name="T6" fmla="*/ 11 w 38"/>
                <a:gd name="T7" fmla="*/ 56 h 56"/>
                <a:gd name="T8" fmla="*/ 0 w 38"/>
                <a:gd name="T9" fmla="*/ 43 h 56"/>
                <a:gd name="T10" fmla="*/ 0 w 38"/>
                <a:gd name="T11" fmla="*/ 21 h 56"/>
                <a:gd name="T12" fmla="*/ 8 w 38"/>
                <a:gd name="T13" fmla="*/ 0 h 56"/>
                <a:gd name="T14" fmla="*/ 38 w 38"/>
                <a:gd name="T15" fmla="*/ 9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56">
                  <a:moveTo>
                    <a:pt x="38" y="9"/>
                  </a:moveTo>
                  <a:lnTo>
                    <a:pt x="34" y="21"/>
                  </a:lnTo>
                  <a:lnTo>
                    <a:pt x="38" y="47"/>
                  </a:lnTo>
                  <a:lnTo>
                    <a:pt x="11" y="56"/>
                  </a:lnTo>
                  <a:lnTo>
                    <a:pt x="0" y="43"/>
                  </a:lnTo>
                  <a:lnTo>
                    <a:pt x="0" y="21"/>
                  </a:lnTo>
                  <a:lnTo>
                    <a:pt x="8" y="0"/>
                  </a:lnTo>
                  <a:lnTo>
                    <a:pt x="38" y="9"/>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3" name="Freeform 554"/>
            <p:cNvSpPr>
              <a:spLocks noChangeAspect="1"/>
            </p:cNvSpPr>
            <p:nvPr/>
          </p:nvSpPr>
          <p:spPr bwMode="auto">
            <a:xfrm>
              <a:off x="2537367" y="1148679"/>
              <a:ext cx="32" cy="22"/>
            </a:xfrm>
            <a:custGeom>
              <a:avLst/>
              <a:gdLst>
                <a:gd name="T0" fmla="*/ 31 w 34"/>
                <a:gd name="T1" fmla="*/ 0 h 30"/>
                <a:gd name="T2" fmla="*/ 34 w 34"/>
                <a:gd name="T3" fmla="*/ 22 h 30"/>
                <a:gd name="T4" fmla="*/ 8 w 34"/>
                <a:gd name="T5" fmla="*/ 30 h 30"/>
                <a:gd name="T6" fmla="*/ 0 w 34"/>
                <a:gd name="T7" fmla="*/ 9 h 30"/>
                <a:gd name="T8" fmla="*/ 31 w 34"/>
                <a:gd name="T9" fmla="*/ 0 h 30"/>
              </a:gdLst>
              <a:ahLst/>
              <a:cxnLst>
                <a:cxn ang="0">
                  <a:pos x="T0" y="T1"/>
                </a:cxn>
                <a:cxn ang="0">
                  <a:pos x="T2" y="T3"/>
                </a:cxn>
                <a:cxn ang="0">
                  <a:pos x="T4" y="T5"/>
                </a:cxn>
                <a:cxn ang="0">
                  <a:pos x="T6" y="T7"/>
                </a:cxn>
                <a:cxn ang="0">
                  <a:pos x="T8" y="T9"/>
                </a:cxn>
              </a:cxnLst>
              <a:rect l="0" t="0" r="r" b="b"/>
              <a:pathLst>
                <a:path w="34" h="30">
                  <a:moveTo>
                    <a:pt x="31" y="0"/>
                  </a:moveTo>
                  <a:lnTo>
                    <a:pt x="34" y="22"/>
                  </a:lnTo>
                  <a:lnTo>
                    <a:pt x="8" y="30"/>
                  </a:lnTo>
                  <a:lnTo>
                    <a:pt x="0" y="9"/>
                  </a:lnTo>
                  <a:lnTo>
                    <a:pt x="31"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4" name="Freeform 555"/>
            <p:cNvSpPr>
              <a:spLocks noChangeAspect="1"/>
            </p:cNvSpPr>
            <p:nvPr/>
          </p:nvSpPr>
          <p:spPr bwMode="auto">
            <a:xfrm>
              <a:off x="2537376" y="1148632"/>
              <a:ext cx="40" cy="27"/>
            </a:xfrm>
            <a:custGeom>
              <a:avLst/>
              <a:gdLst>
                <a:gd name="T0" fmla="*/ 0 w 41"/>
                <a:gd name="T1" fmla="*/ 23 h 36"/>
                <a:gd name="T2" fmla="*/ 30 w 41"/>
                <a:gd name="T3" fmla="*/ 36 h 36"/>
                <a:gd name="T4" fmla="*/ 41 w 41"/>
                <a:gd name="T5" fmla="*/ 9 h 36"/>
                <a:gd name="T6" fmla="*/ 22 w 41"/>
                <a:gd name="T7" fmla="*/ 0 h 36"/>
                <a:gd name="T8" fmla="*/ 11 w 41"/>
                <a:gd name="T9" fmla="*/ 9 h 36"/>
                <a:gd name="T10" fmla="*/ 0 w 41"/>
                <a:gd name="T11" fmla="*/ 16 h 36"/>
                <a:gd name="T12" fmla="*/ 0 w 41"/>
                <a:gd name="T13" fmla="*/ 23 h 36"/>
              </a:gdLst>
              <a:ahLst/>
              <a:cxnLst>
                <a:cxn ang="0">
                  <a:pos x="T0" y="T1"/>
                </a:cxn>
                <a:cxn ang="0">
                  <a:pos x="T2" y="T3"/>
                </a:cxn>
                <a:cxn ang="0">
                  <a:pos x="T4" y="T5"/>
                </a:cxn>
                <a:cxn ang="0">
                  <a:pos x="T6" y="T7"/>
                </a:cxn>
                <a:cxn ang="0">
                  <a:pos x="T8" y="T9"/>
                </a:cxn>
                <a:cxn ang="0">
                  <a:pos x="T10" y="T11"/>
                </a:cxn>
                <a:cxn ang="0">
                  <a:pos x="T12" y="T13"/>
                </a:cxn>
              </a:cxnLst>
              <a:rect l="0" t="0" r="r" b="b"/>
              <a:pathLst>
                <a:path w="41" h="36">
                  <a:moveTo>
                    <a:pt x="0" y="23"/>
                  </a:moveTo>
                  <a:lnTo>
                    <a:pt x="30" y="36"/>
                  </a:lnTo>
                  <a:lnTo>
                    <a:pt x="41" y="9"/>
                  </a:lnTo>
                  <a:lnTo>
                    <a:pt x="22" y="0"/>
                  </a:lnTo>
                  <a:lnTo>
                    <a:pt x="11" y="9"/>
                  </a:lnTo>
                  <a:lnTo>
                    <a:pt x="0" y="16"/>
                  </a:lnTo>
                  <a:lnTo>
                    <a:pt x="0" y="23"/>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5" name="Freeform 556"/>
            <p:cNvSpPr>
              <a:spLocks noChangeAspect="1"/>
            </p:cNvSpPr>
            <p:nvPr/>
          </p:nvSpPr>
          <p:spPr bwMode="auto">
            <a:xfrm>
              <a:off x="2537422" y="1148608"/>
              <a:ext cx="29" cy="17"/>
            </a:xfrm>
            <a:custGeom>
              <a:avLst/>
              <a:gdLst>
                <a:gd name="T0" fmla="*/ 0 w 30"/>
                <a:gd name="T1" fmla="*/ 22 h 22"/>
                <a:gd name="T2" fmla="*/ 23 w 30"/>
                <a:gd name="T3" fmla="*/ 0 h 22"/>
                <a:gd name="T4" fmla="*/ 30 w 30"/>
                <a:gd name="T5" fmla="*/ 8 h 22"/>
                <a:gd name="T6" fmla="*/ 0 w 30"/>
                <a:gd name="T7" fmla="*/ 22 h 22"/>
              </a:gdLst>
              <a:ahLst/>
              <a:cxnLst>
                <a:cxn ang="0">
                  <a:pos x="T0" y="T1"/>
                </a:cxn>
                <a:cxn ang="0">
                  <a:pos x="T2" y="T3"/>
                </a:cxn>
                <a:cxn ang="0">
                  <a:pos x="T4" y="T5"/>
                </a:cxn>
                <a:cxn ang="0">
                  <a:pos x="T6" y="T7"/>
                </a:cxn>
              </a:cxnLst>
              <a:rect l="0" t="0" r="r" b="b"/>
              <a:pathLst>
                <a:path w="30" h="22">
                  <a:moveTo>
                    <a:pt x="0" y="22"/>
                  </a:moveTo>
                  <a:lnTo>
                    <a:pt x="23" y="0"/>
                  </a:lnTo>
                  <a:lnTo>
                    <a:pt x="30" y="8"/>
                  </a:lnTo>
                  <a:lnTo>
                    <a:pt x="0" y="22"/>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6" name="Freeform 557"/>
            <p:cNvSpPr>
              <a:spLocks noChangeAspect="1"/>
            </p:cNvSpPr>
            <p:nvPr/>
          </p:nvSpPr>
          <p:spPr bwMode="auto">
            <a:xfrm>
              <a:off x="2537321" y="1148688"/>
              <a:ext cx="20" cy="19"/>
            </a:xfrm>
            <a:custGeom>
              <a:avLst/>
              <a:gdLst>
                <a:gd name="T0" fmla="*/ 19 w 23"/>
                <a:gd name="T1" fmla="*/ 0 h 26"/>
                <a:gd name="T2" fmla="*/ 23 w 23"/>
                <a:gd name="T3" fmla="*/ 22 h 26"/>
                <a:gd name="T4" fmla="*/ 0 w 23"/>
                <a:gd name="T5" fmla="*/ 26 h 26"/>
                <a:gd name="T6" fmla="*/ 19 w 23"/>
                <a:gd name="T7" fmla="*/ 0 h 26"/>
              </a:gdLst>
              <a:ahLst/>
              <a:cxnLst>
                <a:cxn ang="0">
                  <a:pos x="T0" y="T1"/>
                </a:cxn>
                <a:cxn ang="0">
                  <a:pos x="T2" y="T3"/>
                </a:cxn>
                <a:cxn ang="0">
                  <a:pos x="T4" y="T5"/>
                </a:cxn>
                <a:cxn ang="0">
                  <a:pos x="T6" y="T7"/>
                </a:cxn>
              </a:cxnLst>
              <a:rect l="0" t="0" r="r" b="b"/>
              <a:pathLst>
                <a:path w="23" h="26">
                  <a:moveTo>
                    <a:pt x="19" y="0"/>
                  </a:moveTo>
                  <a:lnTo>
                    <a:pt x="23" y="22"/>
                  </a:lnTo>
                  <a:lnTo>
                    <a:pt x="0" y="26"/>
                  </a:lnTo>
                  <a:lnTo>
                    <a:pt x="19"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7" name="Freeform 558"/>
            <p:cNvSpPr>
              <a:spLocks noChangeAspect="1"/>
            </p:cNvSpPr>
            <p:nvPr/>
          </p:nvSpPr>
          <p:spPr bwMode="auto">
            <a:xfrm>
              <a:off x="2537543" y="1148555"/>
              <a:ext cx="40" cy="29"/>
            </a:xfrm>
            <a:custGeom>
              <a:avLst/>
              <a:gdLst>
                <a:gd name="T0" fmla="*/ 19 w 42"/>
                <a:gd name="T1" fmla="*/ 0 h 38"/>
                <a:gd name="T2" fmla="*/ 0 w 42"/>
                <a:gd name="T3" fmla="*/ 17 h 38"/>
                <a:gd name="T4" fmla="*/ 27 w 42"/>
                <a:gd name="T5" fmla="*/ 38 h 38"/>
                <a:gd name="T6" fmla="*/ 42 w 42"/>
                <a:gd name="T7" fmla="*/ 17 h 38"/>
                <a:gd name="T8" fmla="*/ 19 w 42"/>
                <a:gd name="T9" fmla="*/ 0 h 38"/>
              </a:gdLst>
              <a:ahLst/>
              <a:cxnLst>
                <a:cxn ang="0">
                  <a:pos x="T0" y="T1"/>
                </a:cxn>
                <a:cxn ang="0">
                  <a:pos x="T2" y="T3"/>
                </a:cxn>
                <a:cxn ang="0">
                  <a:pos x="T4" y="T5"/>
                </a:cxn>
                <a:cxn ang="0">
                  <a:pos x="T6" y="T7"/>
                </a:cxn>
                <a:cxn ang="0">
                  <a:pos x="T8" y="T9"/>
                </a:cxn>
              </a:cxnLst>
              <a:rect l="0" t="0" r="r" b="b"/>
              <a:pathLst>
                <a:path w="42" h="38">
                  <a:moveTo>
                    <a:pt x="19" y="0"/>
                  </a:moveTo>
                  <a:lnTo>
                    <a:pt x="0" y="17"/>
                  </a:lnTo>
                  <a:lnTo>
                    <a:pt x="27" y="38"/>
                  </a:lnTo>
                  <a:lnTo>
                    <a:pt x="42" y="17"/>
                  </a:lnTo>
                  <a:lnTo>
                    <a:pt x="19"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8" name="Freeform 559"/>
            <p:cNvSpPr>
              <a:spLocks noChangeAspect="1"/>
            </p:cNvSpPr>
            <p:nvPr/>
          </p:nvSpPr>
          <p:spPr bwMode="auto">
            <a:xfrm>
              <a:off x="2537579" y="1148530"/>
              <a:ext cx="40" cy="28"/>
            </a:xfrm>
            <a:custGeom>
              <a:avLst/>
              <a:gdLst>
                <a:gd name="T0" fmla="*/ 0 w 42"/>
                <a:gd name="T1" fmla="*/ 13 h 38"/>
                <a:gd name="T2" fmla="*/ 19 w 42"/>
                <a:gd name="T3" fmla="*/ 38 h 38"/>
                <a:gd name="T4" fmla="*/ 42 w 42"/>
                <a:gd name="T5" fmla="*/ 21 h 38"/>
                <a:gd name="T6" fmla="*/ 23 w 42"/>
                <a:gd name="T7" fmla="*/ 0 h 38"/>
                <a:gd name="T8" fmla="*/ 0 w 42"/>
                <a:gd name="T9" fmla="*/ 13 h 38"/>
              </a:gdLst>
              <a:ahLst/>
              <a:cxnLst>
                <a:cxn ang="0">
                  <a:pos x="T0" y="T1"/>
                </a:cxn>
                <a:cxn ang="0">
                  <a:pos x="T2" y="T3"/>
                </a:cxn>
                <a:cxn ang="0">
                  <a:pos x="T4" y="T5"/>
                </a:cxn>
                <a:cxn ang="0">
                  <a:pos x="T6" y="T7"/>
                </a:cxn>
                <a:cxn ang="0">
                  <a:pos x="T8" y="T9"/>
                </a:cxn>
              </a:cxnLst>
              <a:rect l="0" t="0" r="r" b="b"/>
              <a:pathLst>
                <a:path w="42" h="38">
                  <a:moveTo>
                    <a:pt x="0" y="13"/>
                  </a:moveTo>
                  <a:lnTo>
                    <a:pt x="19" y="38"/>
                  </a:lnTo>
                  <a:lnTo>
                    <a:pt x="42" y="21"/>
                  </a:lnTo>
                  <a:lnTo>
                    <a:pt x="23" y="0"/>
                  </a:lnTo>
                  <a:lnTo>
                    <a:pt x="0" y="13"/>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9" name="Freeform 560"/>
            <p:cNvSpPr>
              <a:spLocks noChangeAspect="1"/>
            </p:cNvSpPr>
            <p:nvPr/>
          </p:nvSpPr>
          <p:spPr bwMode="auto">
            <a:xfrm>
              <a:off x="2537682" y="1148475"/>
              <a:ext cx="58" cy="35"/>
            </a:xfrm>
            <a:custGeom>
              <a:avLst/>
              <a:gdLst>
                <a:gd name="T0" fmla="*/ 26 w 60"/>
                <a:gd name="T1" fmla="*/ 13 h 47"/>
                <a:gd name="T2" fmla="*/ 38 w 60"/>
                <a:gd name="T3" fmla="*/ 22 h 47"/>
                <a:gd name="T4" fmla="*/ 60 w 60"/>
                <a:gd name="T5" fmla="*/ 0 h 47"/>
                <a:gd name="T6" fmla="*/ 49 w 60"/>
                <a:gd name="T7" fmla="*/ 43 h 47"/>
                <a:gd name="T8" fmla="*/ 26 w 60"/>
                <a:gd name="T9" fmla="*/ 47 h 47"/>
                <a:gd name="T10" fmla="*/ 0 w 60"/>
                <a:gd name="T11" fmla="*/ 17 h 47"/>
                <a:gd name="T12" fmla="*/ 26 w 60"/>
                <a:gd name="T13" fmla="*/ 13 h 47"/>
              </a:gdLst>
              <a:ahLst/>
              <a:cxnLst>
                <a:cxn ang="0">
                  <a:pos x="T0" y="T1"/>
                </a:cxn>
                <a:cxn ang="0">
                  <a:pos x="T2" y="T3"/>
                </a:cxn>
                <a:cxn ang="0">
                  <a:pos x="T4" y="T5"/>
                </a:cxn>
                <a:cxn ang="0">
                  <a:pos x="T6" y="T7"/>
                </a:cxn>
                <a:cxn ang="0">
                  <a:pos x="T8" y="T9"/>
                </a:cxn>
                <a:cxn ang="0">
                  <a:pos x="T10" y="T11"/>
                </a:cxn>
                <a:cxn ang="0">
                  <a:pos x="T12" y="T13"/>
                </a:cxn>
              </a:cxnLst>
              <a:rect l="0" t="0" r="r" b="b"/>
              <a:pathLst>
                <a:path w="60" h="47">
                  <a:moveTo>
                    <a:pt x="26" y="13"/>
                  </a:moveTo>
                  <a:lnTo>
                    <a:pt x="38" y="22"/>
                  </a:lnTo>
                  <a:lnTo>
                    <a:pt x="60" y="0"/>
                  </a:lnTo>
                  <a:lnTo>
                    <a:pt x="49" y="43"/>
                  </a:lnTo>
                  <a:lnTo>
                    <a:pt x="26" y="47"/>
                  </a:lnTo>
                  <a:lnTo>
                    <a:pt x="0" y="17"/>
                  </a:lnTo>
                  <a:lnTo>
                    <a:pt x="26" y="13"/>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0" name="Freeform 561"/>
            <p:cNvSpPr>
              <a:spLocks noChangeAspect="1"/>
            </p:cNvSpPr>
            <p:nvPr/>
          </p:nvSpPr>
          <p:spPr bwMode="auto">
            <a:xfrm>
              <a:off x="2537792" y="1148442"/>
              <a:ext cx="27" cy="19"/>
            </a:xfrm>
            <a:custGeom>
              <a:avLst/>
              <a:gdLst>
                <a:gd name="T0" fmla="*/ 15 w 31"/>
                <a:gd name="T1" fmla="*/ 0 h 25"/>
                <a:gd name="T2" fmla="*/ 27 w 31"/>
                <a:gd name="T3" fmla="*/ 8 h 25"/>
                <a:gd name="T4" fmla="*/ 31 w 31"/>
                <a:gd name="T5" fmla="*/ 25 h 25"/>
                <a:gd name="T6" fmla="*/ 0 w 31"/>
                <a:gd name="T7" fmla="*/ 25 h 25"/>
                <a:gd name="T8" fmla="*/ 15 w 31"/>
                <a:gd name="T9" fmla="*/ 0 h 25"/>
              </a:gdLst>
              <a:ahLst/>
              <a:cxnLst>
                <a:cxn ang="0">
                  <a:pos x="T0" y="T1"/>
                </a:cxn>
                <a:cxn ang="0">
                  <a:pos x="T2" y="T3"/>
                </a:cxn>
                <a:cxn ang="0">
                  <a:pos x="T4" y="T5"/>
                </a:cxn>
                <a:cxn ang="0">
                  <a:pos x="T6" y="T7"/>
                </a:cxn>
                <a:cxn ang="0">
                  <a:pos x="T8" y="T9"/>
                </a:cxn>
              </a:cxnLst>
              <a:rect l="0" t="0" r="r" b="b"/>
              <a:pathLst>
                <a:path w="31" h="25">
                  <a:moveTo>
                    <a:pt x="15" y="0"/>
                  </a:moveTo>
                  <a:lnTo>
                    <a:pt x="27" y="8"/>
                  </a:lnTo>
                  <a:lnTo>
                    <a:pt x="31" y="25"/>
                  </a:lnTo>
                  <a:lnTo>
                    <a:pt x="0" y="25"/>
                  </a:lnTo>
                  <a:lnTo>
                    <a:pt x="15"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91" name="Freeform 562"/>
            <p:cNvSpPr>
              <a:spLocks noChangeAspect="1"/>
            </p:cNvSpPr>
            <p:nvPr/>
          </p:nvSpPr>
          <p:spPr bwMode="auto">
            <a:xfrm>
              <a:off x="2537065" y="1149099"/>
              <a:ext cx="43" cy="24"/>
            </a:xfrm>
            <a:custGeom>
              <a:avLst/>
              <a:gdLst>
                <a:gd name="T0" fmla="*/ 46 w 46"/>
                <a:gd name="T1" fmla="*/ 17 h 29"/>
                <a:gd name="T2" fmla="*/ 12 w 46"/>
                <a:gd name="T3" fmla="*/ 0 h 29"/>
                <a:gd name="T4" fmla="*/ 0 w 46"/>
                <a:gd name="T5" fmla="*/ 12 h 29"/>
                <a:gd name="T6" fmla="*/ 4 w 46"/>
                <a:gd name="T7" fmla="*/ 29 h 29"/>
                <a:gd name="T8" fmla="*/ 46 w 46"/>
                <a:gd name="T9" fmla="*/ 17 h 29"/>
              </a:gdLst>
              <a:ahLst/>
              <a:cxnLst>
                <a:cxn ang="0">
                  <a:pos x="T0" y="T1"/>
                </a:cxn>
                <a:cxn ang="0">
                  <a:pos x="T2" y="T3"/>
                </a:cxn>
                <a:cxn ang="0">
                  <a:pos x="T4" y="T5"/>
                </a:cxn>
                <a:cxn ang="0">
                  <a:pos x="T6" y="T7"/>
                </a:cxn>
                <a:cxn ang="0">
                  <a:pos x="T8" y="T9"/>
                </a:cxn>
              </a:cxnLst>
              <a:rect l="0" t="0" r="r" b="b"/>
              <a:pathLst>
                <a:path w="46" h="29">
                  <a:moveTo>
                    <a:pt x="46" y="17"/>
                  </a:moveTo>
                  <a:lnTo>
                    <a:pt x="12" y="0"/>
                  </a:lnTo>
                  <a:lnTo>
                    <a:pt x="0" y="12"/>
                  </a:lnTo>
                  <a:lnTo>
                    <a:pt x="4" y="29"/>
                  </a:lnTo>
                  <a:lnTo>
                    <a:pt x="46" y="17"/>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sp>
        <p:nvSpPr>
          <p:cNvPr id="30" name="MK"/>
          <p:cNvSpPr>
            <a:spLocks noChangeAspect="1"/>
          </p:cNvSpPr>
          <p:nvPr/>
        </p:nvSpPr>
        <p:spPr bwMode="auto">
          <a:xfrm>
            <a:off x="6932613" y="5165725"/>
            <a:ext cx="306387" cy="203200"/>
          </a:xfrm>
          <a:custGeom>
            <a:avLst/>
            <a:gdLst>
              <a:gd name="T0" fmla="*/ 8 w 205"/>
              <a:gd name="T1" fmla="*/ 47 h 156"/>
              <a:gd name="T2" fmla="*/ 43 w 205"/>
              <a:gd name="T3" fmla="*/ 20 h 156"/>
              <a:gd name="T4" fmla="*/ 66 w 205"/>
              <a:gd name="T5" fmla="*/ 15 h 156"/>
              <a:gd name="T6" fmla="*/ 89 w 205"/>
              <a:gd name="T7" fmla="*/ 8 h 156"/>
              <a:gd name="T8" fmla="*/ 108 w 205"/>
              <a:gd name="T9" fmla="*/ 8 h 156"/>
              <a:gd name="T10" fmla="*/ 127 w 205"/>
              <a:gd name="T11" fmla="*/ 0 h 156"/>
              <a:gd name="T12" fmla="*/ 159 w 205"/>
              <a:gd name="T13" fmla="*/ 8 h 156"/>
              <a:gd name="T14" fmla="*/ 178 w 205"/>
              <a:gd name="T15" fmla="*/ 7 h 156"/>
              <a:gd name="T16" fmla="*/ 197 w 205"/>
              <a:gd name="T17" fmla="*/ 28 h 156"/>
              <a:gd name="T18" fmla="*/ 195 w 205"/>
              <a:gd name="T19" fmla="*/ 89 h 156"/>
              <a:gd name="T20" fmla="*/ 205 w 205"/>
              <a:gd name="T21" fmla="*/ 97 h 156"/>
              <a:gd name="T22" fmla="*/ 191 w 205"/>
              <a:gd name="T23" fmla="*/ 122 h 156"/>
              <a:gd name="T24" fmla="*/ 146 w 205"/>
              <a:gd name="T25" fmla="*/ 132 h 156"/>
              <a:gd name="T26" fmla="*/ 127 w 205"/>
              <a:gd name="T27" fmla="*/ 126 h 156"/>
              <a:gd name="T28" fmla="*/ 114 w 205"/>
              <a:gd name="T29" fmla="*/ 156 h 156"/>
              <a:gd name="T30" fmla="*/ 80 w 205"/>
              <a:gd name="T31" fmla="*/ 153 h 156"/>
              <a:gd name="T32" fmla="*/ 66 w 205"/>
              <a:gd name="T33" fmla="*/ 149 h 156"/>
              <a:gd name="T34" fmla="*/ 46 w 205"/>
              <a:gd name="T35" fmla="*/ 148 h 156"/>
              <a:gd name="T36" fmla="*/ 34 w 205"/>
              <a:gd name="T37" fmla="*/ 135 h 156"/>
              <a:gd name="T38" fmla="*/ 27 w 205"/>
              <a:gd name="T39" fmla="*/ 139 h 156"/>
              <a:gd name="T40" fmla="*/ 11 w 205"/>
              <a:gd name="T41" fmla="*/ 126 h 156"/>
              <a:gd name="T42" fmla="*/ 0 w 205"/>
              <a:gd name="T43" fmla="*/ 89 h 156"/>
              <a:gd name="T44" fmla="*/ 9 w 205"/>
              <a:gd name="T45" fmla="*/ 71 h 156"/>
              <a:gd name="T46" fmla="*/ 8 w 205"/>
              <a:gd name="T47" fmla="*/ 47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5" h="156">
                <a:moveTo>
                  <a:pt x="8" y="47"/>
                </a:moveTo>
                <a:lnTo>
                  <a:pt x="43" y="20"/>
                </a:lnTo>
                <a:lnTo>
                  <a:pt x="66" y="15"/>
                </a:lnTo>
                <a:lnTo>
                  <a:pt x="89" y="8"/>
                </a:lnTo>
                <a:lnTo>
                  <a:pt x="108" y="8"/>
                </a:lnTo>
                <a:lnTo>
                  <a:pt x="127" y="0"/>
                </a:lnTo>
                <a:lnTo>
                  <a:pt x="159" y="8"/>
                </a:lnTo>
                <a:lnTo>
                  <a:pt x="178" y="7"/>
                </a:lnTo>
                <a:lnTo>
                  <a:pt x="197" y="28"/>
                </a:lnTo>
                <a:lnTo>
                  <a:pt x="195" y="89"/>
                </a:lnTo>
                <a:lnTo>
                  <a:pt x="205" y="97"/>
                </a:lnTo>
                <a:lnTo>
                  <a:pt x="191" y="122"/>
                </a:lnTo>
                <a:lnTo>
                  <a:pt x="146" y="132"/>
                </a:lnTo>
                <a:lnTo>
                  <a:pt x="127" y="126"/>
                </a:lnTo>
                <a:lnTo>
                  <a:pt x="114" y="156"/>
                </a:lnTo>
                <a:lnTo>
                  <a:pt x="80" y="153"/>
                </a:lnTo>
                <a:lnTo>
                  <a:pt x="66" y="149"/>
                </a:lnTo>
                <a:lnTo>
                  <a:pt x="46" y="148"/>
                </a:lnTo>
                <a:lnTo>
                  <a:pt x="34" y="135"/>
                </a:lnTo>
                <a:lnTo>
                  <a:pt x="27" y="139"/>
                </a:lnTo>
                <a:lnTo>
                  <a:pt x="11" y="126"/>
                </a:lnTo>
                <a:lnTo>
                  <a:pt x="0" y="89"/>
                </a:lnTo>
                <a:lnTo>
                  <a:pt x="9" y="71"/>
                </a:lnTo>
                <a:lnTo>
                  <a:pt x="8" y="47"/>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31" name="PT"/>
          <p:cNvSpPr>
            <a:spLocks noChangeAspect="1"/>
          </p:cNvSpPr>
          <p:nvPr/>
        </p:nvSpPr>
        <p:spPr bwMode="auto">
          <a:xfrm>
            <a:off x="3048000" y="4589463"/>
            <a:ext cx="574675" cy="735012"/>
          </a:xfrm>
          <a:custGeom>
            <a:avLst/>
            <a:gdLst>
              <a:gd name="T0" fmla="*/ 224 w 388"/>
              <a:gd name="T1" fmla="*/ 0 h 619"/>
              <a:gd name="T2" fmla="*/ 246 w 388"/>
              <a:gd name="T3" fmla="*/ 53 h 619"/>
              <a:gd name="T4" fmla="*/ 267 w 388"/>
              <a:gd name="T5" fmla="*/ 54 h 619"/>
              <a:gd name="T6" fmla="*/ 324 w 388"/>
              <a:gd name="T7" fmla="*/ 64 h 619"/>
              <a:gd name="T8" fmla="*/ 353 w 388"/>
              <a:gd name="T9" fmla="*/ 80 h 619"/>
              <a:gd name="T10" fmla="*/ 377 w 388"/>
              <a:gd name="T11" fmla="*/ 127 h 619"/>
              <a:gd name="T12" fmla="*/ 384 w 388"/>
              <a:gd name="T13" fmla="*/ 147 h 619"/>
              <a:gd name="T14" fmla="*/ 314 w 388"/>
              <a:gd name="T15" fmla="*/ 179 h 619"/>
              <a:gd name="T16" fmla="*/ 294 w 388"/>
              <a:gd name="T17" fmla="*/ 238 h 619"/>
              <a:gd name="T18" fmla="*/ 274 w 388"/>
              <a:gd name="T19" fmla="*/ 292 h 619"/>
              <a:gd name="T20" fmla="*/ 260 w 388"/>
              <a:gd name="T21" fmla="*/ 333 h 619"/>
              <a:gd name="T22" fmla="*/ 228 w 388"/>
              <a:gd name="T23" fmla="*/ 323 h 619"/>
              <a:gd name="T24" fmla="*/ 222 w 388"/>
              <a:gd name="T25" fmla="*/ 366 h 619"/>
              <a:gd name="T26" fmla="*/ 225 w 388"/>
              <a:gd name="T27" fmla="*/ 407 h 619"/>
              <a:gd name="T28" fmla="*/ 196 w 388"/>
              <a:gd name="T29" fmla="*/ 445 h 619"/>
              <a:gd name="T30" fmla="*/ 192 w 388"/>
              <a:gd name="T31" fmla="*/ 502 h 619"/>
              <a:gd name="T32" fmla="*/ 198 w 388"/>
              <a:gd name="T33" fmla="*/ 536 h 619"/>
              <a:gd name="T34" fmla="*/ 147 w 388"/>
              <a:gd name="T35" fmla="*/ 565 h 619"/>
              <a:gd name="T36" fmla="*/ 146 w 388"/>
              <a:gd name="T37" fmla="*/ 613 h 619"/>
              <a:gd name="T38" fmla="*/ 75 w 388"/>
              <a:gd name="T39" fmla="*/ 619 h 619"/>
              <a:gd name="T40" fmla="*/ 24 w 388"/>
              <a:gd name="T41" fmla="*/ 576 h 619"/>
              <a:gd name="T42" fmla="*/ 0 w 388"/>
              <a:gd name="T43" fmla="*/ 561 h 619"/>
              <a:gd name="T44" fmla="*/ 28 w 388"/>
              <a:gd name="T45" fmla="*/ 514 h 619"/>
              <a:gd name="T46" fmla="*/ 61 w 388"/>
              <a:gd name="T47" fmla="*/ 445 h 619"/>
              <a:gd name="T48" fmla="*/ 56 w 388"/>
              <a:gd name="T49" fmla="*/ 408 h 619"/>
              <a:gd name="T50" fmla="*/ 38 w 388"/>
              <a:gd name="T51" fmla="*/ 386 h 619"/>
              <a:gd name="T52" fmla="*/ 66 w 388"/>
              <a:gd name="T53" fmla="*/ 359 h 619"/>
              <a:gd name="T54" fmla="*/ 28 w 388"/>
              <a:gd name="T55" fmla="*/ 364 h 619"/>
              <a:gd name="T56" fmla="*/ 38 w 388"/>
              <a:gd name="T57" fmla="*/ 322 h 619"/>
              <a:gd name="T58" fmla="*/ 52 w 388"/>
              <a:gd name="T59" fmla="*/ 285 h 619"/>
              <a:gd name="T60" fmla="*/ 66 w 388"/>
              <a:gd name="T61" fmla="*/ 265 h 619"/>
              <a:gd name="T62" fmla="*/ 104 w 388"/>
              <a:gd name="T63" fmla="*/ 238 h 619"/>
              <a:gd name="T64" fmla="*/ 155 w 388"/>
              <a:gd name="T65" fmla="*/ 164 h 619"/>
              <a:gd name="T66" fmla="*/ 174 w 388"/>
              <a:gd name="T67" fmla="*/ 111 h 619"/>
              <a:gd name="T68" fmla="*/ 187 w 388"/>
              <a:gd name="T69" fmla="*/ 54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8" h="619">
                <a:moveTo>
                  <a:pt x="196" y="6"/>
                </a:moveTo>
                <a:lnTo>
                  <a:pt x="224" y="0"/>
                </a:lnTo>
                <a:lnTo>
                  <a:pt x="243" y="24"/>
                </a:lnTo>
                <a:lnTo>
                  <a:pt x="246" y="53"/>
                </a:lnTo>
                <a:lnTo>
                  <a:pt x="253" y="59"/>
                </a:lnTo>
                <a:lnTo>
                  <a:pt x="267" y="54"/>
                </a:lnTo>
                <a:lnTo>
                  <a:pt x="312" y="74"/>
                </a:lnTo>
                <a:lnTo>
                  <a:pt x="324" y="64"/>
                </a:lnTo>
                <a:lnTo>
                  <a:pt x="342" y="63"/>
                </a:lnTo>
                <a:lnTo>
                  <a:pt x="353" y="80"/>
                </a:lnTo>
                <a:lnTo>
                  <a:pt x="363" y="108"/>
                </a:lnTo>
                <a:lnTo>
                  <a:pt x="377" y="127"/>
                </a:lnTo>
                <a:lnTo>
                  <a:pt x="388" y="137"/>
                </a:lnTo>
                <a:lnTo>
                  <a:pt x="384" y="147"/>
                </a:lnTo>
                <a:lnTo>
                  <a:pt x="351" y="157"/>
                </a:lnTo>
                <a:lnTo>
                  <a:pt x="314" y="179"/>
                </a:lnTo>
                <a:lnTo>
                  <a:pt x="315" y="218"/>
                </a:lnTo>
                <a:lnTo>
                  <a:pt x="294" y="238"/>
                </a:lnTo>
                <a:lnTo>
                  <a:pt x="276" y="255"/>
                </a:lnTo>
                <a:lnTo>
                  <a:pt x="274" y="292"/>
                </a:lnTo>
                <a:lnTo>
                  <a:pt x="274" y="316"/>
                </a:lnTo>
                <a:lnTo>
                  <a:pt x="260" y="333"/>
                </a:lnTo>
                <a:lnTo>
                  <a:pt x="248" y="316"/>
                </a:lnTo>
                <a:lnTo>
                  <a:pt x="228" y="323"/>
                </a:lnTo>
                <a:lnTo>
                  <a:pt x="225" y="335"/>
                </a:lnTo>
                <a:lnTo>
                  <a:pt x="222" y="366"/>
                </a:lnTo>
                <a:lnTo>
                  <a:pt x="229" y="377"/>
                </a:lnTo>
                <a:lnTo>
                  <a:pt x="225" y="407"/>
                </a:lnTo>
                <a:lnTo>
                  <a:pt x="213" y="421"/>
                </a:lnTo>
                <a:lnTo>
                  <a:pt x="196" y="445"/>
                </a:lnTo>
                <a:lnTo>
                  <a:pt x="189" y="465"/>
                </a:lnTo>
                <a:lnTo>
                  <a:pt x="192" y="502"/>
                </a:lnTo>
                <a:lnTo>
                  <a:pt x="206" y="524"/>
                </a:lnTo>
                <a:lnTo>
                  <a:pt x="198" y="536"/>
                </a:lnTo>
                <a:lnTo>
                  <a:pt x="161" y="549"/>
                </a:lnTo>
                <a:lnTo>
                  <a:pt x="147" y="565"/>
                </a:lnTo>
                <a:lnTo>
                  <a:pt x="146" y="582"/>
                </a:lnTo>
                <a:lnTo>
                  <a:pt x="146" y="613"/>
                </a:lnTo>
                <a:lnTo>
                  <a:pt x="104" y="613"/>
                </a:lnTo>
                <a:lnTo>
                  <a:pt x="75" y="619"/>
                </a:lnTo>
                <a:lnTo>
                  <a:pt x="42" y="576"/>
                </a:lnTo>
                <a:lnTo>
                  <a:pt x="24" y="576"/>
                </a:lnTo>
                <a:lnTo>
                  <a:pt x="9" y="576"/>
                </a:lnTo>
                <a:lnTo>
                  <a:pt x="0" y="561"/>
                </a:lnTo>
                <a:lnTo>
                  <a:pt x="9" y="545"/>
                </a:lnTo>
                <a:lnTo>
                  <a:pt x="28" y="514"/>
                </a:lnTo>
                <a:lnTo>
                  <a:pt x="38" y="482"/>
                </a:lnTo>
                <a:lnTo>
                  <a:pt x="61" y="445"/>
                </a:lnTo>
                <a:lnTo>
                  <a:pt x="66" y="424"/>
                </a:lnTo>
                <a:lnTo>
                  <a:pt x="56" y="408"/>
                </a:lnTo>
                <a:lnTo>
                  <a:pt x="42" y="394"/>
                </a:lnTo>
                <a:lnTo>
                  <a:pt x="38" y="386"/>
                </a:lnTo>
                <a:lnTo>
                  <a:pt x="56" y="380"/>
                </a:lnTo>
                <a:lnTo>
                  <a:pt x="66" y="359"/>
                </a:lnTo>
                <a:lnTo>
                  <a:pt x="47" y="353"/>
                </a:lnTo>
                <a:lnTo>
                  <a:pt x="28" y="364"/>
                </a:lnTo>
                <a:lnTo>
                  <a:pt x="28" y="337"/>
                </a:lnTo>
                <a:lnTo>
                  <a:pt x="38" y="322"/>
                </a:lnTo>
                <a:lnTo>
                  <a:pt x="47" y="306"/>
                </a:lnTo>
                <a:lnTo>
                  <a:pt x="52" y="285"/>
                </a:lnTo>
                <a:lnTo>
                  <a:pt x="56" y="269"/>
                </a:lnTo>
                <a:lnTo>
                  <a:pt x="66" y="265"/>
                </a:lnTo>
                <a:lnTo>
                  <a:pt x="80" y="275"/>
                </a:lnTo>
                <a:lnTo>
                  <a:pt x="104" y="238"/>
                </a:lnTo>
                <a:lnTo>
                  <a:pt x="118" y="212"/>
                </a:lnTo>
                <a:lnTo>
                  <a:pt x="155" y="164"/>
                </a:lnTo>
                <a:lnTo>
                  <a:pt x="155" y="144"/>
                </a:lnTo>
                <a:lnTo>
                  <a:pt x="174" y="111"/>
                </a:lnTo>
                <a:lnTo>
                  <a:pt x="179" y="74"/>
                </a:lnTo>
                <a:lnTo>
                  <a:pt x="187" y="54"/>
                </a:lnTo>
                <a:lnTo>
                  <a:pt x="196" y="6"/>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nvGrpSpPr>
          <p:cNvPr id="32" name="ES"/>
          <p:cNvGrpSpPr>
            <a:grpSpLocks/>
          </p:cNvGrpSpPr>
          <p:nvPr/>
        </p:nvGrpSpPr>
        <p:grpSpPr bwMode="auto">
          <a:xfrm>
            <a:off x="3260628" y="4351278"/>
            <a:ext cx="1579555" cy="1219185"/>
            <a:chOff x="212709" y="4669452"/>
            <a:chExt cx="724" cy="631"/>
          </a:xfrm>
          <a:solidFill>
            <a:srgbClr val="FAFAFA"/>
          </a:solidFill>
          <a:effectLst/>
        </p:grpSpPr>
        <p:sp>
          <p:nvSpPr>
            <p:cNvPr id="77" name="Freeform 548"/>
            <p:cNvSpPr>
              <a:spLocks noChangeAspect="1"/>
            </p:cNvSpPr>
            <p:nvPr/>
          </p:nvSpPr>
          <p:spPr bwMode="auto">
            <a:xfrm>
              <a:off x="213239" y="4669976"/>
              <a:ext cx="27" cy="20"/>
            </a:xfrm>
            <a:custGeom>
              <a:avLst/>
              <a:gdLst>
                <a:gd name="T0" fmla="*/ 39 w 39"/>
                <a:gd name="T1" fmla="*/ 0 h 31"/>
                <a:gd name="T2" fmla="*/ 20 w 39"/>
                <a:gd name="T3" fmla="*/ 0 h 31"/>
                <a:gd name="T4" fmla="*/ 0 w 39"/>
                <a:gd name="T5" fmla="*/ 21 h 31"/>
                <a:gd name="T6" fmla="*/ 10 w 39"/>
                <a:gd name="T7" fmla="*/ 31 h 31"/>
                <a:gd name="T8" fmla="*/ 29 w 39"/>
                <a:gd name="T9" fmla="*/ 31 h 31"/>
                <a:gd name="T10" fmla="*/ 39 w 39"/>
                <a:gd name="T11" fmla="*/ 0 h 31"/>
              </a:gdLst>
              <a:ahLst/>
              <a:cxnLst>
                <a:cxn ang="0">
                  <a:pos x="T0" y="T1"/>
                </a:cxn>
                <a:cxn ang="0">
                  <a:pos x="T2" y="T3"/>
                </a:cxn>
                <a:cxn ang="0">
                  <a:pos x="T4" y="T5"/>
                </a:cxn>
                <a:cxn ang="0">
                  <a:pos x="T6" y="T7"/>
                </a:cxn>
                <a:cxn ang="0">
                  <a:pos x="T8" y="T9"/>
                </a:cxn>
                <a:cxn ang="0">
                  <a:pos x="T10" y="T11"/>
                </a:cxn>
              </a:cxnLst>
              <a:rect l="0" t="0" r="r" b="b"/>
              <a:pathLst>
                <a:path w="39" h="31">
                  <a:moveTo>
                    <a:pt x="39" y="0"/>
                  </a:moveTo>
                  <a:lnTo>
                    <a:pt x="20" y="0"/>
                  </a:lnTo>
                  <a:lnTo>
                    <a:pt x="0" y="21"/>
                  </a:lnTo>
                  <a:lnTo>
                    <a:pt x="10" y="31"/>
                  </a:lnTo>
                  <a:lnTo>
                    <a:pt x="29" y="31"/>
                  </a:lnTo>
                  <a:lnTo>
                    <a:pt x="39"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8" name="Freeform 549"/>
            <p:cNvSpPr>
              <a:spLocks noChangeAspect="1"/>
            </p:cNvSpPr>
            <p:nvPr/>
          </p:nvSpPr>
          <p:spPr bwMode="auto">
            <a:xfrm>
              <a:off x="213316" y="4669928"/>
              <a:ext cx="62" cy="48"/>
            </a:xfrm>
            <a:custGeom>
              <a:avLst/>
              <a:gdLst>
                <a:gd name="T0" fmla="*/ 66 w 90"/>
                <a:gd name="T1" fmla="*/ 0 h 80"/>
                <a:gd name="T2" fmla="*/ 57 w 90"/>
                <a:gd name="T3" fmla="*/ 10 h 80"/>
                <a:gd name="T4" fmla="*/ 19 w 90"/>
                <a:gd name="T5" fmla="*/ 16 h 80"/>
                <a:gd name="T6" fmla="*/ 0 w 90"/>
                <a:gd name="T7" fmla="*/ 43 h 80"/>
                <a:gd name="T8" fmla="*/ 28 w 90"/>
                <a:gd name="T9" fmla="*/ 64 h 80"/>
                <a:gd name="T10" fmla="*/ 43 w 90"/>
                <a:gd name="T11" fmla="*/ 80 h 80"/>
                <a:gd name="T12" fmla="*/ 71 w 90"/>
                <a:gd name="T13" fmla="*/ 74 h 80"/>
                <a:gd name="T14" fmla="*/ 90 w 90"/>
                <a:gd name="T15" fmla="*/ 64 h 80"/>
                <a:gd name="T16" fmla="*/ 85 w 90"/>
                <a:gd name="T17" fmla="*/ 43 h 80"/>
                <a:gd name="T18" fmla="*/ 71 w 90"/>
                <a:gd name="T19" fmla="*/ 27 h 80"/>
                <a:gd name="T20" fmla="*/ 66 w 90"/>
                <a:gd name="T2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80">
                  <a:moveTo>
                    <a:pt x="66" y="0"/>
                  </a:moveTo>
                  <a:lnTo>
                    <a:pt x="57" y="10"/>
                  </a:lnTo>
                  <a:lnTo>
                    <a:pt x="19" y="16"/>
                  </a:lnTo>
                  <a:lnTo>
                    <a:pt x="0" y="43"/>
                  </a:lnTo>
                  <a:lnTo>
                    <a:pt x="28" y="64"/>
                  </a:lnTo>
                  <a:lnTo>
                    <a:pt x="43" y="80"/>
                  </a:lnTo>
                  <a:lnTo>
                    <a:pt x="71" y="74"/>
                  </a:lnTo>
                  <a:lnTo>
                    <a:pt x="90" y="64"/>
                  </a:lnTo>
                  <a:lnTo>
                    <a:pt x="85" y="43"/>
                  </a:lnTo>
                  <a:lnTo>
                    <a:pt x="71" y="27"/>
                  </a:lnTo>
                  <a:lnTo>
                    <a:pt x="66"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9" name="Freeform 550"/>
            <p:cNvSpPr>
              <a:spLocks noChangeAspect="1"/>
            </p:cNvSpPr>
            <p:nvPr/>
          </p:nvSpPr>
          <p:spPr bwMode="auto">
            <a:xfrm>
              <a:off x="213412" y="4669930"/>
              <a:ext cx="21" cy="26"/>
            </a:xfrm>
            <a:custGeom>
              <a:avLst/>
              <a:gdLst>
                <a:gd name="T0" fmla="*/ 19 w 29"/>
                <a:gd name="T1" fmla="*/ 0 h 41"/>
                <a:gd name="T2" fmla="*/ 0 w 29"/>
                <a:gd name="T3" fmla="*/ 10 h 41"/>
                <a:gd name="T4" fmla="*/ 16 w 29"/>
                <a:gd name="T5" fmla="*/ 25 h 41"/>
                <a:gd name="T6" fmla="*/ 29 w 29"/>
                <a:gd name="T7" fmla="*/ 41 h 41"/>
                <a:gd name="T8" fmla="*/ 19 w 29"/>
                <a:gd name="T9" fmla="*/ 0 h 41"/>
              </a:gdLst>
              <a:ahLst/>
              <a:cxnLst>
                <a:cxn ang="0">
                  <a:pos x="T0" y="T1"/>
                </a:cxn>
                <a:cxn ang="0">
                  <a:pos x="T2" y="T3"/>
                </a:cxn>
                <a:cxn ang="0">
                  <a:pos x="T4" y="T5"/>
                </a:cxn>
                <a:cxn ang="0">
                  <a:pos x="T6" y="T7"/>
                </a:cxn>
                <a:cxn ang="0">
                  <a:pos x="T8" y="T9"/>
                </a:cxn>
              </a:cxnLst>
              <a:rect l="0" t="0" r="r" b="b"/>
              <a:pathLst>
                <a:path w="29" h="41">
                  <a:moveTo>
                    <a:pt x="19" y="0"/>
                  </a:moveTo>
                  <a:lnTo>
                    <a:pt x="0" y="10"/>
                  </a:lnTo>
                  <a:lnTo>
                    <a:pt x="16" y="25"/>
                  </a:lnTo>
                  <a:lnTo>
                    <a:pt x="29" y="41"/>
                  </a:lnTo>
                  <a:lnTo>
                    <a:pt x="19"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80" name="Freeform 551"/>
            <p:cNvSpPr>
              <a:spLocks noChangeAspect="1"/>
            </p:cNvSpPr>
            <p:nvPr/>
          </p:nvSpPr>
          <p:spPr bwMode="auto">
            <a:xfrm>
              <a:off x="212709" y="4669452"/>
              <a:ext cx="696" cy="631"/>
            </a:xfrm>
            <a:custGeom>
              <a:avLst/>
              <a:gdLst>
                <a:gd name="T0" fmla="*/ 46 w 1024"/>
                <a:gd name="T1" fmla="*/ 185 h 1020"/>
                <a:gd name="T2" fmla="*/ 79 w 1024"/>
                <a:gd name="T3" fmla="*/ 111 h 1020"/>
                <a:gd name="T4" fmla="*/ 71 w 1024"/>
                <a:gd name="T5" fmla="*/ 84 h 1020"/>
                <a:gd name="T6" fmla="*/ 55 w 1024"/>
                <a:gd name="T7" fmla="*/ 59 h 1020"/>
                <a:gd name="T8" fmla="*/ 112 w 1024"/>
                <a:gd name="T9" fmla="*/ 27 h 1020"/>
                <a:gd name="T10" fmla="*/ 154 w 1024"/>
                <a:gd name="T11" fmla="*/ 16 h 1020"/>
                <a:gd name="T12" fmla="*/ 197 w 1024"/>
                <a:gd name="T13" fmla="*/ 6 h 1020"/>
                <a:gd name="T14" fmla="*/ 281 w 1024"/>
                <a:gd name="T15" fmla="*/ 80 h 1020"/>
                <a:gd name="T16" fmla="*/ 340 w 1024"/>
                <a:gd name="T17" fmla="*/ 84 h 1020"/>
                <a:gd name="T18" fmla="*/ 504 w 1024"/>
                <a:gd name="T19" fmla="*/ 170 h 1020"/>
                <a:gd name="T20" fmla="*/ 573 w 1024"/>
                <a:gd name="T21" fmla="*/ 190 h 1020"/>
                <a:gd name="T22" fmla="*/ 621 w 1024"/>
                <a:gd name="T23" fmla="*/ 232 h 1020"/>
                <a:gd name="T24" fmla="*/ 668 w 1024"/>
                <a:gd name="T25" fmla="*/ 238 h 1020"/>
                <a:gd name="T26" fmla="*/ 668 w 1024"/>
                <a:gd name="T27" fmla="*/ 264 h 1020"/>
                <a:gd name="T28" fmla="*/ 743 w 1024"/>
                <a:gd name="T29" fmla="*/ 343 h 1020"/>
                <a:gd name="T30" fmla="*/ 804 w 1024"/>
                <a:gd name="T31" fmla="*/ 374 h 1020"/>
                <a:gd name="T32" fmla="*/ 898 w 1024"/>
                <a:gd name="T33" fmla="*/ 406 h 1020"/>
                <a:gd name="T34" fmla="*/ 917 w 1024"/>
                <a:gd name="T35" fmla="*/ 443 h 1020"/>
                <a:gd name="T36" fmla="*/ 953 w 1024"/>
                <a:gd name="T37" fmla="*/ 458 h 1020"/>
                <a:gd name="T38" fmla="*/ 991 w 1024"/>
                <a:gd name="T39" fmla="*/ 458 h 1020"/>
                <a:gd name="T40" fmla="*/ 1015 w 1024"/>
                <a:gd name="T41" fmla="*/ 458 h 1020"/>
                <a:gd name="T42" fmla="*/ 1024 w 1024"/>
                <a:gd name="T43" fmla="*/ 507 h 1020"/>
                <a:gd name="T44" fmla="*/ 936 w 1024"/>
                <a:gd name="T45" fmla="*/ 584 h 1020"/>
                <a:gd name="T46" fmla="*/ 809 w 1024"/>
                <a:gd name="T47" fmla="*/ 609 h 1020"/>
                <a:gd name="T48" fmla="*/ 776 w 1024"/>
                <a:gd name="T49" fmla="*/ 646 h 1020"/>
                <a:gd name="T50" fmla="*/ 738 w 1024"/>
                <a:gd name="T51" fmla="*/ 662 h 1020"/>
                <a:gd name="T52" fmla="*/ 700 w 1024"/>
                <a:gd name="T53" fmla="*/ 709 h 1020"/>
                <a:gd name="T54" fmla="*/ 658 w 1024"/>
                <a:gd name="T55" fmla="*/ 741 h 1020"/>
                <a:gd name="T56" fmla="*/ 672 w 1024"/>
                <a:gd name="T57" fmla="*/ 798 h 1020"/>
                <a:gd name="T58" fmla="*/ 677 w 1024"/>
                <a:gd name="T59" fmla="*/ 841 h 1020"/>
                <a:gd name="T60" fmla="*/ 653 w 1024"/>
                <a:gd name="T61" fmla="*/ 857 h 1020"/>
                <a:gd name="T62" fmla="*/ 589 w 1024"/>
                <a:gd name="T63" fmla="*/ 921 h 1020"/>
                <a:gd name="T64" fmla="*/ 564 w 1024"/>
                <a:gd name="T65" fmla="*/ 946 h 1020"/>
                <a:gd name="T66" fmla="*/ 523 w 1024"/>
                <a:gd name="T67" fmla="*/ 962 h 1020"/>
                <a:gd name="T68" fmla="*/ 480 w 1024"/>
                <a:gd name="T69" fmla="*/ 973 h 1020"/>
                <a:gd name="T70" fmla="*/ 457 w 1024"/>
                <a:gd name="T71" fmla="*/ 1005 h 1020"/>
                <a:gd name="T72" fmla="*/ 419 w 1024"/>
                <a:gd name="T73" fmla="*/ 1015 h 1020"/>
                <a:gd name="T74" fmla="*/ 344 w 1024"/>
                <a:gd name="T75" fmla="*/ 1005 h 1020"/>
                <a:gd name="T76" fmla="*/ 229 w 1024"/>
                <a:gd name="T77" fmla="*/ 962 h 1020"/>
                <a:gd name="T78" fmla="*/ 173 w 1024"/>
                <a:gd name="T79" fmla="*/ 989 h 1020"/>
                <a:gd name="T80" fmla="*/ 121 w 1024"/>
                <a:gd name="T81" fmla="*/ 1010 h 1020"/>
                <a:gd name="T82" fmla="*/ 55 w 1024"/>
                <a:gd name="T83" fmla="*/ 958 h 1020"/>
                <a:gd name="T84" fmla="*/ 33 w 1024"/>
                <a:gd name="T85" fmla="*/ 835 h 1020"/>
                <a:gd name="T86" fmla="*/ 0 w 1024"/>
                <a:gd name="T87" fmla="*/ 794 h 1020"/>
                <a:gd name="T88" fmla="*/ 14 w 1024"/>
                <a:gd name="T89" fmla="*/ 746 h 1020"/>
                <a:gd name="T90" fmla="*/ 60 w 1024"/>
                <a:gd name="T91" fmla="*/ 720 h 1020"/>
                <a:gd name="T92" fmla="*/ 41 w 1024"/>
                <a:gd name="T93" fmla="*/ 662 h 1020"/>
                <a:gd name="T94" fmla="*/ 84 w 1024"/>
                <a:gd name="T95" fmla="*/ 599 h 1020"/>
                <a:gd name="T96" fmla="*/ 74 w 1024"/>
                <a:gd name="T97" fmla="*/ 554 h 1020"/>
                <a:gd name="T98" fmla="*/ 88 w 1024"/>
                <a:gd name="T99" fmla="*/ 512 h 1020"/>
                <a:gd name="T100" fmla="*/ 112 w 1024"/>
                <a:gd name="T101" fmla="*/ 528 h 1020"/>
                <a:gd name="T102" fmla="*/ 131 w 1024"/>
                <a:gd name="T103" fmla="*/ 448 h 1020"/>
                <a:gd name="T104" fmla="*/ 168 w 1024"/>
                <a:gd name="T105" fmla="*/ 390 h 1020"/>
                <a:gd name="T106" fmla="*/ 206 w 1024"/>
                <a:gd name="T107" fmla="*/ 349 h 1020"/>
                <a:gd name="T108" fmla="*/ 244 w 1024"/>
                <a:gd name="T109" fmla="*/ 332 h 1020"/>
                <a:gd name="T110" fmla="*/ 201 w 1024"/>
                <a:gd name="T111" fmla="*/ 264 h 1020"/>
                <a:gd name="T112" fmla="*/ 164 w 1024"/>
                <a:gd name="T113" fmla="*/ 269 h 1020"/>
                <a:gd name="T114" fmla="*/ 117 w 1024"/>
                <a:gd name="T115" fmla="*/ 248 h 1020"/>
                <a:gd name="T116" fmla="*/ 98 w 1024"/>
                <a:gd name="T117" fmla="*/ 242 h 1020"/>
                <a:gd name="T118" fmla="*/ 84 w 1024"/>
                <a:gd name="T119" fmla="*/ 201 h 1020"/>
                <a:gd name="T120" fmla="*/ 52 w 1024"/>
                <a:gd name="T121" fmla="*/ 201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24" h="1020">
                  <a:moveTo>
                    <a:pt x="52" y="201"/>
                  </a:moveTo>
                  <a:lnTo>
                    <a:pt x="46" y="185"/>
                  </a:lnTo>
                  <a:lnTo>
                    <a:pt x="52" y="164"/>
                  </a:lnTo>
                  <a:lnTo>
                    <a:pt x="79" y="111"/>
                  </a:lnTo>
                  <a:lnTo>
                    <a:pt x="65" y="100"/>
                  </a:lnTo>
                  <a:lnTo>
                    <a:pt x="71" y="84"/>
                  </a:lnTo>
                  <a:lnTo>
                    <a:pt x="55" y="80"/>
                  </a:lnTo>
                  <a:lnTo>
                    <a:pt x="55" y="59"/>
                  </a:lnTo>
                  <a:lnTo>
                    <a:pt x="65" y="43"/>
                  </a:lnTo>
                  <a:lnTo>
                    <a:pt x="112" y="27"/>
                  </a:lnTo>
                  <a:lnTo>
                    <a:pt x="150" y="32"/>
                  </a:lnTo>
                  <a:lnTo>
                    <a:pt x="154" y="16"/>
                  </a:lnTo>
                  <a:lnTo>
                    <a:pt x="182" y="0"/>
                  </a:lnTo>
                  <a:lnTo>
                    <a:pt x="197" y="6"/>
                  </a:lnTo>
                  <a:lnTo>
                    <a:pt x="229" y="53"/>
                  </a:lnTo>
                  <a:lnTo>
                    <a:pt x="281" y="80"/>
                  </a:lnTo>
                  <a:lnTo>
                    <a:pt x="328" y="80"/>
                  </a:lnTo>
                  <a:lnTo>
                    <a:pt x="340" y="84"/>
                  </a:lnTo>
                  <a:lnTo>
                    <a:pt x="466" y="164"/>
                  </a:lnTo>
                  <a:lnTo>
                    <a:pt x="504" y="170"/>
                  </a:lnTo>
                  <a:lnTo>
                    <a:pt x="532" y="201"/>
                  </a:lnTo>
                  <a:lnTo>
                    <a:pt x="573" y="190"/>
                  </a:lnTo>
                  <a:lnTo>
                    <a:pt x="597" y="207"/>
                  </a:lnTo>
                  <a:lnTo>
                    <a:pt x="621" y="232"/>
                  </a:lnTo>
                  <a:lnTo>
                    <a:pt x="649" y="232"/>
                  </a:lnTo>
                  <a:lnTo>
                    <a:pt x="668" y="238"/>
                  </a:lnTo>
                  <a:lnTo>
                    <a:pt x="677" y="248"/>
                  </a:lnTo>
                  <a:lnTo>
                    <a:pt x="668" y="264"/>
                  </a:lnTo>
                  <a:lnTo>
                    <a:pt x="668" y="285"/>
                  </a:lnTo>
                  <a:lnTo>
                    <a:pt x="743" y="343"/>
                  </a:lnTo>
                  <a:lnTo>
                    <a:pt x="785" y="380"/>
                  </a:lnTo>
                  <a:lnTo>
                    <a:pt x="804" y="374"/>
                  </a:lnTo>
                  <a:lnTo>
                    <a:pt x="827" y="369"/>
                  </a:lnTo>
                  <a:lnTo>
                    <a:pt x="898" y="406"/>
                  </a:lnTo>
                  <a:lnTo>
                    <a:pt x="906" y="433"/>
                  </a:lnTo>
                  <a:lnTo>
                    <a:pt x="917" y="443"/>
                  </a:lnTo>
                  <a:lnTo>
                    <a:pt x="939" y="448"/>
                  </a:lnTo>
                  <a:lnTo>
                    <a:pt x="953" y="458"/>
                  </a:lnTo>
                  <a:lnTo>
                    <a:pt x="972" y="458"/>
                  </a:lnTo>
                  <a:lnTo>
                    <a:pt x="991" y="458"/>
                  </a:lnTo>
                  <a:lnTo>
                    <a:pt x="1010" y="464"/>
                  </a:lnTo>
                  <a:lnTo>
                    <a:pt x="1015" y="458"/>
                  </a:lnTo>
                  <a:lnTo>
                    <a:pt x="1024" y="480"/>
                  </a:lnTo>
                  <a:lnTo>
                    <a:pt x="1024" y="507"/>
                  </a:lnTo>
                  <a:lnTo>
                    <a:pt x="1010" y="522"/>
                  </a:lnTo>
                  <a:lnTo>
                    <a:pt x="936" y="584"/>
                  </a:lnTo>
                  <a:lnTo>
                    <a:pt x="903" y="584"/>
                  </a:lnTo>
                  <a:lnTo>
                    <a:pt x="809" y="609"/>
                  </a:lnTo>
                  <a:lnTo>
                    <a:pt x="776" y="615"/>
                  </a:lnTo>
                  <a:lnTo>
                    <a:pt x="776" y="646"/>
                  </a:lnTo>
                  <a:lnTo>
                    <a:pt x="757" y="646"/>
                  </a:lnTo>
                  <a:lnTo>
                    <a:pt x="738" y="662"/>
                  </a:lnTo>
                  <a:lnTo>
                    <a:pt x="719" y="689"/>
                  </a:lnTo>
                  <a:lnTo>
                    <a:pt x="700" y="709"/>
                  </a:lnTo>
                  <a:lnTo>
                    <a:pt x="677" y="714"/>
                  </a:lnTo>
                  <a:lnTo>
                    <a:pt x="658" y="741"/>
                  </a:lnTo>
                  <a:lnTo>
                    <a:pt x="658" y="778"/>
                  </a:lnTo>
                  <a:lnTo>
                    <a:pt x="672" y="798"/>
                  </a:lnTo>
                  <a:lnTo>
                    <a:pt x="677" y="814"/>
                  </a:lnTo>
                  <a:lnTo>
                    <a:pt x="677" y="841"/>
                  </a:lnTo>
                  <a:lnTo>
                    <a:pt x="672" y="851"/>
                  </a:lnTo>
                  <a:lnTo>
                    <a:pt x="653" y="857"/>
                  </a:lnTo>
                  <a:lnTo>
                    <a:pt x="625" y="884"/>
                  </a:lnTo>
                  <a:lnTo>
                    <a:pt x="589" y="921"/>
                  </a:lnTo>
                  <a:lnTo>
                    <a:pt x="573" y="936"/>
                  </a:lnTo>
                  <a:lnTo>
                    <a:pt x="564" y="946"/>
                  </a:lnTo>
                  <a:lnTo>
                    <a:pt x="564" y="962"/>
                  </a:lnTo>
                  <a:lnTo>
                    <a:pt x="523" y="962"/>
                  </a:lnTo>
                  <a:lnTo>
                    <a:pt x="499" y="968"/>
                  </a:lnTo>
                  <a:lnTo>
                    <a:pt x="480" y="973"/>
                  </a:lnTo>
                  <a:lnTo>
                    <a:pt x="471" y="983"/>
                  </a:lnTo>
                  <a:lnTo>
                    <a:pt x="457" y="1005"/>
                  </a:lnTo>
                  <a:lnTo>
                    <a:pt x="433" y="1015"/>
                  </a:lnTo>
                  <a:lnTo>
                    <a:pt x="419" y="1015"/>
                  </a:lnTo>
                  <a:lnTo>
                    <a:pt x="391" y="1010"/>
                  </a:lnTo>
                  <a:lnTo>
                    <a:pt x="344" y="1005"/>
                  </a:lnTo>
                  <a:lnTo>
                    <a:pt x="262" y="968"/>
                  </a:lnTo>
                  <a:lnTo>
                    <a:pt x="229" y="962"/>
                  </a:lnTo>
                  <a:lnTo>
                    <a:pt x="197" y="973"/>
                  </a:lnTo>
                  <a:lnTo>
                    <a:pt x="173" y="989"/>
                  </a:lnTo>
                  <a:lnTo>
                    <a:pt x="145" y="993"/>
                  </a:lnTo>
                  <a:lnTo>
                    <a:pt x="121" y="1010"/>
                  </a:lnTo>
                  <a:lnTo>
                    <a:pt x="107" y="1020"/>
                  </a:lnTo>
                  <a:lnTo>
                    <a:pt x="55" y="958"/>
                  </a:lnTo>
                  <a:lnTo>
                    <a:pt x="55" y="868"/>
                  </a:lnTo>
                  <a:lnTo>
                    <a:pt x="33" y="835"/>
                  </a:lnTo>
                  <a:lnTo>
                    <a:pt x="5" y="810"/>
                  </a:lnTo>
                  <a:lnTo>
                    <a:pt x="0" y="794"/>
                  </a:lnTo>
                  <a:lnTo>
                    <a:pt x="0" y="761"/>
                  </a:lnTo>
                  <a:lnTo>
                    <a:pt x="14" y="746"/>
                  </a:lnTo>
                  <a:lnTo>
                    <a:pt x="52" y="730"/>
                  </a:lnTo>
                  <a:lnTo>
                    <a:pt x="60" y="720"/>
                  </a:lnTo>
                  <a:lnTo>
                    <a:pt x="46" y="699"/>
                  </a:lnTo>
                  <a:lnTo>
                    <a:pt x="41" y="662"/>
                  </a:lnTo>
                  <a:lnTo>
                    <a:pt x="55" y="630"/>
                  </a:lnTo>
                  <a:lnTo>
                    <a:pt x="84" y="599"/>
                  </a:lnTo>
                  <a:lnTo>
                    <a:pt x="84" y="575"/>
                  </a:lnTo>
                  <a:lnTo>
                    <a:pt x="74" y="554"/>
                  </a:lnTo>
                  <a:lnTo>
                    <a:pt x="84" y="517"/>
                  </a:lnTo>
                  <a:lnTo>
                    <a:pt x="88" y="512"/>
                  </a:lnTo>
                  <a:lnTo>
                    <a:pt x="102" y="512"/>
                  </a:lnTo>
                  <a:lnTo>
                    <a:pt x="112" y="528"/>
                  </a:lnTo>
                  <a:lnTo>
                    <a:pt x="126" y="507"/>
                  </a:lnTo>
                  <a:lnTo>
                    <a:pt x="131" y="448"/>
                  </a:lnTo>
                  <a:lnTo>
                    <a:pt x="168" y="411"/>
                  </a:lnTo>
                  <a:lnTo>
                    <a:pt x="168" y="390"/>
                  </a:lnTo>
                  <a:lnTo>
                    <a:pt x="168" y="374"/>
                  </a:lnTo>
                  <a:lnTo>
                    <a:pt x="206" y="349"/>
                  </a:lnTo>
                  <a:lnTo>
                    <a:pt x="234" y="343"/>
                  </a:lnTo>
                  <a:lnTo>
                    <a:pt x="244" y="332"/>
                  </a:lnTo>
                  <a:lnTo>
                    <a:pt x="220" y="306"/>
                  </a:lnTo>
                  <a:lnTo>
                    <a:pt x="201" y="264"/>
                  </a:lnTo>
                  <a:lnTo>
                    <a:pt x="192" y="254"/>
                  </a:lnTo>
                  <a:lnTo>
                    <a:pt x="164" y="269"/>
                  </a:lnTo>
                  <a:lnTo>
                    <a:pt x="145" y="259"/>
                  </a:lnTo>
                  <a:lnTo>
                    <a:pt x="117" y="248"/>
                  </a:lnTo>
                  <a:lnTo>
                    <a:pt x="107" y="254"/>
                  </a:lnTo>
                  <a:lnTo>
                    <a:pt x="98" y="242"/>
                  </a:lnTo>
                  <a:lnTo>
                    <a:pt x="98" y="222"/>
                  </a:lnTo>
                  <a:lnTo>
                    <a:pt x="84" y="201"/>
                  </a:lnTo>
                  <a:lnTo>
                    <a:pt x="74" y="195"/>
                  </a:lnTo>
                  <a:lnTo>
                    <a:pt x="52" y="201"/>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grpSp>
        <p:nvGrpSpPr>
          <p:cNvPr id="33" name="IT"/>
          <p:cNvGrpSpPr>
            <a:grpSpLocks/>
          </p:cNvGrpSpPr>
          <p:nvPr/>
        </p:nvGrpSpPr>
        <p:grpSpPr bwMode="auto">
          <a:xfrm>
            <a:off x="5286549" y="4381647"/>
            <a:ext cx="1374773" cy="1579562"/>
            <a:chOff x="2243131" y="4710790"/>
            <a:chExt cx="631" cy="817"/>
          </a:xfrm>
          <a:solidFill>
            <a:srgbClr val="FAFAFA"/>
          </a:solidFill>
          <a:effectLst/>
        </p:grpSpPr>
        <p:sp>
          <p:nvSpPr>
            <p:cNvPr id="74" name="Freeform 545"/>
            <p:cNvSpPr>
              <a:spLocks noChangeAspect="1"/>
            </p:cNvSpPr>
            <p:nvPr/>
          </p:nvSpPr>
          <p:spPr bwMode="auto">
            <a:xfrm>
              <a:off x="2243153" y="4711222"/>
              <a:ext cx="100" cy="168"/>
            </a:xfrm>
            <a:custGeom>
              <a:avLst/>
              <a:gdLst>
                <a:gd name="T0" fmla="*/ 89 w 150"/>
                <a:gd name="T1" fmla="*/ 0 h 275"/>
                <a:gd name="T2" fmla="*/ 66 w 150"/>
                <a:gd name="T3" fmla="*/ 16 h 275"/>
                <a:gd name="T4" fmla="*/ 47 w 150"/>
                <a:gd name="T5" fmla="*/ 31 h 275"/>
                <a:gd name="T6" fmla="*/ 28 w 150"/>
                <a:gd name="T7" fmla="*/ 37 h 275"/>
                <a:gd name="T8" fmla="*/ 0 w 150"/>
                <a:gd name="T9" fmla="*/ 31 h 275"/>
                <a:gd name="T10" fmla="*/ 5 w 150"/>
                <a:gd name="T11" fmla="*/ 64 h 275"/>
                <a:gd name="T12" fmla="*/ 19 w 150"/>
                <a:gd name="T13" fmla="*/ 84 h 275"/>
                <a:gd name="T14" fmla="*/ 14 w 150"/>
                <a:gd name="T15" fmla="*/ 138 h 275"/>
                <a:gd name="T16" fmla="*/ 14 w 150"/>
                <a:gd name="T17" fmla="*/ 164 h 275"/>
                <a:gd name="T18" fmla="*/ 19 w 150"/>
                <a:gd name="T19" fmla="*/ 185 h 275"/>
                <a:gd name="T20" fmla="*/ 5 w 150"/>
                <a:gd name="T21" fmla="*/ 228 h 275"/>
                <a:gd name="T22" fmla="*/ 9 w 150"/>
                <a:gd name="T23" fmla="*/ 259 h 275"/>
                <a:gd name="T24" fmla="*/ 28 w 150"/>
                <a:gd name="T25" fmla="*/ 275 h 275"/>
                <a:gd name="T26" fmla="*/ 56 w 150"/>
                <a:gd name="T27" fmla="*/ 253 h 275"/>
                <a:gd name="T28" fmla="*/ 66 w 150"/>
                <a:gd name="T29" fmla="*/ 248 h 275"/>
                <a:gd name="T30" fmla="*/ 94 w 150"/>
                <a:gd name="T31" fmla="*/ 253 h 275"/>
                <a:gd name="T32" fmla="*/ 113 w 150"/>
                <a:gd name="T33" fmla="*/ 232 h 275"/>
                <a:gd name="T34" fmla="*/ 113 w 150"/>
                <a:gd name="T35" fmla="*/ 211 h 275"/>
                <a:gd name="T36" fmla="*/ 136 w 150"/>
                <a:gd name="T37" fmla="*/ 169 h 275"/>
                <a:gd name="T38" fmla="*/ 145 w 150"/>
                <a:gd name="T39" fmla="*/ 142 h 275"/>
                <a:gd name="T40" fmla="*/ 136 w 150"/>
                <a:gd name="T41" fmla="*/ 117 h 275"/>
                <a:gd name="T42" fmla="*/ 150 w 150"/>
                <a:gd name="T43" fmla="*/ 84 h 275"/>
                <a:gd name="T44" fmla="*/ 141 w 150"/>
                <a:gd name="T45" fmla="*/ 37 h 275"/>
                <a:gd name="T46" fmla="*/ 136 w 150"/>
                <a:gd name="T47" fmla="*/ 10 h 275"/>
                <a:gd name="T48" fmla="*/ 89 w 150"/>
                <a:gd name="T49"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0" h="275">
                  <a:moveTo>
                    <a:pt x="89" y="0"/>
                  </a:moveTo>
                  <a:lnTo>
                    <a:pt x="66" y="16"/>
                  </a:lnTo>
                  <a:lnTo>
                    <a:pt x="47" y="31"/>
                  </a:lnTo>
                  <a:lnTo>
                    <a:pt x="28" y="37"/>
                  </a:lnTo>
                  <a:lnTo>
                    <a:pt x="0" y="31"/>
                  </a:lnTo>
                  <a:lnTo>
                    <a:pt x="5" y="64"/>
                  </a:lnTo>
                  <a:lnTo>
                    <a:pt x="19" y="84"/>
                  </a:lnTo>
                  <a:lnTo>
                    <a:pt x="14" y="138"/>
                  </a:lnTo>
                  <a:lnTo>
                    <a:pt x="14" y="164"/>
                  </a:lnTo>
                  <a:lnTo>
                    <a:pt x="19" y="185"/>
                  </a:lnTo>
                  <a:lnTo>
                    <a:pt x="5" y="228"/>
                  </a:lnTo>
                  <a:lnTo>
                    <a:pt x="9" y="259"/>
                  </a:lnTo>
                  <a:lnTo>
                    <a:pt x="28" y="275"/>
                  </a:lnTo>
                  <a:lnTo>
                    <a:pt x="56" y="253"/>
                  </a:lnTo>
                  <a:lnTo>
                    <a:pt x="66" y="248"/>
                  </a:lnTo>
                  <a:lnTo>
                    <a:pt x="94" y="253"/>
                  </a:lnTo>
                  <a:lnTo>
                    <a:pt x="113" y="232"/>
                  </a:lnTo>
                  <a:lnTo>
                    <a:pt x="113" y="211"/>
                  </a:lnTo>
                  <a:lnTo>
                    <a:pt x="136" y="169"/>
                  </a:lnTo>
                  <a:lnTo>
                    <a:pt x="145" y="142"/>
                  </a:lnTo>
                  <a:lnTo>
                    <a:pt x="136" y="117"/>
                  </a:lnTo>
                  <a:lnTo>
                    <a:pt x="150" y="84"/>
                  </a:lnTo>
                  <a:lnTo>
                    <a:pt x="141" y="37"/>
                  </a:lnTo>
                  <a:lnTo>
                    <a:pt x="136" y="10"/>
                  </a:lnTo>
                  <a:lnTo>
                    <a:pt x="89"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5" name="Freeform 546"/>
            <p:cNvSpPr>
              <a:spLocks noChangeAspect="1"/>
            </p:cNvSpPr>
            <p:nvPr/>
          </p:nvSpPr>
          <p:spPr bwMode="auto">
            <a:xfrm>
              <a:off x="2243388" y="4711487"/>
              <a:ext cx="184" cy="120"/>
            </a:xfrm>
            <a:custGeom>
              <a:avLst/>
              <a:gdLst>
                <a:gd name="T0" fmla="*/ 260 w 274"/>
                <a:gd name="T1" fmla="*/ 0 h 194"/>
                <a:gd name="T2" fmla="*/ 274 w 274"/>
                <a:gd name="T3" fmla="*/ 16 h 194"/>
                <a:gd name="T4" fmla="*/ 265 w 274"/>
                <a:gd name="T5" fmla="*/ 32 h 194"/>
                <a:gd name="T6" fmla="*/ 255 w 274"/>
                <a:gd name="T7" fmla="*/ 57 h 194"/>
                <a:gd name="T8" fmla="*/ 241 w 274"/>
                <a:gd name="T9" fmla="*/ 73 h 194"/>
                <a:gd name="T10" fmla="*/ 246 w 274"/>
                <a:gd name="T11" fmla="*/ 121 h 194"/>
                <a:gd name="T12" fmla="*/ 255 w 274"/>
                <a:gd name="T13" fmla="*/ 157 h 194"/>
                <a:gd name="T14" fmla="*/ 231 w 274"/>
                <a:gd name="T15" fmla="*/ 172 h 194"/>
                <a:gd name="T16" fmla="*/ 227 w 274"/>
                <a:gd name="T17" fmla="*/ 188 h 194"/>
                <a:gd name="T18" fmla="*/ 208 w 274"/>
                <a:gd name="T19" fmla="*/ 194 h 194"/>
                <a:gd name="T20" fmla="*/ 180 w 274"/>
                <a:gd name="T21" fmla="*/ 162 h 194"/>
                <a:gd name="T22" fmla="*/ 161 w 274"/>
                <a:gd name="T23" fmla="*/ 162 h 194"/>
                <a:gd name="T24" fmla="*/ 146 w 274"/>
                <a:gd name="T25" fmla="*/ 137 h 194"/>
                <a:gd name="T26" fmla="*/ 118 w 274"/>
                <a:gd name="T27" fmla="*/ 121 h 194"/>
                <a:gd name="T28" fmla="*/ 99 w 274"/>
                <a:gd name="T29" fmla="*/ 115 h 194"/>
                <a:gd name="T30" fmla="*/ 80 w 274"/>
                <a:gd name="T31" fmla="*/ 105 h 194"/>
                <a:gd name="T32" fmla="*/ 61 w 274"/>
                <a:gd name="T33" fmla="*/ 88 h 194"/>
                <a:gd name="T34" fmla="*/ 28 w 274"/>
                <a:gd name="T35" fmla="*/ 63 h 194"/>
                <a:gd name="T36" fmla="*/ 14 w 274"/>
                <a:gd name="T37" fmla="*/ 57 h 194"/>
                <a:gd name="T38" fmla="*/ 0 w 274"/>
                <a:gd name="T39" fmla="*/ 41 h 194"/>
                <a:gd name="T40" fmla="*/ 0 w 274"/>
                <a:gd name="T41" fmla="*/ 22 h 194"/>
                <a:gd name="T42" fmla="*/ 5 w 274"/>
                <a:gd name="T43" fmla="*/ 6 h 194"/>
                <a:gd name="T44" fmla="*/ 33 w 274"/>
                <a:gd name="T45" fmla="*/ 10 h 194"/>
                <a:gd name="T46" fmla="*/ 76 w 274"/>
                <a:gd name="T47" fmla="*/ 10 h 194"/>
                <a:gd name="T48" fmla="*/ 85 w 274"/>
                <a:gd name="T49" fmla="*/ 26 h 194"/>
                <a:gd name="T50" fmla="*/ 132 w 274"/>
                <a:gd name="T51" fmla="*/ 26 h 194"/>
                <a:gd name="T52" fmla="*/ 165 w 274"/>
                <a:gd name="T53" fmla="*/ 26 h 194"/>
                <a:gd name="T54" fmla="*/ 208 w 274"/>
                <a:gd name="T55" fmla="*/ 16 h 194"/>
                <a:gd name="T56" fmla="*/ 260 w 274"/>
                <a:gd name="T57"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4" h="194">
                  <a:moveTo>
                    <a:pt x="260" y="0"/>
                  </a:moveTo>
                  <a:lnTo>
                    <a:pt x="274" y="16"/>
                  </a:lnTo>
                  <a:lnTo>
                    <a:pt x="265" y="32"/>
                  </a:lnTo>
                  <a:lnTo>
                    <a:pt x="255" y="57"/>
                  </a:lnTo>
                  <a:lnTo>
                    <a:pt x="241" y="73"/>
                  </a:lnTo>
                  <a:lnTo>
                    <a:pt x="246" y="121"/>
                  </a:lnTo>
                  <a:lnTo>
                    <a:pt x="255" y="157"/>
                  </a:lnTo>
                  <a:lnTo>
                    <a:pt x="231" y="172"/>
                  </a:lnTo>
                  <a:lnTo>
                    <a:pt x="227" y="188"/>
                  </a:lnTo>
                  <a:lnTo>
                    <a:pt x="208" y="194"/>
                  </a:lnTo>
                  <a:lnTo>
                    <a:pt x="180" y="162"/>
                  </a:lnTo>
                  <a:lnTo>
                    <a:pt x="161" y="162"/>
                  </a:lnTo>
                  <a:lnTo>
                    <a:pt x="146" y="137"/>
                  </a:lnTo>
                  <a:lnTo>
                    <a:pt x="118" y="121"/>
                  </a:lnTo>
                  <a:lnTo>
                    <a:pt x="99" y="115"/>
                  </a:lnTo>
                  <a:lnTo>
                    <a:pt x="80" y="105"/>
                  </a:lnTo>
                  <a:lnTo>
                    <a:pt x="61" y="88"/>
                  </a:lnTo>
                  <a:lnTo>
                    <a:pt x="28" y="63"/>
                  </a:lnTo>
                  <a:lnTo>
                    <a:pt x="14" y="57"/>
                  </a:lnTo>
                  <a:lnTo>
                    <a:pt x="0" y="41"/>
                  </a:lnTo>
                  <a:lnTo>
                    <a:pt x="0" y="22"/>
                  </a:lnTo>
                  <a:lnTo>
                    <a:pt x="5" y="6"/>
                  </a:lnTo>
                  <a:lnTo>
                    <a:pt x="33" y="10"/>
                  </a:lnTo>
                  <a:lnTo>
                    <a:pt x="76" y="10"/>
                  </a:lnTo>
                  <a:lnTo>
                    <a:pt x="85" y="26"/>
                  </a:lnTo>
                  <a:lnTo>
                    <a:pt x="132" y="26"/>
                  </a:lnTo>
                  <a:lnTo>
                    <a:pt x="165" y="26"/>
                  </a:lnTo>
                  <a:lnTo>
                    <a:pt x="208" y="16"/>
                  </a:lnTo>
                  <a:lnTo>
                    <a:pt x="260"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6" name="Freeform 547"/>
            <p:cNvSpPr>
              <a:spLocks noChangeAspect="1"/>
            </p:cNvSpPr>
            <p:nvPr/>
          </p:nvSpPr>
          <p:spPr bwMode="auto">
            <a:xfrm>
              <a:off x="2243131" y="4710790"/>
              <a:ext cx="631" cy="730"/>
            </a:xfrm>
            <a:custGeom>
              <a:avLst/>
              <a:gdLst>
                <a:gd name="T0" fmla="*/ 713 w 931"/>
                <a:gd name="T1" fmla="*/ 1163 h 1179"/>
                <a:gd name="T2" fmla="*/ 769 w 931"/>
                <a:gd name="T3" fmla="*/ 1052 h 1179"/>
                <a:gd name="T4" fmla="*/ 793 w 931"/>
                <a:gd name="T5" fmla="*/ 1015 h 1179"/>
                <a:gd name="T6" fmla="*/ 774 w 931"/>
                <a:gd name="T7" fmla="*/ 963 h 1179"/>
                <a:gd name="T8" fmla="*/ 751 w 931"/>
                <a:gd name="T9" fmla="*/ 957 h 1179"/>
                <a:gd name="T10" fmla="*/ 769 w 931"/>
                <a:gd name="T11" fmla="*/ 916 h 1179"/>
                <a:gd name="T12" fmla="*/ 798 w 931"/>
                <a:gd name="T13" fmla="*/ 857 h 1179"/>
                <a:gd name="T14" fmla="*/ 887 w 931"/>
                <a:gd name="T15" fmla="*/ 926 h 1179"/>
                <a:gd name="T16" fmla="*/ 924 w 931"/>
                <a:gd name="T17" fmla="*/ 926 h 1179"/>
                <a:gd name="T18" fmla="*/ 896 w 931"/>
                <a:gd name="T19" fmla="*/ 846 h 1179"/>
                <a:gd name="T20" fmla="*/ 868 w 931"/>
                <a:gd name="T21" fmla="*/ 842 h 1179"/>
                <a:gd name="T22" fmla="*/ 769 w 931"/>
                <a:gd name="T23" fmla="*/ 752 h 1179"/>
                <a:gd name="T24" fmla="*/ 708 w 931"/>
                <a:gd name="T25" fmla="*/ 704 h 1179"/>
                <a:gd name="T26" fmla="*/ 713 w 931"/>
                <a:gd name="T27" fmla="*/ 672 h 1179"/>
                <a:gd name="T28" fmla="*/ 620 w 931"/>
                <a:gd name="T29" fmla="*/ 624 h 1179"/>
                <a:gd name="T30" fmla="*/ 578 w 931"/>
                <a:gd name="T31" fmla="*/ 583 h 1179"/>
                <a:gd name="T32" fmla="*/ 479 w 931"/>
                <a:gd name="T33" fmla="*/ 416 h 1179"/>
                <a:gd name="T34" fmla="*/ 460 w 931"/>
                <a:gd name="T35" fmla="*/ 284 h 1179"/>
                <a:gd name="T36" fmla="*/ 432 w 931"/>
                <a:gd name="T37" fmla="*/ 232 h 1179"/>
                <a:gd name="T38" fmla="*/ 512 w 931"/>
                <a:gd name="T39" fmla="*/ 190 h 1179"/>
                <a:gd name="T40" fmla="*/ 549 w 931"/>
                <a:gd name="T41" fmla="*/ 99 h 1179"/>
                <a:gd name="T42" fmla="*/ 465 w 931"/>
                <a:gd name="T43" fmla="*/ 58 h 1179"/>
                <a:gd name="T44" fmla="*/ 451 w 931"/>
                <a:gd name="T45" fmla="*/ 21 h 1179"/>
                <a:gd name="T46" fmla="*/ 334 w 931"/>
                <a:gd name="T47" fmla="*/ 5 h 1179"/>
                <a:gd name="T48" fmla="*/ 278 w 931"/>
                <a:gd name="T49" fmla="*/ 74 h 1179"/>
                <a:gd name="T50" fmla="*/ 230 w 931"/>
                <a:gd name="T51" fmla="*/ 68 h 1179"/>
                <a:gd name="T52" fmla="*/ 169 w 931"/>
                <a:gd name="T53" fmla="*/ 89 h 1179"/>
                <a:gd name="T54" fmla="*/ 146 w 931"/>
                <a:gd name="T55" fmla="*/ 42 h 1179"/>
                <a:gd name="T56" fmla="*/ 113 w 931"/>
                <a:gd name="T57" fmla="*/ 84 h 1179"/>
                <a:gd name="T58" fmla="*/ 28 w 931"/>
                <a:gd name="T59" fmla="*/ 121 h 1179"/>
                <a:gd name="T60" fmla="*/ 9 w 931"/>
                <a:gd name="T61" fmla="*/ 195 h 1179"/>
                <a:gd name="T62" fmla="*/ 0 w 931"/>
                <a:gd name="T63" fmla="*/ 268 h 1179"/>
                <a:gd name="T64" fmla="*/ 38 w 931"/>
                <a:gd name="T65" fmla="*/ 296 h 1179"/>
                <a:gd name="T66" fmla="*/ 66 w 931"/>
                <a:gd name="T67" fmla="*/ 354 h 1179"/>
                <a:gd name="T68" fmla="*/ 155 w 931"/>
                <a:gd name="T69" fmla="*/ 300 h 1179"/>
                <a:gd name="T70" fmla="*/ 240 w 931"/>
                <a:gd name="T71" fmla="*/ 385 h 1179"/>
                <a:gd name="T72" fmla="*/ 278 w 931"/>
                <a:gd name="T73" fmla="*/ 500 h 1179"/>
                <a:gd name="T74" fmla="*/ 342 w 931"/>
                <a:gd name="T75" fmla="*/ 563 h 1179"/>
                <a:gd name="T76" fmla="*/ 427 w 931"/>
                <a:gd name="T77" fmla="*/ 678 h 1179"/>
                <a:gd name="T78" fmla="*/ 559 w 931"/>
                <a:gd name="T79" fmla="*/ 788 h 1179"/>
                <a:gd name="T80" fmla="*/ 601 w 931"/>
                <a:gd name="T81" fmla="*/ 820 h 1179"/>
                <a:gd name="T82" fmla="*/ 634 w 931"/>
                <a:gd name="T83" fmla="*/ 894 h 1179"/>
                <a:gd name="T84" fmla="*/ 686 w 931"/>
                <a:gd name="T85" fmla="*/ 916 h 1179"/>
                <a:gd name="T86" fmla="*/ 705 w 931"/>
                <a:gd name="T87" fmla="*/ 1010 h 1179"/>
                <a:gd name="T88" fmla="*/ 689 w 931"/>
                <a:gd name="T89" fmla="*/ 1079 h 1179"/>
                <a:gd name="T90" fmla="*/ 675 w 931"/>
                <a:gd name="T91" fmla="*/ 1163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31" h="1179">
                  <a:moveTo>
                    <a:pt x="675" y="1163"/>
                  </a:moveTo>
                  <a:lnTo>
                    <a:pt x="689" y="1179"/>
                  </a:lnTo>
                  <a:lnTo>
                    <a:pt x="713" y="1163"/>
                  </a:lnTo>
                  <a:lnTo>
                    <a:pt x="741" y="1121"/>
                  </a:lnTo>
                  <a:lnTo>
                    <a:pt x="755" y="1058"/>
                  </a:lnTo>
                  <a:lnTo>
                    <a:pt x="769" y="1052"/>
                  </a:lnTo>
                  <a:lnTo>
                    <a:pt x="779" y="1062"/>
                  </a:lnTo>
                  <a:lnTo>
                    <a:pt x="798" y="1042"/>
                  </a:lnTo>
                  <a:lnTo>
                    <a:pt x="793" y="1015"/>
                  </a:lnTo>
                  <a:lnTo>
                    <a:pt x="802" y="994"/>
                  </a:lnTo>
                  <a:lnTo>
                    <a:pt x="798" y="984"/>
                  </a:lnTo>
                  <a:lnTo>
                    <a:pt x="774" y="963"/>
                  </a:lnTo>
                  <a:lnTo>
                    <a:pt x="765" y="963"/>
                  </a:lnTo>
                  <a:lnTo>
                    <a:pt x="769" y="951"/>
                  </a:lnTo>
                  <a:lnTo>
                    <a:pt x="751" y="957"/>
                  </a:lnTo>
                  <a:lnTo>
                    <a:pt x="741" y="947"/>
                  </a:lnTo>
                  <a:lnTo>
                    <a:pt x="741" y="936"/>
                  </a:lnTo>
                  <a:lnTo>
                    <a:pt x="769" y="916"/>
                  </a:lnTo>
                  <a:lnTo>
                    <a:pt x="783" y="894"/>
                  </a:lnTo>
                  <a:lnTo>
                    <a:pt x="783" y="862"/>
                  </a:lnTo>
                  <a:lnTo>
                    <a:pt x="798" y="857"/>
                  </a:lnTo>
                  <a:lnTo>
                    <a:pt x="845" y="883"/>
                  </a:lnTo>
                  <a:lnTo>
                    <a:pt x="863" y="889"/>
                  </a:lnTo>
                  <a:lnTo>
                    <a:pt x="887" y="926"/>
                  </a:lnTo>
                  <a:lnTo>
                    <a:pt x="896" y="947"/>
                  </a:lnTo>
                  <a:lnTo>
                    <a:pt x="910" y="947"/>
                  </a:lnTo>
                  <a:lnTo>
                    <a:pt x="924" y="926"/>
                  </a:lnTo>
                  <a:lnTo>
                    <a:pt x="931" y="904"/>
                  </a:lnTo>
                  <a:lnTo>
                    <a:pt x="915" y="867"/>
                  </a:lnTo>
                  <a:lnTo>
                    <a:pt x="896" y="846"/>
                  </a:lnTo>
                  <a:lnTo>
                    <a:pt x="878" y="846"/>
                  </a:lnTo>
                  <a:lnTo>
                    <a:pt x="878" y="842"/>
                  </a:lnTo>
                  <a:lnTo>
                    <a:pt x="868" y="842"/>
                  </a:lnTo>
                  <a:lnTo>
                    <a:pt x="821" y="788"/>
                  </a:lnTo>
                  <a:lnTo>
                    <a:pt x="798" y="793"/>
                  </a:lnTo>
                  <a:lnTo>
                    <a:pt x="769" y="752"/>
                  </a:lnTo>
                  <a:lnTo>
                    <a:pt x="751" y="746"/>
                  </a:lnTo>
                  <a:lnTo>
                    <a:pt x="722" y="715"/>
                  </a:lnTo>
                  <a:lnTo>
                    <a:pt x="708" y="704"/>
                  </a:lnTo>
                  <a:lnTo>
                    <a:pt x="719" y="694"/>
                  </a:lnTo>
                  <a:lnTo>
                    <a:pt x="732" y="688"/>
                  </a:lnTo>
                  <a:lnTo>
                    <a:pt x="713" y="672"/>
                  </a:lnTo>
                  <a:lnTo>
                    <a:pt x="689" y="682"/>
                  </a:lnTo>
                  <a:lnTo>
                    <a:pt x="672" y="672"/>
                  </a:lnTo>
                  <a:lnTo>
                    <a:pt x="620" y="624"/>
                  </a:lnTo>
                  <a:lnTo>
                    <a:pt x="615" y="604"/>
                  </a:lnTo>
                  <a:lnTo>
                    <a:pt x="596" y="598"/>
                  </a:lnTo>
                  <a:lnTo>
                    <a:pt x="578" y="583"/>
                  </a:lnTo>
                  <a:lnTo>
                    <a:pt x="530" y="469"/>
                  </a:lnTo>
                  <a:lnTo>
                    <a:pt x="516" y="453"/>
                  </a:lnTo>
                  <a:lnTo>
                    <a:pt x="479" y="416"/>
                  </a:lnTo>
                  <a:lnTo>
                    <a:pt x="436" y="342"/>
                  </a:lnTo>
                  <a:lnTo>
                    <a:pt x="436" y="300"/>
                  </a:lnTo>
                  <a:lnTo>
                    <a:pt x="460" y="284"/>
                  </a:lnTo>
                  <a:lnTo>
                    <a:pt x="460" y="263"/>
                  </a:lnTo>
                  <a:lnTo>
                    <a:pt x="441" y="243"/>
                  </a:lnTo>
                  <a:lnTo>
                    <a:pt x="432" y="232"/>
                  </a:lnTo>
                  <a:lnTo>
                    <a:pt x="436" y="216"/>
                  </a:lnTo>
                  <a:lnTo>
                    <a:pt x="455" y="206"/>
                  </a:lnTo>
                  <a:lnTo>
                    <a:pt x="512" y="190"/>
                  </a:lnTo>
                  <a:lnTo>
                    <a:pt x="535" y="173"/>
                  </a:lnTo>
                  <a:lnTo>
                    <a:pt x="554" y="153"/>
                  </a:lnTo>
                  <a:lnTo>
                    <a:pt x="549" y="99"/>
                  </a:lnTo>
                  <a:lnTo>
                    <a:pt x="554" y="79"/>
                  </a:lnTo>
                  <a:lnTo>
                    <a:pt x="526" y="74"/>
                  </a:lnTo>
                  <a:lnTo>
                    <a:pt x="465" y="58"/>
                  </a:lnTo>
                  <a:lnTo>
                    <a:pt x="455" y="42"/>
                  </a:lnTo>
                  <a:lnTo>
                    <a:pt x="451" y="37"/>
                  </a:lnTo>
                  <a:lnTo>
                    <a:pt x="451" y="21"/>
                  </a:lnTo>
                  <a:lnTo>
                    <a:pt x="446" y="5"/>
                  </a:lnTo>
                  <a:lnTo>
                    <a:pt x="413" y="0"/>
                  </a:lnTo>
                  <a:lnTo>
                    <a:pt x="334" y="5"/>
                  </a:lnTo>
                  <a:lnTo>
                    <a:pt x="325" y="27"/>
                  </a:lnTo>
                  <a:lnTo>
                    <a:pt x="296" y="31"/>
                  </a:lnTo>
                  <a:lnTo>
                    <a:pt x="278" y="74"/>
                  </a:lnTo>
                  <a:lnTo>
                    <a:pt x="278" y="89"/>
                  </a:lnTo>
                  <a:lnTo>
                    <a:pt x="259" y="74"/>
                  </a:lnTo>
                  <a:lnTo>
                    <a:pt x="230" y="68"/>
                  </a:lnTo>
                  <a:lnTo>
                    <a:pt x="212" y="79"/>
                  </a:lnTo>
                  <a:lnTo>
                    <a:pt x="198" y="111"/>
                  </a:lnTo>
                  <a:lnTo>
                    <a:pt x="169" y="89"/>
                  </a:lnTo>
                  <a:lnTo>
                    <a:pt x="174" y="58"/>
                  </a:lnTo>
                  <a:lnTo>
                    <a:pt x="165" y="37"/>
                  </a:lnTo>
                  <a:lnTo>
                    <a:pt x="146" y="42"/>
                  </a:lnTo>
                  <a:lnTo>
                    <a:pt x="141" y="68"/>
                  </a:lnTo>
                  <a:lnTo>
                    <a:pt x="127" y="84"/>
                  </a:lnTo>
                  <a:lnTo>
                    <a:pt x="113" y="84"/>
                  </a:lnTo>
                  <a:lnTo>
                    <a:pt x="47" y="74"/>
                  </a:lnTo>
                  <a:lnTo>
                    <a:pt x="25" y="95"/>
                  </a:lnTo>
                  <a:lnTo>
                    <a:pt x="28" y="121"/>
                  </a:lnTo>
                  <a:lnTo>
                    <a:pt x="33" y="142"/>
                  </a:lnTo>
                  <a:lnTo>
                    <a:pt x="0" y="173"/>
                  </a:lnTo>
                  <a:lnTo>
                    <a:pt x="9" y="195"/>
                  </a:lnTo>
                  <a:lnTo>
                    <a:pt x="19" y="206"/>
                  </a:lnTo>
                  <a:lnTo>
                    <a:pt x="0" y="232"/>
                  </a:lnTo>
                  <a:lnTo>
                    <a:pt x="0" y="268"/>
                  </a:lnTo>
                  <a:lnTo>
                    <a:pt x="9" y="284"/>
                  </a:lnTo>
                  <a:lnTo>
                    <a:pt x="28" y="284"/>
                  </a:lnTo>
                  <a:lnTo>
                    <a:pt x="38" y="296"/>
                  </a:lnTo>
                  <a:lnTo>
                    <a:pt x="47" y="321"/>
                  </a:lnTo>
                  <a:lnTo>
                    <a:pt x="47" y="348"/>
                  </a:lnTo>
                  <a:lnTo>
                    <a:pt x="66" y="354"/>
                  </a:lnTo>
                  <a:lnTo>
                    <a:pt x="80" y="348"/>
                  </a:lnTo>
                  <a:lnTo>
                    <a:pt x="132" y="290"/>
                  </a:lnTo>
                  <a:lnTo>
                    <a:pt x="155" y="300"/>
                  </a:lnTo>
                  <a:lnTo>
                    <a:pt x="202" y="327"/>
                  </a:lnTo>
                  <a:lnTo>
                    <a:pt x="235" y="354"/>
                  </a:lnTo>
                  <a:lnTo>
                    <a:pt x="240" y="385"/>
                  </a:lnTo>
                  <a:lnTo>
                    <a:pt x="259" y="406"/>
                  </a:lnTo>
                  <a:lnTo>
                    <a:pt x="268" y="443"/>
                  </a:lnTo>
                  <a:lnTo>
                    <a:pt x="278" y="500"/>
                  </a:lnTo>
                  <a:lnTo>
                    <a:pt x="292" y="527"/>
                  </a:lnTo>
                  <a:lnTo>
                    <a:pt x="309" y="549"/>
                  </a:lnTo>
                  <a:lnTo>
                    <a:pt x="342" y="563"/>
                  </a:lnTo>
                  <a:lnTo>
                    <a:pt x="372" y="614"/>
                  </a:lnTo>
                  <a:lnTo>
                    <a:pt x="399" y="657"/>
                  </a:lnTo>
                  <a:lnTo>
                    <a:pt x="427" y="678"/>
                  </a:lnTo>
                  <a:lnTo>
                    <a:pt x="479" y="746"/>
                  </a:lnTo>
                  <a:lnTo>
                    <a:pt x="516" y="746"/>
                  </a:lnTo>
                  <a:lnTo>
                    <a:pt x="559" y="788"/>
                  </a:lnTo>
                  <a:lnTo>
                    <a:pt x="559" y="830"/>
                  </a:lnTo>
                  <a:lnTo>
                    <a:pt x="573" y="842"/>
                  </a:lnTo>
                  <a:lnTo>
                    <a:pt x="601" y="820"/>
                  </a:lnTo>
                  <a:lnTo>
                    <a:pt x="606" y="842"/>
                  </a:lnTo>
                  <a:lnTo>
                    <a:pt x="606" y="867"/>
                  </a:lnTo>
                  <a:lnTo>
                    <a:pt x="634" y="894"/>
                  </a:lnTo>
                  <a:lnTo>
                    <a:pt x="643" y="910"/>
                  </a:lnTo>
                  <a:lnTo>
                    <a:pt x="681" y="899"/>
                  </a:lnTo>
                  <a:lnTo>
                    <a:pt x="686" y="916"/>
                  </a:lnTo>
                  <a:lnTo>
                    <a:pt x="681" y="951"/>
                  </a:lnTo>
                  <a:lnTo>
                    <a:pt x="700" y="984"/>
                  </a:lnTo>
                  <a:lnTo>
                    <a:pt x="705" y="1010"/>
                  </a:lnTo>
                  <a:lnTo>
                    <a:pt x="713" y="1037"/>
                  </a:lnTo>
                  <a:lnTo>
                    <a:pt x="708" y="1058"/>
                  </a:lnTo>
                  <a:lnTo>
                    <a:pt x="689" y="1079"/>
                  </a:lnTo>
                  <a:lnTo>
                    <a:pt x="686" y="1105"/>
                  </a:lnTo>
                  <a:lnTo>
                    <a:pt x="672" y="1136"/>
                  </a:lnTo>
                  <a:lnTo>
                    <a:pt x="675" y="1163"/>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grpSp>
        <p:nvGrpSpPr>
          <p:cNvPr id="34" name="GR"/>
          <p:cNvGrpSpPr>
            <a:grpSpLocks/>
          </p:cNvGrpSpPr>
          <p:nvPr/>
        </p:nvGrpSpPr>
        <p:grpSpPr bwMode="auto">
          <a:xfrm>
            <a:off x="6856601" y="5199139"/>
            <a:ext cx="1093780" cy="1031887"/>
            <a:chOff x="3816299" y="5517315"/>
            <a:chExt cx="501" cy="535"/>
          </a:xfrm>
          <a:solidFill>
            <a:srgbClr val="FAFAFA"/>
          </a:solidFill>
          <a:effectLst/>
        </p:grpSpPr>
        <p:sp>
          <p:nvSpPr>
            <p:cNvPr id="65" name="Freeform 536"/>
            <p:cNvSpPr>
              <a:spLocks noChangeAspect="1"/>
            </p:cNvSpPr>
            <p:nvPr/>
          </p:nvSpPr>
          <p:spPr bwMode="auto">
            <a:xfrm>
              <a:off x="3816585" y="5517458"/>
              <a:ext cx="26" cy="24"/>
            </a:xfrm>
            <a:custGeom>
              <a:avLst/>
              <a:gdLst>
                <a:gd name="T0" fmla="*/ 38 w 38"/>
                <a:gd name="T1" fmla="*/ 0 h 40"/>
                <a:gd name="T2" fmla="*/ 14 w 38"/>
                <a:gd name="T3" fmla="*/ 0 h 40"/>
                <a:gd name="T4" fmla="*/ 2 w 38"/>
                <a:gd name="T5" fmla="*/ 9 h 40"/>
                <a:gd name="T6" fmla="*/ 0 w 38"/>
                <a:gd name="T7" fmla="*/ 22 h 40"/>
                <a:gd name="T8" fmla="*/ 0 w 38"/>
                <a:gd name="T9" fmla="*/ 37 h 40"/>
                <a:gd name="T10" fmla="*/ 11 w 38"/>
                <a:gd name="T11" fmla="*/ 40 h 40"/>
                <a:gd name="T12" fmla="*/ 33 w 38"/>
                <a:gd name="T13" fmla="*/ 25 h 40"/>
                <a:gd name="T14" fmla="*/ 38 w 38"/>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0">
                  <a:moveTo>
                    <a:pt x="38" y="0"/>
                  </a:moveTo>
                  <a:lnTo>
                    <a:pt x="14" y="0"/>
                  </a:lnTo>
                  <a:lnTo>
                    <a:pt x="2" y="9"/>
                  </a:lnTo>
                  <a:lnTo>
                    <a:pt x="0" y="22"/>
                  </a:lnTo>
                  <a:lnTo>
                    <a:pt x="0" y="37"/>
                  </a:lnTo>
                  <a:lnTo>
                    <a:pt x="11" y="40"/>
                  </a:lnTo>
                  <a:lnTo>
                    <a:pt x="33" y="25"/>
                  </a:lnTo>
                  <a:lnTo>
                    <a:pt x="38"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6" name="Freeform 537"/>
            <p:cNvSpPr>
              <a:spLocks noChangeAspect="1"/>
            </p:cNvSpPr>
            <p:nvPr/>
          </p:nvSpPr>
          <p:spPr bwMode="auto">
            <a:xfrm>
              <a:off x="3816633" y="5517499"/>
              <a:ext cx="45" cy="33"/>
            </a:xfrm>
            <a:custGeom>
              <a:avLst/>
              <a:gdLst>
                <a:gd name="T0" fmla="*/ 35 w 66"/>
                <a:gd name="T1" fmla="*/ 0 h 52"/>
                <a:gd name="T2" fmla="*/ 66 w 66"/>
                <a:gd name="T3" fmla="*/ 37 h 52"/>
                <a:gd name="T4" fmla="*/ 60 w 66"/>
                <a:gd name="T5" fmla="*/ 47 h 52"/>
                <a:gd name="T6" fmla="*/ 44 w 66"/>
                <a:gd name="T7" fmla="*/ 52 h 52"/>
                <a:gd name="T8" fmla="*/ 41 w 66"/>
                <a:gd name="T9" fmla="*/ 40 h 52"/>
                <a:gd name="T10" fmla="*/ 35 w 66"/>
                <a:gd name="T11" fmla="*/ 34 h 52"/>
                <a:gd name="T12" fmla="*/ 25 w 66"/>
                <a:gd name="T13" fmla="*/ 40 h 52"/>
                <a:gd name="T14" fmla="*/ 14 w 66"/>
                <a:gd name="T15" fmla="*/ 31 h 52"/>
                <a:gd name="T16" fmla="*/ 9 w 66"/>
                <a:gd name="T17" fmla="*/ 24 h 52"/>
                <a:gd name="T18" fmla="*/ 16 w 66"/>
                <a:gd name="T19" fmla="*/ 18 h 52"/>
                <a:gd name="T20" fmla="*/ 2 w 66"/>
                <a:gd name="T21" fmla="*/ 27 h 52"/>
                <a:gd name="T22" fmla="*/ 0 w 66"/>
                <a:gd name="T23" fmla="*/ 18 h 52"/>
                <a:gd name="T24" fmla="*/ 19 w 66"/>
                <a:gd name="T25" fmla="*/ 10 h 52"/>
                <a:gd name="T26" fmla="*/ 35 w 66"/>
                <a:gd name="T2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52">
                  <a:moveTo>
                    <a:pt x="35" y="0"/>
                  </a:moveTo>
                  <a:lnTo>
                    <a:pt x="66" y="37"/>
                  </a:lnTo>
                  <a:lnTo>
                    <a:pt x="60" y="47"/>
                  </a:lnTo>
                  <a:lnTo>
                    <a:pt x="44" y="52"/>
                  </a:lnTo>
                  <a:lnTo>
                    <a:pt x="41" y="40"/>
                  </a:lnTo>
                  <a:lnTo>
                    <a:pt x="35" y="34"/>
                  </a:lnTo>
                  <a:lnTo>
                    <a:pt x="25" y="40"/>
                  </a:lnTo>
                  <a:lnTo>
                    <a:pt x="14" y="31"/>
                  </a:lnTo>
                  <a:lnTo>
                    <a:pt x="9" y="24"/>
                  </a:lnTo>
                  <a:lnTo>
                    <a:pt x="16" y="18"/>
                  </a:lnTo>
                  <a:lnTo>
                    <a:pt x="2" y="27"/>
                  </a:lnTo>
                  <a:lnTo>
                    <a:pt x="0" y="18"/>
                  </a:lnTo>
                  <a:lnTo>
                    <a:pt x="19" y="10"/>
                  </a:lnTo>
                  <a:lnTo>
                    <a:pt x="35"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7" name="Freeform 538"/>
            <p:cNvSpPr>
              <a:spLocks noChangeAspect="1"/>
            </p:cNvSpPr>
            <p:nvPr/>
          </p:nvSpPr>
          <p:spPr bwMode="auto">
            <a:xfrm>
              <a:off x="3816309" y="5517596"/>
              <a:ext cx="21" cy="22"/>
            </a:xfrm>
            <a:custGeom>
              <a:avLst/>
              <a:gdLst>
                <a:gd name="T0" fmla="*/ 22 w 30"/>
                <a:gd name="T1" fmla="*/ 0 h 36"/>
                <a:gd name="T2" fmla="*/ 30 w 30"/>
                <a:gd name="T3" fmla="*/ 10 h 36"/>
                <a:gd name="T4" fmla="*/ 27 w 30"/>
                <a:gd name="T5" fmla="*/ 23 h 36"/>
                <a:gd name="T6" fmla="*/ 30 w 30"/>
                <a:gd name="T7" fmla="*/ 33 h 36"/>
                <a:gd name="T8" fmla="*/ 22 w 30"/>
                <a:gd name="T9" fmla="*/ 36 h 36"/>
                <a:gd name="T10" fmla="*/ 8 w 30"/>
                <a:gd name="T11" fmla="*/ 33 h 36"/>
                <a:gd name="T12" fmla="*/ 0 w 30"/>
                <a:gd name="T13" fmla="*/ 20 h 36"/>
                <a:gd name="T14" fmla="*/ 22 w 30"/>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6">
                  <a:moveTo>
                    <a:pt x="22" y="0"/>
                  </a:moveTo>
                  <a:lnTo>
                    <a:pt x="30" y="10"/>
                  </a:lnTo>
                  <a:lnTo>
                    <a:pt x="27" y="23"/>
                  </a:lnTo>
                  <a:lnTo>
                    <a:pt x="30" y="33"/>
                  </a:lnTo>
                  <a:lnTo>
                    <a:pt x="22" y="36"/>
                  </a:lnTo>
                  <a:lnTo>
                    <a:pt x="8" y="33"/>
                  </a:lnTo>
                  <a:lnTo>
                    <a:pt x="0" y="20"/>
                  </a:lnTo>
                  <a:lnTo>
                    <a:pt x="22"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8" name="Freeform 539"/>
            <p:cNvSpPr>
              <a:spLocks noChangeAspect="1"/>
            </p:cNvSpPr>
            <p:nvPr/>
          </p:nvSpPr>
          <p:spPr bwMode="auto">
            <a:xfrm>
              <a:off x="3816484" y="5517548"/>
              <a:ext cx="91" cy="76"/>
            </a:xfrm>
            <a:custGeom>
              <a:avLst/>
              <a:gdLst>
                <a:gd name="T0" fmla="*/ 11 w 134"/>
                <a:gd name="T1" fmla="*/ 0 h 124"/>
                <a:gd name="T2" fmla="*/ 0 w 134"/>
                <a:gd name="T3" fmla="*/ 10 h 124"/>
                <a:gd name="T4" fmla="*/ 14 w 134"/>
                <a:gd name="T5" fmla="*/ 37 h 124"/>
                <a:gd name="T6" fmla="*/ 30 w 134"/>
                <a:gd name="T7" fmla="*/ 43 h 124"/>
                <a:gd name="T8" fmla="*/ 49 w 134"/>
                <a:gd name="T9" fmla="*/ 65 h 124"/>
                <a:gd name="T10" fmla="*/ 66 w 134"/>
                <a:gd name="T11" fmla="*/ 77 h 124"/>
                <a:gd name="T12" fmla="*/ 93 w 134"/>
                <a:gd name="T13" fmla="*/ 100 h 124"/>
                <a:gd name="T14" fmla="*/ 109 w 134"/>
                <a:gd name="T15" fmla="*/ 108 h 124"/>
                <a:gd name="T16" fmla="*/ 129 w 134"/>
                <a:gd name="T17" fmla="*/ 124 h 124"/>
                <a:gd name="T18" fmla="*/ 134 w 134"/>
                <a:gd name="T19" fmla="*/ 115 h 124"/>
                <a:gd name="T20" fmla="*/ 93 w 134"/>
                <a:gd name="T21" fmla="*/ 80 h 124"/>
                <a:gd name="T22" fmla="*/ 90 w 134"/>
                <a:gd name="T23" fmla="*/ 63 h 124"/>
                <a:gd name="T24" fmla="*/ 85 w 134"/>
                <a:gd name="T25" fmla="*/ 47 h 124"/>
                <a:gd name="T26" fmla="*/ 68 w 134"/>
                <a:gd name="T27" fmla="*/ 28 h 124"/>
                <a:gd name="T28" fmla="*/ 63 w 134"/>
                <a:gd name="T29" fmla="*/ 31 h 124"/>
                <a:gd name="T30" fmla="*/ 41 w 134"/>
                <a:gd name="T31" fmla="*/ 13 h 124"/>
                <a:gd name="T32" fmla="*/ 28 w 134"/>
                <a:gd name="T33" fmla="*/ 6 h 124"/>
                <a:gd name="T34" fmla="*/ 11 w 134"/>
                <a:gd name="T3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4" h="124">
                  <a:moveTo>
                    <a:pt x="11" y="0"/>
                  </a:moveTo>
                  <a:lnTo>
                    <a:pt x="0" y="10"/>
                  </a:lnTo>
                  <a:lnTo>
                    <a:pt x="14" y="37"/>
                  </a:lnTo>
                  <a:lnTo>
                    <a:pt x="30" y="43"/>
                  </a:lnTo>
                  <a:lnTo>
                    <a:pt x="49" y="65"/>
                  </a:lnTo>
                  <a:lnTo>
                    <a:pt x="66" y="77"/>
                  </a:lnTo>
                  <a:lnTo>
                    <a:pt x="93" y="100"/>
                  </a:lnTo>
                  <a:lnTo>
                    <a:pt x="109" y="108"/>
                  </a:lnTo>
                  <a:lnTo>
                    <a:pt x="129" y="124"/>
                  </a:lnTo>
                  <a:lnTo>
                    <a:pt x="134" y="115"/>
                  </a:lnTo>
                  <a:lnTo>
                    <a:pt x="93" y="80"/>
                  </a:lnTo>
                  <a:lnTo>
                    <a:pt x="90" y="63"/>
                  </a:lnTo>
                  <a:lnTo>
                    <a:pt x="85" y="47"/>
                  </a:lnTo>
                  <a:lnTo>
                    <a:pt x="68" y="28"/>
                  </a:lnTo>
                  <a:lnTo>
                    <a:pt x="63" y="31"/>
                  </a:lnTo>
                  <a:lnTo>
                    <a:pt x="41" y="13"/>
                  </a:lnTo>
                  <a:lnTo>
                    <a:pt x="28" y="6"/>
                  </a:lnTo>
                  <a:lnTo>
                    <a:pt x="11"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9" name="Freeform 540"/>
            <p:cNvSpPr>
              <a:spLocks noChangeAspect="1"/>
            </p:cNvSpPr>
            <p:nvPr/>
          </p:nvSpPr>
          <p:spPr bwMode="auto">
            <a:xfrm>
              <a:off x="3816760" y="5517688"/>
              <a:ext cx="36" cy="20"/>
            </a:xfrm>
            <a:custGeom>
              <a:avLst/>
              <a:gdLst>
                <a:gd name="T0" fmla="*/ 52 w 52"/>
                <a:gd name="T1" fmla="*/ 8 h 31"/>
                <a:gd name="T2" fmla="*/ 28 w 52"/>
                <a:gd name="T3" fmla="*/ 31 h 31"/>
                <a:gd name="T4" fmla="*/ 12 w 52"/>
                <a:gd name="T5" fmla="*/ 31 h 31"/>
                <a:gd name="T6" fmla="*/ 0 w 52"/>
                <a:gd name="T7" fmla="*/ 21 h 31"/>
                <a:gd name="T8" fmla="*/ 8 w 52"/>
                <a:gd name="T9" fmla="*/ 2 h 31"/>
                <a:gd name="T10" fmla="*/ 33 w 52"/>
                <a:gd name="T11" fmla="*/ 0 h 31"/>
                <a:gd name="T12" fmla="*/ 52 w 52"/>
                <a:gd name="T13" fmla="*/ 8 h 31"/>
              </a:gdLst>
              <a:ahLst/>
              <a:cxnLst>
                <a:cxn ang="0">
                  <a:pos x="T0" y="T1"/>
                </a:cxn>
                <a:cxn ang="0">
                  <a:pos x="T2" y="T3"/>
                </a:cxn>
                <a:cxn ang="0">
                  <a:pos x="T4" y="T5"/>
                </a:cxn>
                <a:cxn ang="0">
                  <a:pos x="T6" y="T7"/>
                </a:cxn>
                <a:cxn ang="0">
                  <a:pos x="T8" y="T9"/>
                </a:cxn>
                <a:cxn ang="0">
                  <a:pos x="T10" y="T11"/>
                </a:cxn>
                <a:cxn ang="0">
                  <a:pos x="T12" y="T13"/>
                </a:cxn>
              </a:cxnLst>
              <a:rect l="0" t="0" r="r" b="b"/>
              <a:pathLst>
                <a:path w="52" h="31">
                  <a:moveTo>
                    <a:pt x="52" y="8"/>
                  </a:moveTo>
                  <a:lnTo>
                    <a:pt x="28" y="31"/>
                  </a:lnTo>
                  <a:lnTo>
                    <a:pt x="12" y="31"/>
                  </a:lnTo>
                  <a:lnTo>
                    <a:pt x="0" y="21"/>
                  </a:lnTo>
                  <a:lnTo>
                    <a:pt x="8" y="2"/>
                  </a:lnTo>
                  <a:lnTo>
                    <a:pt x="33" y="0"/>
                  </a:lnTo>
                  <a:lnTo>
                    <a:pt x="52" y="8"/>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0" name="Freeform 541"/>
            <p:cNvSpPr>
              <a:spLocks noChangeAspect="1"/>
            </p:cNvSpPr>
            <p:nvPr/>
          </p:nvSpPr>
          <p:spPr bwMode="auto">
            <a:xfrm>
              <a:off x="3816767" y="5517732"/>
              <a:ext cx="33" cy="30"/>
            </a:xfrm>
            <a:custGeom>
              <a:avLst/>
              <a:gdLst>
                <a:gd name="T0" fmla="*/ 53 w 53"/>
                <a:gd name="T1" fmla="*/ 0 h 47"/>
                <a:gd name="T2" fmla="*/ 53 w 53"/>
                <a:gd name="T3" fmla="*/ 15 h 47"/>
                <a:gd name="T4" fmla="*/ 20 w 53"/>
                <a:gd name="T5" fmla="*/ 40 h 47"/>
                <a:gd name="T6" fmla="*/ 6 w 53"/>
                <a:gd name="T7" fmla="*/ 47 h 47"/>
                <a:gd name="T8" fmla="*/ 0 w 53"/>
                <a:gd name="T9" fmla="*/ 44 h 47"/>
                <a:gd name="T10" fmla="*/ 5 w 53"/>
                <a:gd name="T11" fmla="*/ 27 h 47"/>
                <a:gd name="T12" fmla="*/ 28 w 53"/>
                <a:gd name="T13" fmla="*/ 8 h 47"/>
                <a:gd name="T14" fmla="*/ 53 w 53"/>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47">
                  <a:moveTo>
                    <a:pt x="53" y="0"/>
                  </a:moveTo>
                  <a:lnTo>
                    <a:pt x="53" y="15"/>
                  </a:lnTo>
                  <a:lnTo>
                    <a:pt x="20" y="40"/>
                  </a:lnTo>
                  <a:lnTo>
                    <a:pt x="6" y="47"/>
                  </a:lnTo>
                  <a:lnTo>
                    <a:pt x="0" y="44"/>
                  </a:lnTo>
                  <a:lnTo>
                    <a:pt x="5" y="27"/>
                  </a:lnTo>
                  <a:lnTo>
                    <a:pt x="28" y="8"/>
                  </a:lnTo>
                  <a:lnTo>
                    <a:pt x="53"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1" name="Freeform 542"/>
            <p:cNvSpPr>
              <a:spLocks noChangeAspect="1"/>
            </p:cNvSpPr>
            <p:nvPr/>
          </p:nvSpPr>
          <p:spPr bwMode="auto">
            <a:xfrm>
              <a:off x="3816352" y="5517605"/>
              <a:ext cx="158" cy="142"/>
            </a:xfrm>
            <a:custGeom>
              <a:avLst/>
              <a:gdLst>
                <a:gd name="T0" fmla="*/ 33 w 233"/>
                <a:gd name="T1" fmla="*/ 10 h 231"/>
                <a:gd name="T2" fmla="*/ 21 w 233"/>
                <a:gd name="T3" fmla="*/ 16 h 231"/>
                <a:gd name="T4" fmla="*/ 25 w 233"/>
                <a:gd name="T5" fmla="*/ 29 h 231"/>
                <a:gd name="T6" fmla="*/ 14 w 233"/>
                <a:gd name="T7" fmla="*/ 45 h 231"/>
                <a:gd name="T8" fmla="*/ 5 w 233"/>
                <a:gd name="T9" fmla="*/ 43 h 231"/>
                <a:gd name="T10" fmla="*/ 0 w 233"/>
                <a:gd name="T11" fmla="*/ 50 h 231"/>
                <a:gd name="T12" fmla="*/ 2 w 233"/>
                <a:gd name="T13" fmla="*/ 66 h 231"/>
                <a:gd name="T14" fmla="*/ 40 w 233"/>
                <a:gd name="T15" fmla="*/ 82 h 231"/>
                <a:gd name="T16" fmla="*/ 49 w 233"/>
                <a:gd name="T17" fmla="*/ 117 h 231"/>
                <a:gd name="T18" fmla="*/ 60 w 233"/>
                <a:gd name="T19" fmla="*/ 161 h 231"/>
                <a:gd name="T20" fmla="*/ 74 w 233"/>
                <a:gd name="T21" fmla="*/ 185 h 231"/>
                <a:gd name="T22" fmla="*/ 91 w 233"/>
                <a:gd name="T23" fmla="*/ 170 h 231"/>
                <a:gd name="T24" fmla="*/ 112 w 233"/>
                <a:gd name="T25" fmla="*/ 201 h 231"/>
                <a:gd name="T26" fmla="*/ 134 w 233"/>
                <a:gd name="T27" fmla="*/ 231 h 231"/>
                <a:gd name="T28" fmla="*/ 143 w 233"/>
                <a:gd name="T29" fmla="*/ 208 h 231"/>
                <a:gd name="T30" fmla="*/ 136 w 233"/>
                <a:gd name="T31" fmla="*/ 192 h 231"/>
                <a:gd name="T32" fmla="*/ 145 w 233"/>
                <a:gd name="T33" fmla="*/ 185 h 231"/>
                <a:gd name="T34" fmla="*/ 178 w 233"/>
                <a:gd name="T35" fmla="*/ 214 h 231"/>
                <a:gd name="T36" fmla="*/ 188 w 233"/>
                <a:gd name="T37" fmla="*/ 205 h 231"/>
                <a:gd name="T38" fmla="*/ 191 w 233"/>
                <a:gd name="T39" fmla="*/ 195 h 231"/>
                <a:gd name="T40" fmla="*/ 174 w 233"/>
                <a:gd name="T41" fmla="*/ 158 h 231"/>
                <a:gd name="T42" fmla="*/ 174 w 233"/>
                <a:gd name="T43" fmla="*/ 151 h 231"/>
                <a:gd name="T44" fmla="*/ 159 w 233"/>
                <a:gd name="T45" fmla="*/ 121 h 231"/>
                <a:gd name="T46" fmla="*/ 153 w 233"/>
                <a:gd name="T47" fmla="*/ 100 h 231"/>
                <a:gd name="T48" fmla="*/ 159 w 233"/>
                <a:gd name="T49" fmla="*/ 99 h 231"/>
                <a:gd name="T50" fmla="*/ 178 w 233"/>
                <a:gd name="T51" fmla="*/ 103 h 231"/>
                <a:gd name="T52" fmla="*/ 200 w 233"/>
                <a:gd name="T53" fmla="*/ 124 h 231"/>
                <a:gd name="T54" fmla="*/ 211 w 233"/>
                <a:gd name="T55" fmla="*/ 109 h 231"/>
                <a:gd name="T56" fmla="*/ 230 w 233"/>
                <a:gd name="T57" fmla="*/ 111 h 231"/>
                <a:gd name="T58" fmla="*/ 233 w 233"/>
                <a:gd name="T59" fmla="*/ 106 h 231"/>
                <a:gd name="T60" fmla="*/ 209 w 233"/>
                <a:gd name="T61" fmla="*/ 72 h 231"/>
                <a:gd name="T62" fmla="*/ 191 w 233"/>
                <a:gd name="T63" fmla="*/ 74 h 231"/>
                <a:gd name="T64" fmla="*/ 186 w 233"/>
                <a:gd name="T65" fmla="*/ 63 h 231"/>
                <a:gd name="T66" fmla="*/ 174 w 233"/>
                <a:gd name="T67" fmla="*/ 37 h 231"/>
                <a:gd name="T68" fmla="*/ 164 w 233"/>
                <a:gd name="T69" fmla="*/ 47 h 231"/>
                <a:gd name="T70" fmla="*/ 141 w 233"/>
                <a:gd name="T71" fmla="*/ 37 h 231"/>
                <a:gd name="T72" fmla="*/ 126 w 233"/>
                <a:gd name="T73" fmla="*/ 10 h 231"/>
                <a:gd name="T74" fmla="*/ 98 w 233"/>
                <a:gd name="T75" fmla="*/ 13 h 231"/>
                <a:gd name="T76" fmla="*/ 77 w 233"/>
                <a:gd name="T77" fmla="*/ 16 h 231"/>
                <a:gd name="T78" fmla="*/ 63 w 233"/>
                <a:gd name="T79" fmla="*/ 0 h 231"/>
                <a:gd name="T80" fmla="*/ 52 w 233"/>
                <a:gd name="T81" fmla="*/ 9 h 231"/>
                <a:gd name="T82" fmla="*/ 33 w 233"/>
                <a:gd name="T83" fmla="*/ 1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3" h="231">
                  <a:moveTo>
                    <a:pt x="33" y="10"/>
                  </a:moveTo>
                  <a:lnTo>
                    <a:pt x="21" y="16"/>
                  </a:lnTo>
                  <a:lnTo>
                    <a:pt x="25" y="29"/>
                  </a:lnTo>
                  <a:lnTo>
                    <a:pt x="14" y="45"/>
                  </a:lnTo>
                  <a:lnTo>
                    <a:pt x="5" y="43"/>
                  </a:lnTo>
                  <a:lnTo>
                    <a:pt x="0" y="50"/>
                  </a:lnTo>
                  <a:lnTo>
                    <a:pt x="2" y="66"/>
                  </a:lnTo>
                  <a:lnTo>
                    <a:pt x="40" y="82"/>
                  </a:lnTo>
                  <a:lnTo>
                    <a:pt x="49" y="117"/>
                  </a:lnTo>
                  <a:lnTo>
                    <a:pt x="60" y="161"/>
                  </a:lnTo>
                  <a:lnTo>
                    <a:pt x="74" y="185"/>
                  </a:lnTo>
                  <a:lnTo>
                    <a:pt x="91" y="170"/>
                  </a:lnTo>
                  <a:lnTo>
                    <a:pt x="112" y="201"/>
                  </a:lnTo>
                  <a:lnTo>
                    <a:pt x="134" y="231"/>
                  </a:lnTo>
                  <a:lnTo>
                    <a:pt x="143" y="208"/>
                  </a:lnTo>
                  <a:lnTo>
                    <a:pt x="136" y="192"/>
                  </a:lnTo>
                  <a:lnTo>
                    <a:pt x="145" y="185"/>
                  </a:lnTo>
                  <a:lnTo>
                    <a:pt x="178" y="214"/>
                  </a:lnTo>
                  <a:lnTo>
                    <a:pt x="188" y="205"/>
                  </a:lnTo>
                  <a:lnTo>
                    <a:pt x="191" y="195"/>
                  </a:lnTo>
                  <a:lnTo>
                    <a:pt x="174" y="158"/>
                  </a:lnTo>
                  <a:lnTo>
                    <a:pt x="174" y="151"/>
                  </a:lnTo>
                  <a:lnTo>
                    <a:pt x="159" y="121"/>
                  </a:lnTo>
                  <a:lnTo>
                    <a:pt x="153" y="100"/>
                  </a:lnTo>
                  <a:lnTo>
                    <a:pt x="159" y="99"/>
                  </a:lnTo>
                  <a:lnTo>
                    <a:pt x="178" y="103"/>
                  </a:lnTo>
                  <a:lnTo>
                    <a:pt x="200" y="124"/>
                  </a:lnTo>
                  <a:lnTo>
                    <a:pt x="211" y="109"/>
                  </a:lnTo>
                  <a:lnTo>
                    <a:pt x="230" y="111"/>
                  </a:lnTo>
                  <a:lnTo>
                    <a:pt x="233" y="106"/>
                  </a:lnTo>
                  <a:lnTo>
                    <a:pt x="209" y="72"/>
                  </a:lnTo>
                  <a:lnTo>
                    <a:pt x="191" y="74"/>
                  </a:lnTo>
                  <a:lnTo>
                    <a:pt x="186" y="63"/>
                  </a:lnTo>
                  <a:lnTo>
                    <a:pt x="174" y="37"/>
                  </a:lnTo>
                  <a:lnTo>
                    <a:pt x="164" y="47"/>
                  </a:lnTo>
                  <a:lnTo>
                    <a:pt x="141" y="37"/>
                  </a:lnTo>
                  <a:lnTo>
                    <a:pt x="126" y="10"/>
                  </a:lnTo>
                  <a:lnTo>
                    <a:pt x="98" y="13"/>
                  </a:lnTo>
                  <a:lnTo>
                    <a:pt x="77" y="16"/>
                  </a:lnTo>
                  <a:lnTo>
                    <a:pt x="63" y="0"/>
                  </a:lnTo>
                  <a:lnTo>
                    <a:pt x="52" y="9"/>
                  </a:lnTo>
                  <a:lnTo>
                    <a:pt x="33" y="1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2" name="Freeform 543"/>
            <p:cNvSpPr>
              <a:spLocks noChangeAspect="1"/>
            </p:cNvSpPr>
            <p:nvPr/>
          </p:nvSpPr>
          <p:spPr bwMode="auto">
            <a:xfrm>
              <a:off x="3816299" y="5517315"/>
              <a:ext cx="370" cy="338"/>
            </a:xfrm>
            <a:custGeom>
              <a:avLst/>
              <a:gdLst>
                <a:gd name="T0" fmla="*/ 99 w 543"/>
                <a:gd name="T1" fmla="*/ 145 h 549"/>
                <a:gd name="T2" fmla="*/ 70 w 543"/>
                <a:gd name="T3" fmla="*/ 238 h 549"/>
                <a:gd name="T4" fmla="*/ 56 w 543"/>
                <a:gd name="T5" fmla="*/ 259 h 549"/>
                <a:gd name="T6" fmla="*/ 30 w 543"/>
                <a:gd name="T7" fmla="*/ 285 h 549"/>
                <a:gd name="T8" fmla="*/ 0 w 543"/>
                <a:gd name="T9" fmla="*/ 290 h 549"/>
                <a:gd name="T10" fmla="*/ 39 w 543"/>
                <a:gd name="T11" fmla="*/ 370 h 549"/>
                <a:gd name="T12" fmla="*/ 72 w 543"/>
                <a:gd name="T13" fmla="*/ 370 h 549"/>
                <a:gd name="T14" fmla="*/ 61 w 543"/>
                <a:gd name="T15" fmla="*/ 395 h 549"/>
                <a:gd name="T16" fmla="*/ 72 w 543"/>
                <a:gd name="T17" fmla="*/ 438 h 549"/>
                <a:gd name="T18" fmla="*/ 96 w 543"/>
                <a:gd name="T19" fmla="*/ 469 h 549"/>
                <a:gd name="T20" fmla="*/ 115 w 543"/>
                <a:gd name="T21" fmla="*/ 451 h 549"/>
                <a:gd name="T22" fmla="*/ 136 w 543"/>
                <a:gd name="T23" fmla="*/ 454 h 549"/>
                <a:gd name="T24" fmla="*/ 201 w 543"/>
                <a:gd name="T25" fmla="*/ 462 h 549"/>
                <a:gd name="T26" fmla="*/ 241 w 543"/>
                <a:gd name="T27" fmla="*/ 485 h 549"/>
                <a:gd name="T28" fmla="*/ 262 w 543"/>
                <a:gd name="T29" fmla="*/ 515 h 549"/>
                <a:gd name="T30" fmla="*/ 290 w 543"/>
                <a:gd name="T31" fmla="*/ 502 h 549"/>
                <a:gd name="T32" fmla="*/ 342 w 543"/>
                <a:gd name="T33" fmla="*/ 549 h 549"/>
                <a:gd name="T34" fmla="*/ 351 w 543"/>
                <a:gd name="T35" fmla="*/ 522 h 549"/>
                <a:gd name="T36" fmla="*/ 350 w 543"/>
                <a:gd name="T37" fmla="*/ 478 h 549"/>
                <a:gd name="T38" fmla="*/ 328 w 543"/>
                <a:gd name="T39" fmla="*/ 459 h 549"/>
                <a:gd name="T40" fmla="*/ 272 w 543"/>
                <a:gd name="T41" fmla="*/ 420 h 549"/>
                <a:gd name="T42" fmla="*/ 239 w 543"/>
                <a:gd name="T43" fmla="*/ 407 h 549"/>
                <a:gd name="T44" fmla="*/ 227 w 543"/>
                <a:gd name="T45" fmla="*/ 388 h 549"/>
                <a:gd name="T46" fmla="*/ 246 w 543"/>
                <a:gd name="T47" fmla="*/ 367 h 549"/>
                <a:gd name="T48" fmla="*/ 232 w 543"/>
                <a:gd name="T49" fmla="*/ 336 h 549"/>
                <a:gd name="T50" fmla="*/ 256 w 543"/>
                <a:gd name="T51" fmla="*/ 349 h 549"/>
                <a:gd name="T52" fmla="*/ 272 w 543"/>
                <a:gd name="T53" fmla="*/ 339 h 549"/>
                <a:gd name="T54" fmla="*/ 241 w 543"/>
                <a:gd name="T55" fmla="*/ 287 h 549"/>
                <a:gd name="T56" fmla="*/ 215 w 543"/>
                <a:gd name="T57" fmla="*/ 228 h 549"/>
                <a:gd name="T58" fmla="*/ 209 w 543"/>
                <a:gd name="T59" fmla="*/ 191 h 549"/>
                <a:gd name="T60" fmla="*/ 223 w 543"/>
                <a:gd name="T61" fmla="*/ 166 h 549"/>
                <a:gd name="T62" fmla="*/ 234 w 543"/>
                <a:gd name="T63" fmla="*/ 198 h 549"/>
                <a:gd name="T64" fmla="*/ 241 w 543"/>
                <a:gd name="T65" fmla="*/ 209 h 549"/>
                <a:gd name="T66" fmla="*/ 288 w 543"/>
                <a:gd name="T67" fmla="*/ 250 h 549"/>
                <a:gd name="T68" fmla="*/ 293 w 543"/>
                <a:gd name="T69" fmla="*/ 222 h 549"/>
                <a:gd name="T70" fmla="*/ 326 w 543"/>
                <a:gd name="T71" fmla="*/ 250 h 549"/>
                <a:gd name="T72" fmla="*/ 312 w 543"/>
                <a:gd name="T73" fmla="*/ 216 h 549"/>
                <a:gd name="T74" fmla="*/ 326 w 543"/>
                <a:gd name="T75" fmla="*/ 201 h 549"/>
                <a:gd name="T76" fmla="*/ 364 w 543"/>
                <a:gd name="T77" fmla="*/ 211 h 549"/>
                <a:gd name="T78" fmla="*/ 347 w 543"/>
                <a:gd name="T79" fmla="*/ 185 h 549"/>
                <a:gd name="T80" fmla="*/ 312 w 543"/>
                <a:gd name="T81" fmla="*/ 161 h 549"/>
                <a:gd name="T82" fmla="*/ 314 w 543"/>
                <a:gd name="T83" fmla="*/ 139 h 549"/>
                <a:gd name="T84" fmla="*/ 377 w 543"/>
                <a:gd name="T85" fmla="*/ 124 h 549"/>
                <a:gd name="T86" fmla="*/ 442 w 543"/>
                <a:gd name="T87" fmla="*/ 117 h 549"/>
                <a:gd name="T88" fmla="*/ 478 w 543"/>
                <a:gd name="T89" fmla="*/ 124 h 549"/>
                <a:gd name="T90" fmla="*/ 513 w 543"/>
                <a:gd name="T91" fmla="*/ 108 h 549"/>
                <a:gd name="T92" fmla="*/ 541 w 543"/>
                <a:gd name="T93" fmla="*/ 68 h 549"/>
                <a:gd name="T94" fmla="*/ 541 w 543"/>
                <a:gd name="T95" fmla="*/ 9 h 549"/>
                <a:gd name="T96" fmla="*/ 516 w 543"/>
                <a:gd name="T97" fmla="*/ 0 h 549"/>
                <a:gd name="T98" fmla="*/ 508 w 543"/>
                <a:gd name="T99" fmla="*/ 28 h 549"/>
                <a:gd name="T100" fmla="*/ 491 w 543"/>
                <a:gd name="T101" fmla="*/ 50 h 549"/>
                <a:gd name="T102" fmla="*/ 469 w 543"/>
                <a:gd name="T103" fmla="*/ 64 h 549"/>
                <a:gd name="T104" fmla="*/ 427 w 543"/>
                <a:gd name="T105" fmla="*/ 47 h 549"/>
                <a:gd name="T106" fmla="*/ 386 w 543"/>
                <a:gd name="T107" fmla="*/ 28 h 549"/>
                <a:gd name="T108" fmla="*/ 342 w 543"/>
                <a:gd name="T109" fmla="*/ 64 h 549"/>
                <a:gd name="T110" fmla="*/ 293 w 543"/>
                <a:gd name="T111" fmla="*/ 80 h 549"/>
                <a:gd name="T112" fmla="*/ 256 w 543"/>
                <a:gd name="T113" fmla="*/ 87 h 549"/>
                <a:gd name="T114" fmla="*/ 232 w 543"/>
                <a:gd name="T115" fmla="*/ 111 h 549"/>
                <a:gd name="T116" fmla="*/ 194 w 543"/>
                <a:gd name="T117" fmla="*/ 117 h 549"/>
                <a:gd name="T118" fmla="*/ 160 w 543"/>
                <a:gd name="T119" fmla="*/ 138 h 549"/>
                <a:gd name="T120" fmla="*/ 124 w 543"/>
                <a:gd name="T121" fmla="*/ 1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3" h="549">
                  <a:moveTo>
                    <a:pt x="110" y="135"/>
                  </a:moveTo>
                  <a:lnTo>
                    <a:pt x="99" y="145"/>
                  </a:lnTo>
                  <a:lnTo>
                    <a:pt x="86" y="192"/>
                  </a:lnTo>
                  <a:lnTo>
                    <a:pt x="70" y="238"/>
                  </a:lnTo>
                  <a:lnTo>
                    <a:pt x="63" y="243"/>
                  </a:lnTo>
                  <a:lnTo>
                    <a:pt x="56" y="259"/>
                  </a:lnTo>
                  <a:lnTo>
                    <a:pt x="47" y="275"/>
                  </a:lnTo>
                  <a:lnTo>
                    <a:pt x="30" y="285"/>
                  </a:lnTo>
                  <a:lnTo>
                    <a:pt x="17" y="290"/>
                  </a:lnTo>
                  <a:lnTo>
                    <a:pt x="0" y="290"/>
                  </a:lnTo>
                  <a:lnTo>
                    <a:pt x="22" y="343"/>
                  </a:lnTo>
                  <a:lnTo>
                    <a:pt x="39" y="370"/>
                  </a:lnTo>
                  <a:lnTo>
                    <a:pt x="56" y="370"/>
                  </a:lnTo>
                  <a:lnTo>
                    <a:pt x="72" y="370"/>
                  </a:lnTo>
                  <a:lnTo>
                    <a:pt x="77" y="383"/>
                  </a:lnTo>
                  <a:lnTo>
                    <a:pt x="61" y="395"/>
                  </a:lnTo>
                  <a:lnTo>
                    <a:pt x="61" y="413"/>
                  </a:lnTo>
                  <a:lnTo>
                    <a:pt x="72" y="438"/>
                  </a:lnTo>
                  <a:lnTo>
                    <a:pt x="86" y="459"/>
                  </a:lnTo>
                  <a:lnTo>
                    <a:pt x="96" y="469"/>
                  </a:lnTo>
                  <a:lnTo>
                    <a:pt x="101" y="454"/>
                  </a:lnTo>
                  <a:lnTo>
                    <a:pt x="115" y="451"/>
                  </a:lnTo>
                  <a:lnTo>
                    <a:pt x="132" y="467"/>
                  </a:lnTo>
                  <a:lnTo>
                    <a:pt x="136" y="454"/>
                  </a:lnTo>
                  <a:lnTo>
                    <a:pt x="162" y="457"/>
                  </a:lnTo>
                  <a:lnTo>
                    <a:pt x="201" y="462"/>
                  </a:lnTo>
                  <a:lnTo>
                    <a:pt x="229" y="472"/>
                  </a:lnTo>
                  <a:lnTo>
                    <a:pt x="241" y="485"/>
                  </a:lnTo>
                  <a:lnTo>
                    <a:pt x="253" y="504"/>
                  </a:lnTo>
                  <a:lnTo>
                    <a:pt x="262" y="515"/>
                  </a:lnTo>
                  <a:lnTo>
                    <a:pt x="274" y="504"/>
                  </a:lnTo>
                  <a:lnTo>
                    <a:pt x="290" y="502"/>
                  </a:lnTo>
                  <a:lnTo>
                    <a:pt x="314" y="521"/>
                  </a:lnTo>
                  <a:lnTo>
                    <a:pt x="342" y="549"/>
                  </a:lnTo>
                  <a:lnTo>
                    <a:pt x="350" y="543"/>
                  </a:lnTo>
                  <a:lnTo>
                    <a:pt x="351" y="522"/>
                  </a:lnTo>
                  <a:lnTo>
                    <a:pt x="351" y="499"/>
                  </a:lnTo>
                  <a:lnTo>
                    <a:pt x="350" y="478"/>
                  </a:lnTo>
                  <a:lnTo>
                    <a:pt x="337" y="454"/>
                  </a:lnTo>
                  <a:lnTo>
                    <a:pt x="328" y="459"/>
                  </a:lnTo>
                  <a:lnTo>
                    <a:pt x="307" y="448"/>
                  </a:lnTo>
                  <a:lnTo>
                    <a:pt x="272" y="420"/>
                  </a:lnTo>
                  <a:lnTo>
                    <a:pt x="262" y="410"/>
                  </a:lnTo>
                  <a:lnTo>
                    <a:pt x="239" y="407"/>
                  </a:lnTo>
                  <a:lnTo>
                    <a:pt x="227" y="398"/>
                  </a:lnTo>
                  <a:lnTo>
                    <a:pt x="227" y="388"/>
                  </a:lnTo>
                  <a:lnTo>
                    <a:pt x="241" y="373"/>
                  </a:lnTo>
                  <a:lnTo>
                    <a:pt x="246" y="367"/>
                  </a:lnTo>
                  <a:lnTo>
                    <a:pt x="237" y="354"/>
                  </a:lnTo>
                  <a:lnTo>
                    <a:pt x="232" y="336"/>
                  </a:lnTo>
                  <a:lnTo>
                    <a:pt x="237" y="327"/>
                  </a:lnTo>
                  <a:lnTo>
                    <a:pt x="256" y="349"/>
                  </a:lnTo>
                  <a:lnTo>
                    <a:pt x="272" y="357"/>
                  </a:lnTo>
                  <a:lnTo>
                    <a:pt x="272" y="339"/>
                  </a:lnTo>
                  <a:lnTo>
                    <a:pt x="262" y="317"/>
                  </a:lnTo>
                  <a:lnTo>
                    <a:pt x="241" y="287"/>
                  </a:lnTo>
                  <a:lnTo>
                    <a:pt x="218" y="248"/>
                  </a:lnTo>
                  <a:lnTo>
                    <a:pt x="215" y="228"/>
                  </a:lnTo>
                  <a:lnTo>
                    <a:pt x="213" y="209"/>
                  </a:lnTo>
                  <a:lnTo>
                    <a:pt x="209" y="191"/>
                  </a:lnTo>
                  <a:lnTo>
                    <a:pt x="206" y="172"/>
                  </a:lnTo>
                  <a:lnTo>
                    <a:pt x="223" y="166"/>
                  </a:lnTo>
                  <a:lnTo>
                    <a:pt x="220" y="179"/>
                  </a:lnTo>
                  <a:lnTo>
                    <a:pt x="234" y="198"/>
                  </a:lnTo>
                  <a:lnTo>
                    <a:pt x="243" y="198"/>
                  </a:lnTo>
                  <a:lnTo>
                    <a:pt x="241" y="209"/>
                  </a:lnTo>
                  <a:lnTo>
                    <a:pt x="286" y="259"/>
                  </a:lnTo>
                  <a:lnTo>
                    <a:pt x="288" y="250"/>
                  </a:lnTo>
                  <a:lnTo>
                    <a:pt x="279" y="228"/>
                  </a:lnTo>
                  <a:lnTo>
                    <a:pt x="293" y="222"/>
                  </a:lnTo>
                  <a:lnTo>
                    <a:pt x="314" y="232"/>
                  </a:lnTo>
                  <a:lnTo>
                    <a:pt x="326" y="250"/>
                  </a:lnTo>
                  <a:lnTo>
                    <a:pt x="328" y="238"/>
                  </a:lnTo>
                  <a:lnTo>
                    <a:pt x="312" y="216"/>
                  </a:lnTo>
                  <a:lnTo>
                    <a:pt x="314" y="206"/>
                  </a:lnTo>
                  <a:lnTo>
                    <a:pt x="326" y="201"/>
                  </a:lnTo>
                  <a:lnTo>
                    <a:pt x="356" y="216"/>
                  </a:lnTo>
                  <a:lnTo>
                    <a:pt x="364" y="211"/>
                  </a:lnTo>
                  <a:lnTo>
                    <a:pt x="361" y="195"/>
                  </a:lnTo>
                  <a:lnTo>
                    <a:pt x="347" y="185"/>
                  </a:lnTo>
                  <a:lnTo>
                    <a:pt x="326" y="174"/>
                  </a:lnTo>
                  <a:lnTo>
                    <a:pt x="312" y="161"/>
                  </a:lnTo>
                  <a:lnTo>
                    <a:pt x="309" y="151"/>
                  </a:lnTo>
                  <a:lnTo>
                    <a:pt x="314" y="139"/>
                  </a:lnTo>
                  <a:lnTo>
                    <a:pt x="345" y="135"/>
                  </a:lnTo>
                  <a:lnTo>
                    <a:pt x="377" y="124"/>
                  </a:lnTo>
                  <a:lnTo>
                    <a:pt x="400" y="127"/>
                  </a:lnTo>
                  <a:lnTo>
                    <a:pt x="442" y="117"/>
                  </a:lnTo>
                  <a:lnTo>
                    <a:pt x="450" y="111"/>
                  </a:lnTo>
                  <a:lnTo>
                    <a:pt x="478" y="124"/>
                  </a:lnTo>
                  <a:lnTo>
                    <a:pt x="502" y="138"/>
                  </a:lnTo>
                  <a:lnTo>
                    <a:pt x="513" y="108"/>
                  </a:lnTo>
                  <a:lnTo>
                    <a:pt x="534" y="77"/>
                  </a:lnTo>
                  <a:lnTo>
                    <a:pt x="541" y="68"/>
                  </a:lnTo>
                  <a:lnTo>
                    <a:pt x="543" y="13"/>
                  </a:lnTo>
                  <a:lnTo>
                    <a:pt x="541" y="9"/>
                  </a:lnTo>
                  <a:lnTo>
                    <a:pt x="529" y="0"/>
                  </a:lnTo>
                  <a:lnTo>
                    <a:pt x="516" y="0"/>
                  </a:lnTo>
                  <a:lnTo>
                    <a:pt x="508" y="9"/>
                  </a:lnTo>
                  <a:lnTo>
                    <a:pt x="508" y="28"/>
                  </a:lnTo>
                  <a:lnTo>
                    <a:pt x="510" y="46"/>
                  </a:lnTo>
                  <a:lnTo>
                    <a:pt x="491" y="50"/>
                  </a:lnTo>
                  <a:lnTo>
                    <a:pt x="478" y="61"/>
                  </a:lnTo>
                  <a:lnTo>
                    <a:pt x="469" y="64"/>
                  </a:lnTo>
                  <a:lnTo>
                    <a:pt x="438" y="56"/>
                  </a:lnTo>
                  <a:lnTo>
                    <a:pt x="427" y="47"/>
                  </a:lnTo>
                  <a:lnTo>
                    <a:pt x="410" y="58"/>
                  </a:lnTo>
                  <a:lnTo>
                    <a:pt x="386" y="28"/>
                  </a:lnTo>
                  <a:lnTo>
                    <a:pt x="361" y="50"/>
                  </a:lnTo>
                  <a:lnTo>
                    <a:pt x="342" y="64"/>
                  </a:lnTo>
                  <a:lnTo>
                    <a:pt x="323" y="74"/>
                  </a:lnTo>
                  <a:lnTo>
                    <a:pt x="293" y="80"/>
                  </a:lnTo>
                  <a:lnTo>
                    <a:pt x="272" y="87"/>
                  </a:lnTo>
                  <a:lnTo>
                    <a:pt x="256" y="87"/>
                  </a:lnTo>
                  <a:lnTo>
                    <a:pt x="248" y="90"/>
                  </a:lnTo>
                  <a:lnTo>
                    <a:pt x="232" y="111"/>
                  </a:lnTo>
                  <a:lnTo>
                    <a:pt x="218" y="111"/>
                  </a:lnTo>
                  <a:lnTo>
                    <a:pt x="194" y="117"/>
                  </a:lnTo>
                  <a:lnTo>
                    <a:pt x="171" y="114"/>
                  </a:lnTo>
                  <a:lnTo>
                    <a:pt x="160" y="138"/>
                  </a:lnTo>
                  <a:lnTo>
                    <a:pt x="141" y="139"/>
                  </a:lnTo>
                  <a:lnTo>
                    <a:pt x="124" y="138"/>
                  </a:lnTo>
                  <a:lnTo>
                    <a:pt x="110" y="135"/>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73" name="Freeform 544"/>
            <p:cNvSpPr>
              <a:spLocks noChangeAspect="1"/>
            </p:cNvSpPr>
            <p:nvPr/>
          </p:nvSpPr>
          <p:spPr bwMode="auto">
            <a:xfrm>
              <a:off x="3816513" y="5517804"/>
              <a:ext cx="170" cy="46"/>
            </a:xfrm>
            <a:custGeom>
              <a:avLst/>
              <a:gdLst>
                <a:gd name="T0" fmla="*/ 52 w 253"/>
                <a:gd name="T1" fmla="*/ 16 h 77"/>
                <a:gd name="T2" fmla="*/ 71 w 253"/>
                <a:gd name="T3" fmla="*/ 6 h 77"/>
                <a:gd name="T4" fmla="*/ 80 w 253"/>
                <a:gd name="T5" fmla="*/ 16 h 77"/>
                <a:gd name="T6" fmla="*/ 88 w 253"/>
                <a:gd name="T7" fmla="*/ 18 h 77"/>
                <a:gd name="T8" fmla="*/ 101 w 253"/>
                <a:gd name="T9" fmla="*/ 10 h 77"/>
                <a:gd name="T10" fmla="*/ 110 w 253"/>
                <a:gd name="T11" fmla="*/ 6 h 77"/>
                <a:gd name="T12" fmla="*/ 151 w 253"/>
                <a:gd name="T13" fmla="*/ 10 h 77"/>
                <a:gd name="T14" fmla="*/ 190 w 253"/>
                <a:gd name="T15" fmla="*/ 8 h 77"/>
                <a:gd name="T16" fmla="*/ 202 w 253"/>
                <a:gd name="T17" fmla="*/ 21 h 77"/>
                <a:gd name="T18" fmla="*/ 202 w 253"/>
                <a:gd name="T19" fmla="*/ 28 h 77"/>
                <a:gd name="T20" fmla="*/ 229 w 253"/>
                <a:gd name="T21" fmla="*/ 24 h 77"/>
                <a:gd name="T22" fmla="*/ 245 w 253"/>
                <a:gd name="T23" fmla="*/ 27 h 77"/>
                <a:gd name="T24" fmla="*/ 253 w 253"/>
                <a:gd name="T25" fmla="*/ 37 h 77"/>
                <a:gd name="T26" fmla="*/ 245 w 253"/>
                <a:gd name="T27" fmla="*/ 50 h 77"/>
                <a:gd name="T28" fmla="*/ 220 w 253"/>
                <a:gd name="T29" fmla="*/ 48 h 77"/>
                <a:gd name="T30" fmla="*/ 204 w 253"/>
                <a:gd name="T31" fmla="*/ 58 h 77"/>
                <a:gd name="T32" fmla="*/ 176 w 253"/>
                <a:gd name="T33" fmla="*/ 58 h 77"/>
                <a:gd name="T34" fmla="*/ 148 w 253"/>
                <a:gd name="T35" fmla="*/ 71 h 77"/>
                <a:gd name="T36" fmla="*/ 124 w 253"/>
                <a:gd name="T37" fmla="*/ 77 h 77"/>
                <a:gd name="T38" fmla="*/ 105 w 253"/>
                <a:gd name="T39" fmla="*/ 64 h 77"/>
                <a:gd name="T40" fmla="*/ 80 w 253"/>
                <a:gd name="T41" fmla="*/ 48 h 77"/>
                <a:gd name="T42" fmla="*/ 55 w 253"/>
                <a:gd name="T43" fmla="*/ 48 h 77"/>
                <a:gd name="T44" fmla="*/ 22 w 253"/>
                <a:gd name="T45" fmla="*/ 40 h 77"/>
                <a:gd name="T46" fmla="*/ 9 w 253"/>
                <a:gd name="T47" fmla="*/ 28 h 77"/>
                <a:gd name="T48" fmla="*/ 0 w 253"/>
                <a:gd name="T49" fmla="*/ 8 h 77"/>
                <a:gd name="T50" fmla="*/ 5 w 253"/>
                <a:gd name="T51" fmla="*/ 0 h 77"/>
                <a:gd name="T52" fmla="*/ 33 w 253"/>
                <a:gd name="T53" fmla="*/ 6 h 77"/>
                <a:gd name="T54" fmla="*/ 52 w 253"/>
                <a:gd name="T55" fmla="*/ 1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3" h="77">
                  <a:moveTo>
                    <a:pt x="52" y="16"/>
                  </a:moveTo>
                  <a:lnTo>
                    <a:pt x="71" y="6"/>
                  </a:lnTo>
                  <a:lnTo>
                    <a:pt x="80" y="16"/>
                  </a:lnTo>
                  <a:lnTo>
                    <a:pt x="88" y="18"/>
                  </a:lnTo>
                  <a:lnTo>
                    <a:pt x="101" y="10"/>
                  </a:lnTo>
                  <a:lnTo>
                    <a:pt x="110" y="6"/>
                  </a:lnTo>
                  <a:lnTo>
                    <a:pt x="151" y="10"/>
                  </a:lnTo>
                  <a:lnTo>
                    <a:pt x="190" y="8"/>
                  </a:lnTo>
                  <a:lnTo>
                    <a:pt x="202" y="21"/>
                  </a:lnTo>
                  <a:lnTo>
                    <a:pt x="202" y="28"/>
                  </a:lnTo>
                  <a:lnTo>
                    <a:pt x="229" y="24"/>
                  </a:lnTo>
                  <a:lnTo>
                    <a:pt x="245" y="27"/>
                  </a:lnTo>
                  <a:lnTo>
                    <a:pt x="253" y="37"/>
                  </a:lnTo>
                  <a:lnTo>
                    <a:pt x="245" y="50"/>
                  </a:lnTo>
                  <a:lnTo>
                    <a:pt x="220" y="48"/>
                  </a:lnTo>
                  <a:lnTo>
                    <a:pt x="204" y="58"/>
                  </a:lnTo>
                  <a:lnTo>
                    <a:pt x="176" y="58"/>
                  </a:lnTo>
                  <a:lnTo>
                    <a:pt x="148" y="71"/>
                  </a:lnTo>
                  <a:lnTo>
                    <a:pt x="124" y="77"/>
                  </a:lnTo>
                  <a:lnTo>
                    <a:pt x="105" y="64"/>
                  </a:lnTo>
                  <a:lnTo>
                    <a:pt x="80" y="48"/>
                  </a:lnTo>
                  <a:lnTo>
                    <a:pt x="55" y="48"/>
                  </a:lnTo>
                  <a:lnTo>
                    <a:pt x="22" y="40"/>
                  </a:lnTo>
                  <a:lnTo>
                    <a:pt x="9" y="28"/>
                  </a:lnTo>
                  <a:lnTo>
                    <a:pt x="0" y="8"/>
                  </a:lnTo>
                  <a:lnTo>
                    <a:pt x="5" y="0"/>
                  </a:lnTo>
                  <a:lnTo>
                    <a:pt x="33" y="6"/>
                  </a:lnTo>
                  <a:lnTo>
                    <a:pt x="52" y="16"/>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sp>
        <p:nvSpPr>
          <p:cNvPr id="35" name="HU"/>
          <p:cNvSpPr>
            <a:spLocks noChangeAspect="1"/>
          </p:cNvSpPr>
          <p:nvPr/>
        </p:nvSpPr>
        <p:spPr bwMode="auto">
          <a:xfrm>
            <a:off x="6411913" y="4203700"/>
            <a:ext cx="782637" cy="431800"/>
          </a:xfrm>
          <a:custGeom>
            <a:avLst/>
            <a:gdLst>
              <a:gd name="T0" fmla="*/ 3 w 532"/>
              <a:gd name="T1" fmla="*/ 229 h 361"/>
              <a:gd name="T2" fmla="*/ 19 w 532"/>
              <a:gd name="T3" fmla="*/ 245 h 361"/>
              <a:gd name="T4" fmla="*/ 17 w 532"/>
              <a:gd name="T5" fmla="*/ 253 h 361"/>
              <a:gd name="T6" fmla="*/ 22 w 532"/>
              <a:gd name="T7" fmla="*/ 269 h 361"/>
              <a:gd name="T8" fmla="*/ 36 w 532"/>
              <a:gd name="T9" fmla="*/ 269 h 361"/>
              <a:gd name="T10" fmla="*/ 89 w 532"/>
              <a:gd name="T11" fmla="*/ 327 h 361"/>
              <a:gd name="T12" fmla="*/ 105 w 532"/>
              <a:gd name="T13" fmla="*/ 330 h 361"/>
              <a:gd name="T14" fmla="*/ 148 w 532"/>
              <a:gd name="T15" fmla="*/ 361 h 361"/>
              <a:gd name="T16" fmla="*/ 169 w 532"/>
              <a:gd name="T17" fmla="*/ 343 h 361"/>
              <a:gd name="T18" fmla="*/ 199 w 532"/>
              <a:gd name="T19" fmla="*/ 346 h 361"/>
              <a:gd name="T20" fmla="*/ 209 w 532"/>
              <a:gd name="T21" fmla="*/ 353 h 361"/>
              <a:gd name="T22" fmla="*/ 232 w 532"/>
              <a:gd name="T23" fmla="*/ 343 h 361"/>
              <a:gd name="T24" fmla="*/ 279 w 532"/>
              <a:gd name="T25" fmla="*/ 321 h 361"/>
              <a:gd name="T26" fmla="*/ 333 w 532"/>
              <a:gd name="T27" fmla="*/ 311 h 361"/>
              <a:gd name="T28" fmla="*/ 356 w 532"/>
              <a:gd name="T29" fmla="*/ 316 h 361"/>
              <a:gd name="T30" fmla="*/ 364 w 532"/>
              <a:gd name="T31" fmla="*/ 330 h 361"/>
              <a:gd name="T32" fmla="*/ 383 w 532"/>
              <a:gd name="T33" fmla="*/ 306 h 361"/>
              <a:gd name="T34" fmla="*/ 408 w 532"/>
              <a:gd name="T35" fmla="*/ 296 h 361"/>
              <a:gd name="T36" fmla="*/ 432 w 532"/>
              <a:gd name="T37" fmla="*/ 292 h 361"/>
              <a:gd name="T38" fmla="*/ 474 w 532"/>
              <a:gd name="T39" fmla="*/ 245 h 361"/>
              <a:gd name="T40" fmla="*/ 485 w 532"/>
              <a:gd name="T41" fmla="*/ 216 h 361"/>
              <a:gd name="T42" fmla="*/ 490 w 532"/>
              <a:gd name="T43" fmla="*/ 161 h 361"/>
              <a:gd name="T44" fmla="*/ 495 w 532"/>
              <a:gd name="T45" fmla="*/ 115 h 361"/>
              <a:gd name="T46" fmla="*/ 512 w 532"/>
              <a:gd name="T47" fmla="*/ 114 h 361"/>
              <a:gd name="T48" fmla="*/ 525 w 532"/>
              <a:gd name="T49" fmla="*/ 97 h 361"/>
              <a:gd name="T50" fmla="*/ 532 w 532"/>
              <a:gd name="T51" fmla="*/ 84 h 361"/>
              <a:gd name="T52" fmla="*/ 516 w 532"/>
              <a:gd name="T53" fmla="*/ 71 h 361"/>
              <a:gd name="T54" fmla="*/ 507 w 532"/>
              <a:gd name="T55" fmla="*/ 77 h 361"/>
              <a:gd name="T56" fmla="*/ 483 w 532"/>
              <a:gd name="T57" fmla="*/ 71 h 361"/>
              <a:gd name="T58" fmla="*/ 469 w 532"/>
              <a:gd name="T59" fmla="*/ 50 h 361"/>
              <a:gd name="T60" fmla="*/ 455 w 532"/>
              <a:gd name="T61" fmla="*/ 21 h 361"/>
              <a:gd name="T62" fmla="*/ 439 w 532"/>
              <a:gd name="T63" fmla="*/ 21 h 361"/>
              <a:gd name="T64" fmla="*/ 413 w 532"/>
              <a:gd name="T65" fmla="*/ 0 h 361"/>
              <a:gd name="T66" fmla="*/ 399 w 532"/>
              <a:gd name="T67" fmla="*/ 3 h 361"/>
              <a:gd name="T68" fmla="*/ 347 w 532"/>
              <a:gd name="T69" fmla="*/ 10 h 361"/>
              <a:gd name="T70" fmla="*/ 337 w 532"/>
              <a:gd name="T71" fmla="*/ 27 h 361"/>
              <a:gd name="T72" fmla="*/ 323 w 532"/>
              <a:gd name="T73" fmla="*/ 47 h 361"/>
              <a:gd name="T74" fmla="*/ 304 w 532"/>
              <a:gd name="T75" fmla="*/ 58 h 361"/>
              <a:gd name="T76" fmla="*/ 287 w 532"/>
              <a:gd name="T77" fmla="*/ 63 h 361"/>
              <a:gd name="T78" fmla="*/ 274 w 532"/>
              <a:gd name="T79" fmla="*/ 58 h 361"/>
              <a:gd name="T80" fmla="*/ 262 w 532"/>
              <a:gd name="T81" fmla="*/ 50 h 361"/>
              <a:gd name="T82" fmla="*/ 254 w 532"/>
              <a:gd name="T83" fmla="*/ 47 h 361"/>
              <a:gd name="T84" fmla="*/ 237 w 532"/>
              <a:gd name="T85" fmla="*/ 55 h 361"/>
              <a:gd name="T86" fmla="*/ 216 w 532"/>
              <a:gd name="T87" fmla="*/ 68 h 361"/>
              <a:gd name="T88" fmla="*/ 171 w 532"/>
              <a:gd name="T89" fmla="*/ 90 h 361"/>
              <a:gd name="T90" fmla="*/ 152 w 532"/>
              <a:gd name="T91" fmla="*/ 92 h 361"/>
              <a:gd name="T92" fmla="*/ 105 w 532"/>
              <a:gd name="T93" fmla="*/ 90 h 361"/>
              <a:gd name="T94" fmla="*/ 99 w 532"/>
              <a:gd name="T95" fmla="*/ 87 h 361"/>
              <a:gd name="T96" fmla="*/ 86 w 532"/>
              <a:gd name="T97" fmla="*/ 65 h 361"/>
              <a:gd name="T98" fmla="*/ 71 w 532"/>
              <a:gd name="T99" fmla="*/ 55 h 361"/>
              <a:gd name="T100" fmla="*/ 66 w 532"/>
              <a:gd name="T101" fmla="*/ 63 h 361"/>
              <a:gd name="T102" fmla="*/ 64 w 532"/>
              <a:gd name="T103" fmla="*/ 84 h 361"/>
              <a:gd name="T104" fmla="*/ 55 w 532"/>
              <a:gd name="T105" fmla="*/ 105 h 361"/>
              <a:gd name="T106" fmla="*/ 38 w 532"/>
              <a:gd name="T107" fmla="*/ 105 h 361"/>
              <a:gd name="T108" fmla="*/ 33 w 532"/>
              <a:gd name="T109" fmla="*/ 111 h 361"/>
              <a:gd name="T110" fmla="*/ 42 w 532"/>
              <a:gd name="T111" fmla="*/ 132 h 361"/>
              <a:gd name="T112" fmla="*/ 40 w 532"/>
              <a:gd name="T113" fmla="*/ 154 h 361"/>
              <a:gd name="T114" fmla="*/ 28 w 532"/>
              <a:gd name="T115" fmla="*/ 173 h 361"/>
              <a:gd name="T116" fmla="*/ 19 w 532"/>
              <a:gd name="T117" fmla="*/ 182 h 361"/>
              <a:gd name="T118" fmla="*/ 5 w 532"/>
              <a:gd name="T119" fmla="*/ 189 h 361"/>
              <a:gd name="T120" fmla="*/ 0 w 532"/>
              <a:gd name="T121" fmla="*/ 206 h 361"/>
              <a:gd name="T122" fmla="*/ 3 w 532"/>
              <a:gd name="T123" fmla="*/ 229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2" h="361">
                <a:moveTo>
                  <a:pt x="3" y="229"/>
                </a:moveTo>
                <a:lnTo>
                  <a:pt x="19" y="245"/>
                </a:lnTo>
                <a:lnTo>
                  <a:pt x="17" y="253"/>
                </a:lnTo>
                <a:lnTo>
                  <a:pt x="22" y="269"/>
                </a:lnTo>
                <a:lnTo>
                  <a:pt x="36" y="269"/>
                </a:lnTo>
                <a:lnTo>
                  <a:pt x="89" y="327"/>
                </a:lnTo>
                <a:lnTo>
                  <a:pt x="105" y="330"/>
                </a:lnTo>
                <a:lnTo>
                  <a:pt x="148" y="361"/>
                </a:lnTo>
                <a:lnTo>
                  <a:pt x="169" y="343"/>
                </a:lnTo>
                <a:lnTo>
                  <a:pt x="199" y="346"/>
                </a:lnTo>
                <a:lnTo>
                  <a:pt x="209" y="353"/>
                </a:lnTo>
                <a:lnTo>
                  <a:pt x="232" y="343"/>
                </a:lnTo>
                <a:lnTo>
                  <a:pt x="279" y="321"/>
                </a:lnTo>
                <a:lnTo>
                  <a:pt x="333" y="311"/>
                </a:lnTo>
                <a:lnTo>
                  <a:pt x="356" y="316"/>
                </a:lnTo>
                <a:lnTo>
                  <a:pt x="364" y="330"/>
                </a:lnTo>
                <a:lnTo>
                  <a:pt x="383" y="306"/>
                </a:lnTo>
                <a:lnTo>
                  <a:pt x="408" y="296"/>
                </a:lnTo>
                <a:lnTo>
                  <a:pt x="432" y="292"/>
                </a:lnTo>
                <a:lnTo>
                  <a:pt x="474" y="245"/>
                </a:lnTo>
                <a:lnTo>
                  <a:pt x="485" y="216"/>
                </a:lnTo>
                <a:lnTo>
                  <a:pt x="490" y="161"/>
                </a:lnTo>
                <a:lnTo>
                  <a:pt x="495" y="115"/>
                </a:lnTo>
                <a:lnTo>
                  <a:pt x="512" y="114"/>
                </a:lnTo>
                <a:lnTo>
                  <a:pt x="525" y="97"/>
                </a:lnTo>
                <a:lnTo>
                  <a:pt x="532" y="84"/>
                </a:lnTo>
                <a:lnTo>
                  <a:pt x="516" y="71"/>
                </a:lnTo>
                <a:lnTo>
                  <a:pt x="507" y="77"/>
                </a:lnTo>
                <a:lnTo>
                  <a:pt x="483" y="71"/>
                </a:lnTo>
                <a:lnTo>
                  <a:pt x="469" y="50"/>
                </a:lnTo>
                <a:lnTo>
                  <a:pt x="455" y="21"/>
                </a:lnTo>
                <a:lnTo>
                  <a:pt x="439" y="21"/>
                </a:lnTo>
                <a:lnTo>
                  <a:pt x="413" y="0"/>
                </a:lnTo>
                <a:lnTo>
                  <a:pt x="399" y="3"/>
                </a:lnTo>
                <a:lnTo>
                  <a:pt x="347" y="10"/>
                </a:lnTo>
                <a:lnTo>
                  <a:pt x="337" y="27"/>
                </a:lnTo>
                <a:lnTo>
                  <a:pt x="323" y="47"/>
                </a:lnTo>
                <a:lnTo>
                  <a:pt x="304" y="58"/>
                </a:lnTo>
                <a:lnTo>
                  <a:pt x="287" y="63"/>
                </a:lnTo>
                <a:lnTo>
                  <a:pt x="274" y="58"/>
                </a:lnTo>
                <a:lnTo>
                  <a:pt x="262" y="50"/>
                </a:lnTo>
                <a:lnTo>
                  <a:pt x="254" y="47"/>
                </a:lnTo>
                <a:lnTo>
                  <a:pt x="237" y="55"/>
                </a:lnTo>
                <a:lnTo>
                  <a:pt x="216" y="68"/>
                </a:lnTo>
                <a:lnTo>
                  <a:pt x="171" y="90"/>
                </a:lnTo>
                <a:lnTo>
                  <a:pt x="152" y="92"/>
                </a:lnTo>
                <a:lnTo>
                  <a:pt x="105" y="90"/>
                </a:lnTo>
                <a:lnTo>
                  <a:pt x="99" y="87"/>
                </a:lnTo>
                <a:lnTo>
                  <a:pt x="86" y="65"/>
                </a:lnTo>
                <a:lnTo>
                  <a:pt x="71" y="55"/>
                </a:lnTo>
                <a:lnTo>
                  <a:pt x="66" y="63"/>
                </a:lnTo>
                <a:lnTo>
                  <a:pt x="64" y="84"/>
                </a:lnTo>
                <a:lnTo>
                  <a:pt x="55" y="105"/>
                </a:lnTo>
                <a:lnTo>
                  <a:pt x="38" y="105"/>
                </a:lnTo>
                <a:lnTo>
                  <a:pt x="33" y="111"/>
                </a:lnTo>
                <a:lnTo>
                  <a:pt x="42" y="132"/>
                </a:lnTo>
                <a:lnTo>
                  <a:pt x="40" y="154"/>
                </a:lnTo>
                <a:lnTo>
                  <a:pt x="28" y="173"/>
                </a:lnTo>
                <a:lnTo>
                  <a:pt x="19" y="182"/>
                </a:lnTo>
                <a:lnTo>
                  <a:pt x="5" y="189"/>
                </a:lnTo>
                <a:lnTo>
                  <a:pt x="0" y="206"/>
                </a:lnTo>
                <a:lnTo>
                  <a:pt x="3" y="229"/>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36" name="RO"/>
          <p:cNvSpPr>
            <a:spLocks noChangeAspect="1"/>
          </p:cNvSpPr>
          <p:nvPr/>
        </p:nvSpPr>
        <p:spPr bwMode="auto">
          <a:xfrm>
            <a:off x="6938963" y="4241800"/>
            <a:ext cx="1028700" cy="677863"/>
          </a:xfrm>
          <a:custGeom>
            <a:avLst/>
            <a:gdLst>
              <a:gd name="T0" fmla="*/ 155 w 696"/>
              <a:gd name="T1" fmla="*/ 65 h 572"/>
              <a:gd name="T2" fmla="*/ 129 w 696"/>
              <a:gd name="T3" fmla="*/ 81 h 572"/>
              <a:gd name="T4" fmla="*/ 121 w 696"/>
              <a:gd name="T5" fmla="*/ 185 h 572"/>
              <a:gd name="T6" fmla="*/ 79 w 696"/>
              <a:gd name="T7" fmla="*/ 240 h 572"/>
              <a:gd name="T8" fmla="*/ 24 w 696"/>
              <a:gd name="T9" fmla="*/ 269 h 572"/>
              <a:gd name="T10" fmla="*/ 0 w 696"/>
              <a:gd name="T11" fmla="*/ 306 h 572"/>
              <a:gd name="T12" fmla="*/ 22 w 696"/>
              <a:gd name="T13" fmla="*/ 337 h 572"/>
              <a:gd name="T14" fmla="*/ 22 w 696"/>
              <a:gd name="T15" fmla="*/ 367 h 572"/>
              <a:gd name="T16" fmla="*/ 52 w 696"/>
              <a:gd name="T17" fmla="*/ 374 h 572"/>
              <a:gd name="T18" fmla="*/ 66 w 696"/>
              <a:gd name="T19" fmla="*/ 420 h 572"/>
              <a:gd name="T20" fmla="*/ 75 w 696"/>
              <a:gd name="T21" fmla="*/ 461 h 572"/>
              <a:gd name="T22" fmla="*/ 97 w 696"/>
              <a:gd name="T23" fmla="*/ 461 h 572"/>
              <a:gd name="T24" fmla="*/ 132 w 696"/>
              <a:gd name="T25" fmla="*/ 464 h 572"/>
              <a:gd name="T26" fmla="*/ 132 w 696"/>
              <a:gd name="T27" fmla="*/ 488 h 572"/>
              <a:gd name="T28" fmla="*/ 155 w 696"/>
              <a:gd name="T29" fmla="*/ 509 h 572"/>
              <a:gd name="T30" fmla="*/ 155 w 696"/>
              <a:gd name="T31" fmla="*/ 538 h 572"/>
              <a:gd name="T32" fmla="*/ 203 w 696"/>
              <a:gd name="T33" fmla="*/ 551 h 572"/>
              <a:gd name="T34" fmla="*/ 270 w 696"/>
              <a:gd name="T35" fmla="*/ 572 h 572"/>
              <a:gd name="T36" fmla="*/ 319 w 696"/>
              <a:gd name="T37" fmla="*/ 556 h 572"/>
              <a:gd name="T38" fmla="*/ 376 w 696"/>
              <a:gd name="T39" fmla="*/ 562 h 572"/>
              <a:gd name="T40" fmla="*/ 409 w 696"/>
              <a:gd name="T41" fmla="*/ 541 h 572"/>
              <a:gd name="T42" fmla="*/ 503 w 696"/>
              <a:gd name="T43" fmla="*/ 492 h 572"/>
              <a:gd name="T44" fmla="*/ 558 w 696"/>
              <a:gd name="T45" fmla="*/ 498 h 572"/>
              <a:gd name="T46" fmla="*/ 599 w 696"/>
              <a:gd name="T47" fmla="*/ 506 h 572"/>
              <a:gd name="T48" fmla="*/ 625 w 696"/>
              <a:gd name="T49" fmla="*/ 482 h 572"/>
              <a:gd name="T50" fmla="*/ 627 w 696"/>
              <a:gd name="T51" fmla="*/ 401 h 572"/>
              <a:gd name="T52" fmla="*/ 651 w 696"/>
              <a:gd name="T53" fmla="*/ 374 h 572"/>
              <a:gd name="T54" fmla="*/ 674 w 696"/>
              <a:gd name="T55" fmla="*/ 374 h 572"/>
              <a:gd name="T56" fmla="*/ 679 w 696"/>
              <a:gd name="T57" fmla="*/ 353 h 572"/>
              <a:gd name="T58" fmla="*/ 696 w 696"/>
              <a:gd name="T59" fmla="*/ 334 h 572"/>
              <a:gd name="T60" fmla="*/ 660 w 696"/>
              <a:gd name="T61" fmla="*/ 322 h 572"/>
              <a:gd name="T62" fmla="*/ 618 w 696"/>
              <a:gd name="T63" fmla="*/ 331 h 572"/>
              <a:gd name="T64" fmla="*/ 578 w 696"/>
              <a:gd name="T65" fmla="*/ 322 h 572"/>
              <a:gd name="T66" fmla="*/ 571 w 696"/>
              <a:gd name="T67" fmla="*/ 285 h 572"/>
              <a:gd name="T68" fmla="*/ 558 w 696"/>
              <a:gd name="T69" fmla="*/ 248 h 572"/>
              <a:gd name="T70" fmla="*/ 550 w 696"/>
              <a:gd name="T71" fmla="*/ 211 h 572"/>
              <a:gd name="T72" fmla="*/ 552 w 696"/>
              <a:gd name="T73" fmla="*/ 176 h 572"/>
              <a:gd name="T74" fmla="*/ 522 w 696"/>
              <a:gd name="T75" fmla="*/ 124 h 572"/>
              <a:gd name="T76" fmla="*/ 512 w 696"/>
              <a:gd name="T77" fmla="*/ 87 h 572"/>
              <a:gd name="T78" fmla="*/ 482 w 696"/>
              <a:gd name="T79" fmla="*/ 58 h 572"/>
              <a:gd name="T80" fmla="*/ 461 w 696"/>
              <a:gd name="T81" fmla="*/ 13 h 572"/>
              <a:gd name="T82" fmla="*/ 440 w 696"/>
              <a:gd name="T83" fmla="*/ 0 h 572"/>
              <a:gd name="T84" fmla="*/ 416 w 696"/>
              <a:gd name="T85" fmla="*/ 19 h 572"/>
              <a:gd name="T86" fmla="*/ 388 w 696"/>
              <a:gd name="T87" fmla="*/ 21 h 572"/>
              <a:gd name="T88" fmla="*/ 364 w 696"/>
              <a:gd name="T89" fmla="*/ 37 h 572"/>
              <a:gd name="T90" fmla="*/ 327 w 696"/>
              <a:gd name="T91" fmla="*/ 43 h 572"/>
              <a:gd name="T92" fmla="*/ 297 w 696"/>
              <a:gd name="T93" fmla="*/ 19 h 572"/>
              <a:gd name="T94" fmla="*/ 259 w 696"/>
              <a:gd name="T95" fmla="*/ 34 h 572"/>
              <a:gd name="T96" fmla="*/ 228 w 696"/>
              <a:gd name="T97" fmla="*/ 31 h 572"/>
              <a:gd name="T98" fmla="*/ 190 w 696"/>
              <a:gd name="T99" fmla="*/ 29 h 572"/>
              <a:gd name="T100" fmla="*/ 171 w 696"/>
              <a:gd name="T101" fmla="*/ 40 h 572"/>
              <a:gd name="T102" fmla="*/ 162 w 696"/>
              <a:gd name="T103" fmla="*/ 4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6" h="572">
                <a:moveTo>
                  <a:pt x="167" y="50"/>
                </a:moveTo>
                <a:lnTo>
                  <a:pt x="155" y="65"/>
                </a:lnTo>
                <a:lnTo>
                  <a:pt x="146" y="77"/>
                </a:lnTo>
                <a:lnTo>
                  <a:pt x="129" y="81"/>
                </a:lnTo>
                <a:lnTo>
                  <a:pt x="122" y="169"/>
                </a:lnTo>
                <a:lnTo>
                  <a:pt x="121" y="185"/>
                </a:lnTo>
                <a:lnTo>
                  <a:pt x="102" y="219"/>
                </a:lnTo>
                <a:lnTo>
                  <a:pt x="79" y="240"/>
                </a:lnTo>
                <a:lnTo>
                  <a:pt x="64" y="259"/>
                </a:lnTo>
                <a:lnTo>
                  <a:pt x="24" y="269"/>
                </a:lnTo>
                <a:lnTo>
                  <a:pt x="4" y="289"/>
                </a:lnTo>
                <a:lnTo>
                  <a:pt x="0" y="306"/>
                </a:lnTo>
                <a:lnTo>
                  <a:pt x="14" y="319"/>
                </a:lnTo>
                <a:lnTo>
                  <a:pt x="22" y="337"/>
                </a:lnTo>
                <a:lnTo>
                  <a:pt x="19" y="350"/>
                </a:lnTo>
                <a:lnTo>
                  <a:pt x="22" y="367"/>
                </a:lnTo>
                <a:lnTo>
                  <a:pt x="33" y="374"/>
                </a:lnTo>
                <a:lnTo>
                  <a:pt x="52" y="374"/>
                </a:lnTo>
                <a:lnTo>
                  <a:pt x="59" y="390"/>
                </a:lnTo>
                <a:lnTo>
                  <a:pt x="66" y="420"/>
                </a:lnTo>
                <a:lnTo>
                  <a:pt x="69" y="442"/>
                </a:lnTo>
                <a:lnTo>
                  <a:pt x="75" y="461"/>
                </a:lnTo>
                <a:lnTo>
                  <a:pt x="88" y="467"/>
                </a:lnTo>
                <a:lnTo>
                  <a:pt x="97" y="461"/>
                </a:lnTo>
                <a:lnTo>
                  <a:pt x="113" y="448"/>
                </a:lnTo>
                <a:lnTo>
                  <a:pt x="132" y="464"/>
                </a:lnTo>
                <a:lnTo>
                  <a:pt x="129" y="479"/>
                </a:lnTo>
                <a:lnTo>
                  <a:pt x="132" y="488"/>
                </a:lnTo>
                <a:lnTo>
                  <a:pt x="141" y="492"/>
                </a:lnTo>
                <a:lnTo>
                  <a:pt x="155" y="509"/>
                </a:lnTo>
                <a:lnTo>
                  <a:pt x="151" y="528"/>
                </a:lnTo>
                <a:lnTo>
                  <a:pt x="155" y="538"/>
                </a:lnTo>
                <a:lnTo>
                  <a:pt x="176" y="538"/>
                </a:lnTo>
                <a:lnTo>
                  <a:pt x="203" y="551"/>
                </a:lnTo>
                <a:lnTo>
                  <a:pt x="251" y="572"/>
                </a:lnTo>
                <a:lnTo>
                  <a:pt x="270" y="572"/>
                </a:lnTo>
                <a:lnTo>
                  <a:pt x="297" y="566"/>
                </a:lnTo>
                <a:lnTo>
                  <a:pt x="319" y="556"/>
                </a:lnTo>
                <a:lnTo>
                  <a:pt x="357" y="563"/>
                </a:lnTo>
                <a:lnTo>
                  <a:pt x="376" y="562"/>
                </a:lnTo>
                <a:lnTo>
                  <a:pt x="385" y="559"/>
                </a:lnTo>
                <a:lnTo>
                  <a:pt x="409" y="541"/>
                </a:lnTo>
                <a:lnTo>
                  <a:pt x="463" y="506"/>
                </a:lnTo>
                <a:lnTo>
                  <a:pt x="503" y="492"/>
                </a:lnTo>
                <a:lnTo>
                  <a:pt x="525" y="491"/>
                </a:lnTo>
                <a:lnTo>
                  <a:pt x="558" y="498"/>
                </a:lnTo>
                <a:lnTo>
                  <a:pt x="585" y="501"/>
                </a:lnTo>
                <a:lnTo>
                  <a:pt x="599" y="506"/>
                </a:lnTo>
                <a:lnTo>
                  <a:pt x="621" y="504"/>
                </a:lnTo>
                <a:lnTo>
                  <a:pt x="625" y="482"/>
                </a:lnTo>
                <a:lnTo>
                  <a:pt x="625" y="442"/>
                </a:lnTo>
                <a:lnTo>
                  <a:pt x="627" y="401"/>
                </a:lnTo>
                <a:lnTo>
                  <a:pt x="639" y="380"/>
                </a:lnTo>
                <a:lnTo>
                  <a:pt x="651" y="374"/>
                </a:lnTo>
                <a:lnTo>
                  <a:pt x="663" y="383"/>
                </a:lnTo>
                <a:lnTo>
                  <a:pt x="674" y="374"/>
                </a:lnTo>
                <a:lnTo>
                  <a:pt x="682" y="364"/>
                </a:lnTo>
                <a:lnTo>
                  <a:pt x="679" y="353"/>
                </a:lnTo>
                <a:lnTo>
                  <a:pt x="693" y="349"/>
                </a:lnTo>
                <a:lnTo>
                  <a:pt x="696" y="334"/>
                </a:lnTo>
                <a:lnTo>
                  <a:pt x="682" y="327"/>
                </a:lnTo>
                <a:lnTo>
                  <a:pt x="660" y="322"/>
                </a:lnTo>
                <a:lnTo>
                  <a:pt x="644" y="327"/>
                </a:lnTo>
                <a:lnTo>
                  <a:pt x="618" y="331"/>
                </a:lnTo>
                <a:lnTo>
                  <a:pt x="594" y="331"/>
                </a:lnTo>
                <a:lnTo>
                  <a:pt x="578" y="322"/>
                </a:lnTo>
                <a:lnTo>
                  <a:pt x="571" y="306"/>
                </a:lnTo>
                <a:lnTo>
                  <a:pt x="571" y="285"/>
                </a:lnTo>
                <a:lnTo>
                  <a:pt x="569" y="263"/>
                </a:lnTo>
                <a:lnTo>
                  <a:pt x="558" y="248"/>
                </a:lnTo>
                <a:lnTo>
                  <a:pt x="550" y="232"/>
                </a:lnTo>
                <a:lnTo>
                  <a:pt x="550" y="211"/>
                </a:lnTo>
                <a:lnTo>
                  <a:pt x="552" y="189"/>
                </a:lnTo>
                <a:lnTo>
                  <a:pt x="552" y="176"/>
                </a:lnTo>
                <a:lnTo>
                  <a:pt x="541" y="145"/>
                </a:lnTo>
                <a:lnTo>
                  <a:pt x="522" y="124"/>
                </a:lnTo>
                <a:lnTo>
                  <a:pt x="514" y="102"/>
                </a:lnTo>
                <a:lnTo>
                  <a:pt x="512" y="87"/>
                </a:lnTo>
                <a:lnTo>
                  <a:pt x="508" y="80"/>
                </a:lnTo>
                <a:lnTo>
                  <a:pt x="482" y="58"/>
                </a:lnTo>
                <a:lnTo>
                  <a:pt x="473" y="40"/>
                </a:lnTo>
                <a:lnTo>
                  <a:pt x="461" y="13"/>
                </a:lnTo>
                <a:lnTo>
                  <a:pt x="451" y="3"/>
                </a:lnTo>
                <a:lnTo>
                  <a:pt x="440" y="0"/>
                </a:lnTo>
                <a:lnTo>
                  <a:pt x="428" y="6"/>
                </a:lnTo>
                <a:lnTo>
                  <a:pt x="416" y="19"/>
                </a:lnTo>
                <a:lnTo>
                  <a:pt x="409" y="21"/>
                </a:lnTo>
                <a:lnTo>
                  <a:pt x="388" y="21"/>
                </a:lnTo>
                <a:lnTo>
                  <a:pt x="374" y="24"/>
                </a:lnTo>
                <a:lnTo>
                  <a:pt x="364" y="37"/>
                </a:lnTo>
                <a:lnTo>
                  <a:pt x="346" y="44"/>
                </a:lnTo>
                <a:lnTo>
                  <a:pt x="327" y="43"/>
                </a:lnTo>
                <a:lnTo>
                  <a:pt x="317" y="31"/>
                </a:lnTo>
                <a:lnTo>
                  <a:pt x="297" y="19"/>
                </a:lnTo>
                <a:lnTo>
                  <a:pt x="280" y="24"/>
                </a:lnTo>
                <a:lnTo>
                  <a:pt x="259" y="34"/>
                </a:lnTo>
                <a:lnTo>
                  <a:pt x="242" y="37"/>
                </a:lnTo>
                <a:lnTo>
                  <a:pt x="228" y="31"/>
                </a:lnTo>
                <a:lnTo>
                  <a:pt x="212" y="21"/>
                </a:lnTo>
                <a:lnTo>
                  <a:pt x="190" y="29"/>
                </a:lnTo>
                <a:lnTo>
                  <a:pt x="176" y="37"/>
                </a:lnTo>
                <a:lnTo>
                  <a:pt x="171" y="40"/>
                </a:lnTo>
                <a:lnTo>
                  <a:pt x="167" y="43"/>
                </a:lnTo>
                <a:lnTo>
                  <a:pt x="162" y="44"/>
                </a:lnTo>
                <a:lnTo>
                  <a:pt x="167" y="50"/>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37" name="LT"/>
          <p:cNvSpPr>
            <a:spLocks noChangeAspect="1"/>
          </p:cNvSpPr>
          <p:nvPr/>
        </p:nvSpPr>
        <p:spPr bwMode="auto">
          <a:xfrm>
            <a:off x="6938963" y="3040063"/>
            <a:ext cx="538162" cy="381000"/>
          </a:xfrm>
          <a:custGeom>
            <a:avLst/>
            <a:gdLst>
              <a:gd name="T0" fmla="*/ 3 w 364"/>
              <a:gd name="T1" fmla="*/ 34 h 318"/>
              <a:gd name="T2" fmla="*/ 0 w 364"/>
              <a:gd name="T3" fmla="*/ 44 h 318"/>
              <a:gd name="T4" fmla="*/ 6 w 364"/>
              <a:gd name="T5" fmla="*/ 81 h 318"/>
              <a:gd name="T6" fmla="*/ 22 w 364"/>
              <a:gd name="T7" fmla="*/ 136 h 318"/>
              <a:gd name="T8" fmla="*/ 36 w 364"/>
              <a:gd name="T9" fmla="*/ 152 h 318"/>
              <a:gd name="T10" fmla="*/ 69 w 364"/>
              <a:gd name="T11" fmla="*/ 166 h 318"/>
              <a:gd name="T12" fmla="*/ 83 w 364"/>
              <a:gd name="T13" fmla="*/ 170 h 318"/>
              <a:gd name="T14" fmla="*/ 85 w 364"/>
              <a:gd name="T15" fmla="*/ 189 h 318"/>
              <a:gd name="T16" fmla="*/ 85 w 364"/>
              <a:gd name="T17" fmla="*/ 220 h 318"/>
              <a:gd name="T18" fmla="*/ 118 w 364"/>
              <a:gd name="T19" fmla="*/ 257 h 318"/>
              <a:gd name="T20" fmla="*/ 138 w 364"/>
              <a:gd name="T21" fmla="*/ 268 h 318"/>
              <a:gd name="T22" fmla="*/ 149 w 364"/>
              <a:gd name="T23" fmla="*/ 274 h 318"/>
              <a:gd name="T24" fmla="*/ 176 w 364"/>
              <a:gd name="T25" fmla="*/ 312 h 318"/>
              <a:gd name="T26" fmla="*/ 185 w 364"/>
              <a:gd name="T27" fmla="*/ 305 h 318"/>
              <a:gd name="T28" fmla="*/ 204 w 364"/>
              <a:gd name="T29" fmla="*/ 303 h 318"/>
              <a:gd name="T30" fmla="*/ 226 w 364"/>
              <a:gd name="T31" fmla="*/ 318 h 318"/>
              <a:gd name="T32" fmla="*/ 242 w 364"/>
              <a:gd name="T33" fmla="*/ 308 h 318"/>
              <a:gd name="T34" fmla="*/ 265 w 364"/>
              <a:gd name="T35" fmla="*/ 278 h 318"/>
              <a:gd name="T36" fmla="*/ 282 w 364"/>
              <a:gd name="T37" fmla="*/ 268 h 318"/>
              <a:gd name="T38" fmla="*/ 298 w 364"/>
              <a:gd name="T39" fmla="*/ 276 h 318"/>
              <a:gd name="T40" fmla="*/ 308 w 364"/>
              <a:gd name="T41" fmla="*/ 271 h 318"/>
              <a:gd name="T42" fmla="*/ 309 w 364"/>
              <a:gd name="T43" fmla="*/ 260 h 318"/>
              <a:gd name="T44" fmla="*/ 312 w 364"/>
              <a:gd name="T45" fmla="*/ 200 h 318"/>
              <a:gd name="T46" fmla="*/ 322 w 364"/>
              <a:gd name="T47" fmla="*/ 182 h 318"/>
              <a:gd name="T48" fmla="*/ 322 w 364"/>
              <a:gd name="T49" fmla="*/ 155 h 318"/>
              <a:gd name="T50" fmla="*/ 326 w 364"/>
              <a:gd name="T51" fmla="*/ 145 h 318"/>
              <a:gd name="T52" fmla="*/ 345 w 364"/>
              <a:gd name="T53" fmla="*/ 129 h 318"/>
              <a:gd name="T54" fmla="*/ 364 w 364"/>
              <a:gd name="T55" fmla="*/ 126 h 318"/>
              <a:gd name="T56" fmla="*/ 364 w 364"/>
              <a:gd name="T57" fmla="*/ 96 h 318"/>
              <a:gd name="T58" fmla="*/ 359 w 364"/>
              <a:gd name="T59" fmla="*/ 74 h 318"/>
              <a:gd name="T60" fmla="*/ 345 w 364"/>
              <a:gd name="T61" fmla="*/ 65 h 318"/>
              <a:gd name="T62" fmla="*/ 339 w 364"/>
              <a:gd name="T63" fmla="*/ 68 h 318"/>
              <a:gd name="T64" fmla="*/ 315 w 364"/>
              <a:gd name="T65" fmla="*/ 44 h 318"/>
              <a:gd name="T66" fmla="*/ 301 w 364"/>
              <a:gd name="T67" fmla="*/ 27 h 318"/>
              <a:gd name="T68" fmla="*/ 284 w 364"/>
              <a:gd name="T69" fmla="*/ 27 h 318"/>
              <a:gd name="T70" fmla="*/ 251 w 364"/>
              <a:gd name="T71" fmla="*/ 27 h 318"/>
              <a:gd name="T72" fmla="*/ 245 w 364"/>
              <a:gd name="T73" fmla="*/ 21 h 318"/>
              <a:gd name="T74" fmla="*/ 237 w 364"/>
              <a:gd name="T75" fmla="*/ 2 h 318"/>
              <a:gd name="T76" fmla="*/ 228 w 364"/>
              <a:gd name="T77" fmla="*/ 0 h 318"/>
              <a:gd name="T78" fmla="*/ 199 w 364"/>
              <a:gd name="T79" fmla="*/ 0 h 318"/>
              <a:gd name="T80" fmla="*/ 188 w 364"/>
              <a:gd name="T81" fmla="*/ 15 h 318"/>
              <a:gd name="T82" fmla="*/ 176 w 364"/>
              <a:gd name="T83" fmla="*/ 12 h 318"/>
              <a:gd name="T84" fmla="*/ 157 w 364"/>
              <a:gd name="T85" fmla="*/ 8 h 318"/>
              <a:gd name="T86" fmla="*/ 149 w 364"/>
              <a:gd name="T87" fmla="*/ 5 h 318"/>
              <a:gd name="T88" fmla="*/ 135 w 364"/>
              <a:gd name="T89" fmla="*/ 10 h 318"/>
              <a:gd name="T90" fmla="*/ 125 w 364"/>
              <a:gd name="T91" fmla="*/ 18 h 318"/>
              <a:gd name="T92" fmla="*/ 106 w 364"/>
              <a:gd name="T93" fmla="*/ 10 h 318"/>
              <a:gd name="T94" fmla="*/ 66 w 364"/>
              <a:gd name="T95" fmla="*/ 2 h 318"/>
              <a:gd name="T96" fmla="*/ 56 w 364"/>
              <a:gd name="T97" fmla="*/ 0 h 318"/>
              <a:gd name="T98" fmla="*/ 45 w 364"/>
              <a:gd name="T99" fmla="*/ 10 h 318"/>
              <a:gd name="T100" fmla="*/ 26 w 364"/>
              <a:gd name="T101" fmla="*/ 24 h 318"/>
              <a:gd name="T102" fmla="*/ 3 w 364"/>
              <a:gd name="T103" fmla="*/ 34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18">
                <a:moveTo>
                  <a:pt x="3" y="34"/>
                </a:moveTo>
                <a:lnTo>
                  <a:pt x="0" y="44"/>
                </a:lnTo>
                <a:lnTo>
                  <a:pt x="6" y="81"/>
                </a:lnTo>
                <a:lnTo>
                  <a:pt x="22" y="136"/>
                </a:lnTo>
                <a:lnTo>
                  <a:pt x="36" y="152"/>
                </a:lnTo>
                <a:lnTo>
                  <a:pt x="69" y="166"/>
                </a:lnTo>
                <a:lnTo>
                  <a:pt x="83" y="170"/>
                </a:lnTo>
                <a:lnTo>
                  <a:pt x="85" y="189"/>
                </a:lnTo>
                <a:lnTo>
                  <a:pt x="85" y="220"/>
                </a:lnTo>
                <a:lnTo>
                  <a:pt x="118" y="257"/>
                </a:lnTo>
                <a:lnTo>
                  <a:pt x="138" y="268"/>
                </a:lnTo>
                <a:lnTo>
                  <a:pt x="149" y="274"/>
                </a:lnTo>
                <a:lnTo>
                  <a:pt x="176" y="312"/>
                </a:lnTo>
                <a:lnTo>
                  <a:pt x="185" y="305"/>
                </a:lnTo>
                <a:lnTo>
                  <a:pt x="204" y="303"/>
                </a:lnTo>
                <a:lnTo>
                  <a:pt x="226" y="318"/>
                </a:lnTo>
                <a:lnTo>
                  <a:pt x="242" y="308"/>
                </a:lnTo>
                <a:lnTo>
                  <a:pt x="265" y="278"/>
                </a:lnTo>
                <a:lnTo>
                  <a:pt x="282" y="268"/>
                </a:lnTo>
                <a:lnTo>
                  <a:pt x="298" y="276"/>
                </a:lnTo>
                <a:lnTo>
                  <a:pt x="308" y="271"/>
                </a:lnTo>
                <a:lnTo>
                  <a:pt x="309" y="260"/>
                </a:lnTo>
                <a:lnTo>
                  <a:pt x="312" y="200"/>
                </a:lnTo>
                <a:lnTo>
                  <a:pt x="322" y="182"/>
                </a:lnTo>
                <a:lnTo>
                  <a:pt x="322" y="155"/>
                </a:lnTo>
                <a:lnTo>
                  <a:pt x="326" y="145"/>
                </a:lnTo>
                <a:lnTo>
                  <a:pt x="345" y="129"/>
                </a:lnTo>
                <a:lnTo>
                  <a:pt x="364" y="126"/>
                </a:lnTo>
                <a:lnTo>
                  <a:pt x="364" y="96"/>
                </a:lnTo>
                <a:lnTo>
                  <a:pt x="359" y="74"/>
                </a:lnTo>
                <a:lnTo>
                  <a:pt x="345" y="65"/>
                </a:lnTo>
                <a:lnTo>
                  <a:pt x="339" y="68"/>
                </a:lnTo>
                <a:lnTo>
                  <a:pt x="315" y="44"/>
                </a:lnTo>
                <a:lnTo>
                  <a:pt x="301" y="27"/>
                </a:lnTo>
                <a:lnTo>
                  <a:pt x="284" y="27"/>
                </a:lnTo>
                <a:lnTo>
                  <a:pt x="251" y="27"/>
                </a:lnTo>
                <a:lnTo>
                  <a:pt x="245" y="21"/>
                </a:lnTo>
                <a:lnTo>
                  <a:pt x="237" y="2"/>
                </a:lnTo>
                <a:lnTo>
                  <a:pt x="228" y="0"/>
                </a:lnTo>
                <a:lnTo>
                  <a:pt x="199" y="0"/>
                </a:lnTo>
                <a:lnTo>
                  <a:pt x="188" y="15"/>
                </a:lnTo>
                <a:lnTo>
                  <a:pt x="176" y="12"/>
                </a:lnTo>
                <a:lnTo>
                  <a:pt x="157" y="8"/>
                </a:lnTo>
                <a:lnTo>
                  <a:pt x="149" y="5"/>
                </a:lnTo>
                <a:lnTo>
                  <a:pt x="135" y="10"/>
                </a:lnTo>
                <a:lnTo>
                  <a:pt x="125" y="18"/>
                </a:lnTo>
                <a:lnTo>
                  <a:pt x="106" y="10"/>
                </a:lnTo>
                <a:lnTo>
                  <a:pt x="66" y="2"/>
                </a:lnTo>
                <a:lnTo>
                  <a:pt x="56" y="0"/>
                </a:lnTo>
                <a:lnTo>
                  <a:pt x="45" y="10"/>
                </a:lnTo>
                <a:lnTo>
                  <a:pt x="26" y="24"/>
                </a:lnTo>
                <a:lnTo>
                  <a:pt x="3" y="34"/>
                </a:lnTo>
                <a:close/>
              </a:path>
            </a:pathLst>
          </a:custGeom>
          <a:solidFill>
            <a:srgbClr val="FAFAFA"/>
          </a:solidFill>
          <a:ln w="3175">
            <a:solidFill>
              <a:schemeClr val="bg1"/>
            </a:solidFill>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nvGrpSpPr>
          <p:cNvPr id="38" name="EE"/>
          <p:cNvGrpSpPr>
            <a:grpSpLocks/>
          </p:cNvGrpSpPr>
          <p:nvPr/>
        </p:nvGrpSpPr>
        <p:grpSpPr bwMode="auto">
          <a:xfrm>
            <a:off x="6978582" y="2528348"/>
            <a:ext cx="541339" cy="327025"/>
            <a:chOff x="3930663" y="2840721"/>
            <a:chExt cx="247" cy="169"/>
          </a:xfrm>
          <a:solidFill>
            <a:srgbClr val="FAFAFA"/>
          </a:solidFill>
          <a:effectLst/>
        </p:grpSpPr>
        <p:sp>
          <p:nvSpPr>
            <p:cNvPr id="62" name="Freeform 533" descr="80%"/>
            <p:cNvSpPr>
              <a:spLocks noChangeAspect="1"/>
            </p:cNvSpPr>
            <p:nvPr/>
          </p:nvSpPr>
          <p:spPr bwMode="auto">
            <a:xfrm>
              <a:off x="3930673" y="2840778"/>
              <a:ext cx="38" cy="31"/>
            </a:xfrm>
            <a:custGeom>
              <a:avLst/>
              <a:gdLst>
                <a:gd name="T0" fmla="*/ 33 w 56"/>
                <a:gd name="T1" fmla="*/ 0 h 52"/>
                <a:gd name="T2" fmla="*/ 7 w 56"/>
                <a:gd name="T3" fmla="*/ 18 h 52"/>
                <a:gd name="T4" fmla="*/ 0 w 56"/>
                <a:gd name="T5" fmla="*/ 28 h 52"/>
                <a:gd name="T6" fmla="*/ 16 w 56"/>
                <a:gd name="T7" fmla="*/ 34 h 52"/>
                <a:gd name="T8" fmla="*/ 30 w 56"/>
                <a:gd name="T9" fmla="*/ 52 h 52"/>
                <a:gd name="T10" fmla="*/ 42 w 56"/>
                <a:gd name="T11" fmla="*/ 40 h 52"/>
                <a:gd name="T12" fmla="*/ 56 w 56"/>
                <a:gd name="T13" fmla="*/ 28 h 52"/>
                <a:gd name="T14" fmla="*/ 44 w 56"/>
                <a:gd name="T15" fmla="*/ 15 h 52"/>
                <a:gd name="T16" fmla="*/ 33 w 56"/>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2">
                  <a:moveTo>
                    <a:pt x="33" y="0"/>
                  </a:moveTo>
                  <a:lnTo>
                    <a:pt x="7" y="18"/>
                  </a:lnTo>
                  <a:lnTo>
                    <a:pt x="0" y="28"/>
                  </a:lnTo>
                  <a:lnTo>
                    <a:pt x="16" y="34"/>
                  </a:lnTo>
                  <a:lnTo>
                    <a:pt x="30" y="52"/>
                  </a:lnTo>
                  <a:lnTo>
                    <a:pt x="42" y="40"/>
                  </a:lnTo>
                  <a:lnTo>
                    <a:pt x="56" y="28"/>
                  </a:lnTo>
                  <a:lnTo>
                    <a:pt x="44" y="15"/>
                  </a:lnTo>
                  <a:lnTo>
                    <a:pt x="33"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3" name="Freeform 534" descr="80%"/>
            <p:cNvSpPr>
              <a:spLocks noChangeAspect="1"/>
            </p:cNvSpPr>
            <p:nvPr/>
          </p:nvSpPr>
          <p:spPr bwMode="auto">
            <a:xfrm>
              <a:off x="3930663" y="2840819"/>
              <a:ext cx="55" cy="59"/>
            </a:xfrm>
            <a:custGeom>
              <a:avLst/>
              <a:gdLst>
                <a:gd name="T0" fmla="*/ 69 w 83"/>
                <a:gd name="T1" fmla="*/ 0 h 95"/>
                <a:gd name="T2" fmla="*/ 41 w 83"/>
                <a:gd name="T3" fmla="*/ 6 h 95"/>
                <a:gd name="T4" fmla="*/ 31 w 83"/>
                <a:gd name="T5" fmla="*/ 0 h 95"/>
                <a:gd name="T6" fmla="*/ 14 w 83"/>
                <a:gd name="T7" fmla="*/ 24 h 95"/>
                <a:gd name="T8" fmla="*/ 8 w 83"/>
                <a:gd name="T9" fmla="*/ 18 h 95"/>
                <a:gd name="T10" fmla="*/ 0 w 83"/>
                <a:gd name="T11" fmla="*/ 34 h 95"/>
                <a:gd name="T12" fmla="*/ 9 w 83"/>
                <a:gd name="T13" fmla="*/ 43 h 95"/>
                <a:gd name="T14" fmla="*/ 9 w 83"/>
                <a:gd name="T15" fmla="*/ 82 h 95"/>
                <a:gd name="T16" fmla="*/ 17 w 83"/>
                <a:gd name="T17" fmla="*/ 95 h 95"/>
                <a:gd name="T18" fmla="*/ 59 w 83"/>
                <a:gd name="T19" fmla="*/ 43 h 95"/>
                <a:gd name="T20" fmla="*/ 75 w 83"/>
                <a:gd name="T21" fmla="*/ 43 h 95"/>
                <a:gd name="T22" fmla="*/ 83 w 83"/>
                <a:gd name="T23" fmla="*/ 28 h 95"/>
                <a:gd name="T24" fmla="*/ 80 w 83"/>
                <a:gd name="T25" fmla="*/ 21 h 95"/>
                <a:gd name="T26" fmla="*/ 69 w 83"/>
                <a:gd name="T2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95">
                  <a:moveTo>
                    <a:pt x="69" y="0"/>
                  </a:moveTo>
                  <a:lnTo>
                    <a:pt x="41" y="6"/>
                  </a:lnTo>
                  <a:lnTo>
                    <a:pt x="31" y="0"/>
                  </a:lnTo>
                  <a:lnTo>
                    <a:pt x="14" y="24"/>
                  </a:lnTo>
                  <a:lnTo>
                    <a:pt x="8" y="18"/>
                  </a:lnTo>
                  <a:lnTo>
                    <a:pt x="0" y="34"/>
                  </a:lnTo>
                  <a:lnTo>
                    <a:pt x="9" y="43"/>
                  </a:lnTo>
                  <a:lnTo>
                    <a:pt x="9" y="82"/>
                  </a:lnTo>
                  <a:lnTo>
                    <a:pt x="17" y="95"/>
                  </a:lnTo>
                  <a:lnTo>
                    <a:pt x="59" y="43"/>
                  </a:lnTo>
                  <a:lnTo>
                    <a:pt x="75" y="43"/>
                  </a:lnTo>
                  <a:lnTo>
                    <a:pt x="83" y="28"/>
                  </a:lnTo>
                  <a:lnTo>
                    <a:pt x="80" y="21"/>
                  </a:lnTo>
                  <a:lnTo>
                    <a:pt x="69"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4" name="Freeform 535" descr="80%"/>
            <p:cNvSpPr>
              <a:spLocks noChangeAspect="1"/>
            </p:cNvSpPr>
            <p:nvPr/>
          </p:nvSpPr>
          <p:spPr bwMode="auto">
            <a:xfrm>
              <a:off x="3930728" y="2840721"/>
              <a:ext cx="182" cy="169"/>
            </a:xfrm>
            <a:custGeom>
              <a:avLst/>
              <a:gdLst>
                <a:gd name="T0" fmla="*/ 262 w 271"/>
                <a:gd name="T1" fmla="*/ 256 h 272"/>
                <a:gd name="T2" fmla="*/ 260 w 271"/>
                <a:gd name="T3" fmla="*/ 241 h 272"/>
                <a:gd name="T4" fmla="*/ 269 w 271"/>
                <a:gd name="T5" fmla="*/ 226 h 272"/>
                <a:gd name="T6" fmla="*/ 269 w 271"/>
                <a:gd name="T7" fmla="*/ 206 h 272"/>
                <a:gd name="T8" fmla="*/ 250 w 271"/>
                <a:gd name="T9" fmla="*/ 191 h 272"/>
                <a:gd name="T10" fmla="*/ 243 w 271"/>
                <a:gd name="T11" fmla="*/ 182 h 272"/>
                <a:gd name="T12" fmla="*/ 238 w 271"/>
                <a:gd name="T13" fmla="*/ 155 h 272"/>
                <a:gd name="T14" fmla="*/ 227 w 271"/>
                <a:gd name="T15" fmla="*/ 132 h 272"/>
                <a:gd name="T16" fmla="*/ 214 w 271"/>
                <a:gd name="T17" fmla="*/ 114 h 272"/>
                <a:gd name="T18" fmla="*/ 214 w 271"/>
                <a:gd name="T19" fmla="*/ 98 h 272"/>
                <a:gd name="T20" fmla="*/ 222 w 271"/>
                <a:gd name="T21" fmla="*/ 87 h 272"/>
                <a:gd name="T22" fmla="*/ 252 w 271"/>
                <a:gd name="T23" fmla="*/ 90 h 272"/>
                <a:gd name="T24" fmla="*/ 264 w 271"/>
                <a:gd name="T25" fmla="*/ 74 h 272"/>
                <a:gd name="T26" fmla="*/ 271 w 271"/>
                <a:gd name="T27" fmla="*/ 34 h 272"/>
                <a:gd name="T28" fmla="*/ 269 w 271"/>
                <a:gd name="T29" fmla="*/ 21 h 272"/>
                <a:gd name="T30" fmla="*/ 255 w 271"/>
                <a:gd name="T31" fmla="*/ 19 h 272"/>
                <a:gd name="T32" fmla="*/ 230 w 271"/>
                <a:gd name="T33" fmla="*/ 21 h 272"/>
                <a:gd name="T34" fmla="*/ 194 w 271"/>
                <a:gd name="T35" fmla="*/ 21 h 272"/>
                <a:gd name="T36" fmla="*/ 167 w 271"/>
                <a:gd name="T37" fmla="*/ 9 h 272"/>
                <a:gd name="T38" fmla="*/ 148 w 271"/>
                <a:gd name="T39" fmla="*/ 3 h 272"/>
                <a:gd name="T40" fmla="*/ 132 w 271"/>
                <a:gd name="T41" fmla="*/ 0 h 272"/>
                <a:gd name="T42" fmla="*/ 116 w 271"/>
                <a:gd name="T43" fmla="*/ 24 h 272"/>
                <a:gd name="T44" fmla="*/ 97 w 271"/>
                <a:gd name="T45" fmla="*/ 40 h 272"/>
                <a:gd name="T46" fmla="*/ 69 w 271"/>
                <a:gd name="T47" fmla="*/ 37 h 272"/>
                <a:gd name="T48" fmla="*/ 52 w 271"/>
                <a:gd name="T49" fmla="*/ 50 h 272"/>
                <a:gd name="T50" fmla="*/ 26 w 271"/>
                <a:gd name="T51" fmla="*/ 80 h 272"/>
                <a:gd name="T52" fmla="*/ 5 w 271"/>
                <a:gd name="T53" fmla="*/ 98 h 272"/>
                <a:gd name="T54" fmla="*/ 0 w 271"/>
                <a:gd name="T55" fmla="*/ 111 h 272"/>
                <a:gd name="T56" fmla="*/ 12 w 271"/>
                <a:gd name="T57" fmla="*/ 135 h 272"/>
                <a:gd name="T58" fmla="*/ 24 w 271"/>
                <a:gd name="T59" fmla="*/ 167 h 272"/>
                <a:gd name="T60" fmla="*/ 38 w 271"/>
                <a:gd name="T61" fmla="*/ 185 h 272"/>
                <a:gd name="T62" fmla="*/ 52 w 271"/>
                <a:gd name="T63" fmla="*/ 179 h 272"/>
                <a:gd name="T64" fmla="*/ 76 w 271"/>
                <a:gd name="T65" fmla="*/ 169 h 272"/>
                <a:gd name="T66" fmla="*/ 74 w 271"/>
                <a:gd name="T67" fmla="*/ 195 h 272"/>
                <a:gd name="T68" fmla="*/ 66 w 271"/>
                <a:gd name="T69" fmla="*/ 226 h 272"/>
                <a:gd name="T70" fmla="*/ 69 w 271"/>
                <a:gd name="T71" fmla="*/ 232 h 272"/>
                <a:gd name="T72" fmla="*/ 80 w 271"/>
                <a:gd name="T73" fmla="*/ 232 h 272"/>
                <a:gd name="T74" fmla="*/ 97 w 271"/>
                <a:gd name="T75" fmla="*/ 226 h 272"/>
                <a:gd name="T76" fmla="*/ 132 w 271"/>
                <a:gd name="T77" fmla="*/ 231 h 272"/>
                <a:gd name="T78" fmla="*/ 142 w 271"/>
                <a:gd name="T79" fmla="*/ 245 h 272"/>
                <a:gd name="T80" fmla="*/ 162 w 271"/>
                <a:gd name="T81" fmla="*/ 253 h 272"/>
                <a:gd name="T82" fmla="*/ 179 w 271"/>
                <a:gd name="T83" fmla="*/ 272 h 272"/>
                <a:gd name="T84" fmla="*/ 190 w 271"/>
                <a:gd name="T85" fmla="*/ 269 h 272"/>
                <a:gd name="T86" fmla="*/ 212 w 271"/>
                <a:gd name="T87" fmla="*/ 256 h 272"/>
                <a:gd name="T88" fmla="*/ 233 w 271"/>
                <a:gd name="T89" fmla="*/ 253 h 272"/>
                <a:gd name="T90" fmla="*/ 262 w 271"/>
                <a:gd name="T91" fmla="*/ 256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1" h="272">
                  <a:moveTo>
                    <a:pt x="262" y="256"/>
                  </a:moveTo>
                  <a:lnTo>
                    <a:pt x="260" y="241"/>
                  </a:lnTo>
                  <a:lnTo>
                    <a:pt x="269" y="226"/>
                  </a:lnTo>
                  <a:lnTo>
                    <a:pt x="269" y="206"/>
                  </a:lnTo>
                  <a:lnTo>
                    <a:pt x="250" y="191"/>
                  </a:lnTo>
                  <a:lnTo>
                    <a:pt x="243" y="182"/>
                  </a:lnTo>
                  <a:lnTo>
                    <a:pt x="238" y="155"/>
                  </a:lnTo>
                  <a:lnTo>
                    <a:pt x="227" y="132"/>
                  </a:lnTo>
                  <a:lnTo>
                    <a:pt x="214" y="114"/>
                  </a:lnTo>
                  <a:lnTo>
                    <a:pt x="214" y="98"/>
                  </a:lnTo>
                  <a:lnTo>
                    <a:pt x="222" y="87"/>
                  </a:lnTo>
                  <a:lnTo>
                    <a:pt x="252" y="90"/>
                  </a:lnTo>
                  <a:lnTo>
                    <a:pt x="264" y="74"/>
                  </a:lnTo>
                  <a:lnTo>
                    <a:pt x="271" y="34"/>
                  </a:lnTo>
                  <a:lnTo>
                    <a:pt x="269" y="21"/>
                  </a:lnTo>
                  <a:lnTo>
                    <a:pt x="255" y="19"/>
                  </a:lnTo>
                  <a:lnTo>
                    <a:pt x="230" y="21"/>
                  </a:lnTo>
                  <a:lnTo>
                    <a:pt x="194" y="21"/>
                  </a:lnTo>
                  <a:lnTo>
                    <a:pt x="167" y="9"/>
                  </a:lnTo>
                  <a:lnTo>
                    <a:pt x="148" y="3"/>
                  </a:lnTo>
                  <a:lnTo>
                    <a:pt x="132" y="0"/>
                  </a:lnTo>
                  <a:lnTo>
                    <a:pt x="116" y="24"/>
                  </a:lnTo>
                  <a:lnTo>
                    <a:pt x="97" y="40"/>
                  </a:lnTo>
                  <a:lnTo>
                    <a:pt x="69" y="37"/>
                  </a:lnTo>
                  <a:lnTo>
                    <a:pt x="52" y="50"/>
                  </a:lnTo>
                  <a:lnTo>
                    <a:pt x="26" y="80"/>
                  </a:lnTo>
                  <a:lnTo>
                    <a:pt x="5" y="98"/>
                  </a:lnTo>
                  <a:lnTo>
                    <a:pt x="0" y="111"/>
                  </a:lnTo>
                  <a:lnTo>
                    <a:pt x="12" y="135"/>
                  </a:lnTo>
                  <a:lnTo>
                    <a:pt x="24" y="167"/>
                  </a:lnTo>
                  <a:lnTo>
                    <a:pt x="38" y="185"/>
                  </a:lnTo>
                  <a:lnTo>
                    <a:pt x="52" y="179"/>
                  </a:lnTo>
                  <a:lnTo>
                    <a:pt x="76" y="169"/>
                  </a:lnTo>
                  <a:lnTo>
                    <a:pt x="74" y="195"/>
                  </a:lnTo>
                  <a:lnTo>
                    <a:pt x="66" y="226"/>
                  </a:lnTo>
                  <a:lnTo>
                    <a:pt x="69" y="232"/>
                  </a:lnTo>
                  <a:lnTo>
                    <a:pt x="80" y="232"/>
                  </a:lnTo>
                  <a:lnTo>
                    <a:pt x="97" y="226"/>
                  </a:lnTo>
                  <a:lnTo>
                    <a:pt x="132" y="231"/>
                  </a:lnTo>
                  <a:lnTo>
                    <a:pt x="142" y="245"/>
                  </a:lnTo>
                  <a:lnTo>
                    <a:pt x="162" y="253"/>
                  </a:lnTo>
                  <a:lnTo>
                    <a:pt x="179" y="272"/>
                  </a:lnTo>
                  <a:lnTo>
                    <a:pt x="190" y="269"/>
                  </a:lnTo>
                  <a:lnTo>
                    <a:pt x="212" y="256"/>
                  </a:lnTo>
                  <a:lnTo>
                    <a:pt x="233" y="253"/>
                  </a:lnTo>
                  <a:lnTo>
                    <a:pt x="262" y="256"/>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sp>
        <p:nvSpPr>
          <p:cNvPr id="39" name="LV"/>
          <p:cNvSpPr>
            <a:spLocks noChangeAspect="1"/>
          </p:cNvSpPr>
          <p:nvPr/>
        </p:nvSpPr>
        <p:spPr bwMode="auto">
          <a:xfrm>
            <a:off x="6916738" y="2794000"/>
            <a:ext cx="695325" cy="327025"/>
          </a:xfrm>
          <a:custGeom>
            <a:avLst/>
            <a:gdLst>
              <a:gd name="T0" fmla="*/ 115 w 468"/>
              <a:gd name="T1" fmla="*/ 93 h 275"/>
              <a:gd name="T2" fmla="*/ 105 w 468"/>
              <a:gd name="T3" fmla="*/ 56 h 275"/>
              <a:gd name="T4" fmla="*/ 74 w 468"/>
              <a:gd name="T5" fmla="*/ 37 h 275"/>
              <a:gd name="T6" fmla="*/ 41 w 468"/>
              <a:gd name="T7" fmla="*/ 66 h 275"/>
              <a:gd name="T8" fmla="*/ 21 w 468"/>
              <a:gd name="T9" fmla="*/ 127 h 275"/>
              <a:gd name="T10" fmla="*/ 16 w 468"/>
              <a:gd name="T11" fmla="*/ 148 h 275"/>
              <a:gd name="T12" fmla="*/ 0 w 468"/>
              <a:gd name="T13" fmla="*/ 170 h 275"/>
              <a:gd name="T14" fmla="*/ 5 w 468"/>
              <a:gd name="T15" fmla="*/ 212 h 275"/>
              <a:gd name="T16" fmla="*/ 19 w 468"/>
              <a:gd name="T17" fmla="*/ 241 h 275"/>
              <a:gd name="T18" fmla="*/ 60 w 468"/>
              <a:gd name="T19" fmla="*/ 217 h 275"/>
              <a:gd name="T20" fmla="*/ 88 w 468"/>
              <a:gd name="T21" fmla="*/ 212 h 275"/>
              <a:gd name="T22" fmla="*/ 124 w 468"/>
              <a:gd name="T23" fmla="*/ 222 h 275"/>
              <a:gd name="T24" fmla="*/ 159 w 468"/>
              <a:gd name="T25" fmla="*/ 212 h 275"/>
              <a:gd name="T26" fmla="*/ 182 w 468"/>
              <a:gd name="T27" fmla="*/ 219 h 275"/>
              <a:gd name="T28" fmla="*/ 212 w 468"/>
              <a:gd name="T29" fmla="*/ 212 h 275"/>
              <a:gd name="T30" fmla="*/ 248 w 468"/>
              <a:gd name="T31" fmla="*/ 209 h 275"/>
              <a:gd name="T32" fmla="*/ 283 w 468"/>
              <a:gd name="T33" fmla="*/ 235 h 275"/>
              <a:gd name="T34" fmla="*/ 330 w 468"/>
              <a:gd name="T35" fmla="*/ 258 h 275"/>
              <a:gd name="T36" fmla="*/ 358 w 468"/>
              <a:gd name="T37" fmla="*/ 275 h 275"/>
              <a:gd name="T38" fmla="*/ 400 w 468"/>
              <a:gd name="T39" fmla="*/ 262 h 275"/>
              <a:gd name="T40" fmla="*/ 421 w 468"/>
              <a:gd name="T41" fmla="*/ 238 h 275"/>
              <a:gd name="T42" fmla="*/ 461 w 468"/>
              <a:gd name="T43" fmla="*/ 191 h 275"/>
              <a:gd name="T44" fmla="*/ 463 w 468"/>
              <a:gd name="T45" fmla="*/ 130 h 275"/>
              <a:gd name="T46" fmla="*/ 430 w 468"/>
              <a:gd name="T47" fmla="*/ 98 h 275"/>
              <a:gd name="T48" fmla="*/ 412 w 468"/>
              <a:gd name="T49" fmla="*/ 47 h 275"/>
              <a:gd name="T50" fmla="*/ 382 w 468"/>
              <a:gd name="T51" fmla="*/ 27 h 275"/>
              <a:gd name="T52" fmla="*/ 328 w 468"/>
              <a:gd name="T53" fmla="*/ 43 h 275"/>
              <a:gd name="T54" fmla="*/ 297 w 468"/>
              <a:gd name="T55" fmla="*/ 27 h 275"/>
              <a:gd name="T56" fmla="*/ 269 w 468"/>
              <a:gd name="T57" fmla="*/ 6 h 275"/>
              <a:gd name="T58" fmla="*/ 241 w 468"/>
              <a:gd name="T59" fmla="*/ 0 h 275"/>
              <a:gd name="T60" fmla="*/ 211 w 468"/>
              <a:gd name="T61" fmla="*/ 6 h 275"/>
              <a:gd name="T62" fmla="*/ 196 w 468"/>
              <a:gd name="T63" fmla="*/ 27 h 275"/>
              <a:gd name="T64" fmla="*/ 201 w 468"/>
              <a:gd name="T65" fmla="*/ 87 h 275"/>
              <a:gd name="T66" fmla="*/ 182 w 468"/>
              <a:gd name="T67" fmla="*/ 121 h 275"/>
              <a:gd name="T68" fmla="*/ 162 w 468"/>
              <a:gd name="T69" fmla="*/ 12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8" h="275">
                <a:moveTo>
                  <a:pt x="138" y="108"/>
                </a:moveTo>
                <a:lnTo>
                  <a:pt x="115" y="93"/>
                </a:lnTo>
                <a:lnTo>
                  <a:pt x="110" y="74"/>
                </a:lnTo>
                <a:lnTo>
                  <a:pt x="105" y="56"/>
                </a:lnTo>
                <a:lnTo>
                  <a:pt x="93" y="37"/>
                </a:lnTo>
                <a:lnTo>
                  <a:pt x="74" y="37"/>
                </a:lnTo>
                <a:lnTo>
                  <a:pt x="60" y="46"/>
                </a:lnTo>
                <a:lnTo>
                  <a:pt x="41" y="66"/>
                </a:lnTo>
                <a:lnTo>
                  <a:pt x="19" y="114"/>
                </a:lnTo>
                <a:lnTo>
                  <a:pt x="21" y="127"/>
                </a:lnTo>
                <a:lnTo>
                  <a:pt x="21" y="140"/>
                </a:lnTo>
                <a:lnTo>
                  <a:pt x="16" y="148"/>
                </a:lnTo>
                <a:lnTo>
                  <a:pt x="7" y="158"/>
                </a:lnTo>
                <a:lnTo>
                  <a:pt x="0" y="170"/>
                </a:lnTo>
                <a:lnTo>
                  <a:pt x="5" y="182"/>
                </a:lnTo>
                <a:lnTo>
                  <a:pt x="5" y="212"/>
                </a:lnTo>
                <a:lnTo>
                  <a:pt x="8" y="235"/>
                </a:lnTo>
                <a:lnTo>
                  <a:pt x="19" y="241"/>
                </a:lnTo>
                <a:lnTo>
                  <a:pt x="38" y="232"/>
                </a:lnTo>
                <a:lnTo>
                  <a:pt x="60" y="217"/>
                </a:lnTo>
                <a:lnTo>
                  <a:pt x="70" y="207"/>
                </a:lnTo>
                <a:lnTo>
                  <a:pt x="88" y="212"/>
                </a:lnTo>
                <a:lnTo>
                  <a:pt x="107" y="217"/>
                </a:lnTo>
                <a:lnTo>
                  <a:pt x="124" y="222"/>
                </a:lnTo>
                <a:lnTo>
                  <a:pt x="135" y="228"/>
                </a:lnTo>
                <a:lnTo>
                  <a:pt x="159" y="212"/>
                </a:lnTo>
                <a:lnTo>
                  <a:pt x="170" y="212"/>
                </a:lnTo>
                <a:lnTo>
                  <a:pt x="182" y="219"/>
                </a:lnTo>
                <a:lnTo>
                  <a:pt x="198" y="225"/>
                </a:lnTo>
                <a:lnTo>
                  <a:pt x="212" y="212"/>
                </a:lnTo>
                <a:lnTo>
                  <a:pt x="234" y="207"/>
                </a:lnTo>
                <a:lnTo>
                  <a:pt x="248" y="209"/>
                </a:lnTo>
                <a:lnTo>
                  <a:pt x="259" y="232"/>
                </a:lnTo>
                <a:lnTo>
                  <a:pt x="283" y="235"/>
                </a:lnTo>
                <a:lnTo>
                  <a:pt x="311" y="232"/>
                </a:lnTo>
                <a:lnTo>
                  <a:pt x="330" y="258"/>
                </a:lnTo>
                <a:lnTo>
                  <a:pt x="344" y="272"/>
                </a:lnTo>
                <a:lnTo>
                  <a:pt x="358" y="275"/>
                </a:lnTo>
                <a:lnTo>
                  <a:pt x="379" y="265"/>
                </a:lnTo>
                <a:lnTo>
                  <a:pt x="400" y="262"/>
                </a:lnTo>
                <a:lnTo>
                  <a:pt x="414" y="251"/>
                </a:lnTo>
                <a:lnTo>
                  <a:pt x="421" y="238"/>
                </a:lnTo>
                <a:lnTo>
                  <a:pt x="447" y="207"/>
                </a:lnTo>
                <a:lnTo>
                  <a:pt x="461" y="191"/>
                </a:lnTo>
                <a:lnTo>
                  <a:pt x="468" y="167"/>
                </a:lnTo>
                <a:lnTo>
                  <a:pt x="463" y="130"/>
                </a:lnTo>
                <a:lnTo>
                  <a:pt x="452" y="121"/>
                </a:lnTo>
                <a:lnTo>
                  <a:pt x="430" y="98"/>
                </a:lnTo>
                <a:lnTo>
                  <a:pt x="421" y="74"/>
                </a:lnTo>
                <a:lnTo>
                  <a:pt x="412" y="47"/>
                </a:lnTo>
                <a:lnTo>
                  <a:pt x="393" y="29"/>
                </a:lnTo>
                <a:lnTo>
                  <a:pt x="382" y="27"/>
                </a:lnTo>
                <a:lnTo>
                  <a:pt x="344" y="29"/>
                </a:lnTo>
                <a:lnTo>
                  <a:pt x="328" y="43"/>
                </a:lnTo>
                <a:lnTo>
                  <a:pt x="316" y="47"/>
                </a:lnTo>
                <a:lnTo>
                  <a:pt x="297" y="27"/>
                </a:lnTo>
                <a:lnTo>
                  <a:pt x="281" y="19"/>
                </a:lnTo>
                <a:lnTo>
                  <a:pt x="269" y="6"/>
                </a:lnTo>
                <a:lnTo>
                  <a:pt x="262" y="3"/>
                </a:lnTo>
                <a:lnTo>
                  <a:pt x="241" y="0"/>
                </a:lnTo>
                <a:lnTo>
                  <a:pt x="225" y="6"/>
                </a:lnTo>
                <a:lnTo>
                  <a:pt x="211" y="6"/>
                </a:lnTo>
                <a:lnTo>
                  <a:pt x="203" y="13"/>
                </a:lnTo>
                <a:lnTo>
                  <a:pt x="196" y="27"/>
                </a:lnTo>
                <a:lnTo>
                  <a:pt x="196" y="56"/>
                </a:lnTo>
                <a:lnTo>
                  <a:pt x="201" y="87"/>
                </a:lnTo>
                <a:lnTo>
                  <a:pt x="201" y="101"/>
                </a:lnTo>
                <a:lnTo>
                  <a:pt x="182" y="121"/>
                </a:lnTo>
                <a:lnTo>
                  <a:pt x="170" y="133"/>
                </a:lnTo>
                <a:lnTo>
                  <a:pt x="162" y="120"/>
                </a:lnTo>
                <a:lnTo>
                  <a:pt x="138" y="108"/>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40" name="SK"/>
          <p:cNvSpPr>
            <a:spLocks noChangeAspect="1"/>
          </p:cNvSpPr>
          <p:nvPr/>
        </p:nvSpPr>
        <p:spPr bwMode="auto">
          <a:xfrm>
            <a:off x="6489700" y="4046538"/>
            <a:ext cx="658813" cy="266700"/>
          </a:xfrm>
          <a:custGeom>
            <a:avLst/>
            <a:gdLst>
              <a:gd name="T0" fmla="*/ 151 w 445"/>
              <a:gd name="T1" fmla="*/ 11 h 222"/>
              <a:gd name="T2" fmla="*/ 167 w 445"/>
              <a:gd name="T3" fmla="*/ 0 h 222"/>
              <a:gd name="T4" fmla="*/ 184 w 445"/>
              <a:gd name="T5" fmla="*/ 0 h 222"/>
              <a:gd name="T6" fmla="*/ 192 w 445"/>
              <a:gd name="T7" fmla="*/ 16 h 222"/>
              <a:gd name="T8" fmla="*/ 208 w 445"/>
              <a:gd name="T9" fmla="*/ 3 h 222"/>
              <a:gd name="T10" fmla="*/ 225 w 445"/>
              <a:gd name="T11" fmla="*/ 9 h 222"/>
              <a:gd name="T12" fmla="*/ 250 w 445"/>
              <a:gd name="T13" fmla="*/ 37 h 222"/>
              <a:gd name="T14" fmla="*/ 278 w 445"/>
              <a:gd name="T15" fmla="*/ 50 h 222"/>
              <a:gd name="T16" fmla="*/ 288 w 445"/>
              <a:gd name="T17" fmla="*/ 53 h 222"/>
              <a:gd name="T18" fmla="*/ 302 w 445"/>
              <a:gd name="T19" fmla="*/ 40 h 222"/>
              <a:gd name="T20" fmla="*/ 316 w 445"/>
              <a:gd name="T21" fmla="*/ 34 h 222"/>
              <a:gd name="T22" fmla="*/ 354 w 445"/>
              <a:gd name="T23" fmla="*/ 46 h 222"/>
              <a:gd name="T24" fmla="*/ 405 w 445"/>
              <a:gd name="T25" fmla="*/ 58 h 222"/>
              <a:gd name="T26" fmla="*/ 445 w 445"/>
              <a:gd name="T27" fmla="*/ 71 h 222"/>
              <a:gd name="T28" fmla="*/ 431 w 445"/>
              <a:gd name="T29" fmla="*/ 90 h 222"/>
              <a:gd name="T30" fmla="*/ 405 w 445"/>
              <a:gd name="T31" fmla="*/ 120 h 222"/>
              <a:gd name="T32" fmla="*/ 398 w 445"/>
              <a:gd name="T33" fmla="*/ 129 h 222"/>
              <a:gd name="T34" fmla="*/ 401 w 445"/>
              <a:gd name="T35" fmla="*/ 151 h 222"/>
              <a:gd name="T36" fmla="*/ 382 w 445"/>
              <a:gd name="T37" fmla="*/ 151 h 222"/>
              <a:gd name="T38" fmla="*/ 363 w 445"/>
              <a:gd name="T39" fmla="*/ 135 h 222"/>
              <a:gd name="T40" fmla="*/ 344 w 445"/>
              <a:gd name="T41" fmla="*/ 129 h 222"/>
              <a:gd name="T42" fmla="*/ 295 w 445"/>
              <a:gd name="T43" fmla="*/ 142 h 222"/>
              <a:gd name="T44" fmla="*/ 282 w 445"/>
              <a:gd name="T45" fmla="*/ 155 h 222"/>
              <a:gd name="T46" fmla="*/ 268 w 445"/>
              <a:gd name="T47" fmla="*/ 175 h 222"/>
              <a:gd name="T48" fmla="*/ 241 w 445"/>
              <a:gd name="T49" fmla="*/ 194 h 222"/>
              <a:gd name="T50" fmla="*/ 226 w 445"/>
              <a:gd name="T51" fmla="*/ 194 h 222"/>
              <a:gd name="T52" fmla="*/ 210 w 445"/>
              <a:gd name="T53" fmla="*/ 178 h 222"/>
              <a:gd name="T54" fmla="*/ 196 w 445"/>
              <a:gd name="T55" fmla="*/ 178 h 222"/>
              <a:gd name="T56" fmla="*/ 145 w 445"/>
              <a:gd name="T57" fmla="*/ 205 h 222"/>
              <a:gd name="T58" fmla="*/ 121 w 445"/>
              <a:gd name="T59" fmla="*/ 219 h 222"/>
              <a:gd name="T60" fmla="*/ 103 w 445"/>
              <a:gd name="T61" fmla="*/ 222 h 222"/>
              <a:gd name="T62" fmla="*/ 63 w 445"/>
              <a:gd name="T63" fmla="*/ 219 h 222"/>
              <a:gd name="T64" fmla="*/ 46 w 445"/>
              <a:gd name="T65" fmla="*/ 219 h 222"/>
              <a:gd name="T66" fmla="*/ 34 w 445"/>
              <a:gd name="T67" fmla="*/ 198 h 222"/>
              <a:gd name="T68" fmla="*/ 27 w 445"/>
              <a:gd name="T69" fmla="*/ 191 h 222"/>
              <a:gd name="T70" fmla="*/ 13 w 445"/>
              <a:gd name="T71" fmla="*/ 182 h 222"/>
              <a:gd name="T72" fmla="*/ 6 w 445"/>
              <a:gd name="T73" fmla="*/ 172 h 222"/>
              <a:gd name="T74" fmla="*/ 0 w 445"/>
              <a:gd name="T75" fmla="*/ 151 h 222"/>
              <a:gd name="T76" fmla="*/ 0 w 445"/>
              <a:gd name="T77" fmla="*/ 127 h 222"/>
              <a:gd name="T78" fmla="*/ 43 w 445"/>
              <a:gd name="T79" fmla="*/ 107 h 222"/>
              <a:gd name="T80" fmla="*/ 91 w 445"/>
              <a:gd name="T81" fmla="*/ 107 h 222"/>
              <a:gd name="T82" fmla="*/ 120 w 445"/>
              <a:gd name="T83" fmla="*/ 77 h 222"/>
              <a:gd name="T84" fmla="*/ 124 w 445"/>
              <a:gd name="T85" fmla="*/ 26 h 222"/>
              <a:gd name="T86" fmla="*/ 151 w 445"/>
              <a:gd name="T87" fmla="*/ 1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5" h="222">
                <a:moveTo>
                  <a:pt x="151" y="11"/>
                </a:moveTo>
                <a:lnTo>
                  <a:pt x="167" y="0"/>
                </a:lnTo>
                <a:lnTo>
                  <a:pt x="184" y="0"/>
                </a:lnTo>
                <a:lnTo>
                  <a:pt x="192" y="16"/>
                </a:lnTo>
                <a:lnTo>
                  <a:pt x="208" y="3"/>
                </a:lnTo>
                <a:lnTo>
                  <a:pt x="225" y="9"/>
                </a:lnTo>
                <a:lnTo>
                  <a:pt x="250" y="37"/>
                </a:lnTo>
                <a:lnTo>
                  <a:pt x="278" y="50"/>
                </a:lnTo>
                <a:lnTo>
                  <a:pt x="288" y="53"/>
                </a:lnTo>
                <a:lnTo>
                  <a:pt x="302" y="40"/>
                </a:lnTo>
                <a:lnTo>
                  <a:pt x="316" y="34"/>
                </a:lnTo>
                <a:lnTo>
                  <a:pt x="354" y="46"/>
                </a:lnTo>
                <a:lnTo>
                  <a:pt x="405" y="58"/>
                </a:lnTo>
                <a:lnTo>
                  <a:pt x="445" y="71"/>
                </a:lnTo>
                <a:lnTo>
                  <a:pt x="431" y="90"/>
                </a:lnTo>
                <a:lnTo>
                  <a:pt x="405" y="120"/>
                </a:lnTo>
                <a:lnTo>
                  <a:pt x="398" y="129"/>
                </a:lnTo>
                <a:lnTo>
                  <a:pt x="401" y="151"/>
                </a:lnTo>
                <a:lnTo>
                  <a:pt x="382" y="151"/>
                </a:lnTo>
                <a:lnTo>
                  <a:pt x="363" y="135"/>
                </a:lnTo>
                <a:lnTo>
                  <a:pt x="344" y="129"/>
                </a:lnTo>
                <a:lnTo>
                  <a:pt x="295" y="142"/>
                </a:lnTo>
                <a:lnTo>
                  <a:pt x="282" y="155"/>
                </a:lnTo>
                <a:lnTo>
                  <a:pt x="268" y="175"/>
                </a:lnTo>
                <a:lnTo>
                  <a:pt x="241" y="194"/>
                </a:lnTo>
                <a:lnTo>
                  <a:pt x="226" y="194"/>
                </a:lnTo>
                <a:lnTo>
                  <a:pt x="210" y="178"/>
                </a:lnTo>
                <a:lnTo>
                  <a:pt x="196" y="178"/>
                </a:lnTo>
                <a:lnTo>
                  <a:pt x="145" y="205"/>
                </a:lnTo>
                <a:lnTo>
                  <a:pt x="121" y="219"/>
                </a:lnTo>
                <a:lnTo>
                  <a:pt x="103" y="222"/>
                </a:lnTo>
                <a:lnTo>
                  <a:pt x="63" y="219"/>
                </a:lnTo>
                <a:lnTo>
                  <a:pt x="46" y="219"/>
                </a:lnTo>
                <a:lnTo>
                  <a:pt x="34" y="198"/>
                </a:lnTo>
                <a:lnTo>
                  <a:pt x="27" y="191"/>
                </a:lnTo>
                <a:lnTo>
                  <a:pt x="13" y="182"/>
                </a:lnTo>
                <a:lnTo>
                  <a:pt x="6" y="172"/>
                </a:lnTo>
                <a:lnTo>
                  <a:pt x="0" y="151"/>
                </a:lnTo>
                <a:lnTo>
                  <a:pt x="0" y="127"/>
                </a:lnTo>
                <a:lnTo>
                  <a:pt x="43" y="107"/>
                </a:lnTo>
                <a:lnTo>
                  <a:pt x="91" y="107"/>
                </a:lnTo>
                <a:lnTo>
                  <a:pt x="120" y="77"/>
                </a:lnTo>
                <a:lnTo>
                  <a:pt x="124" y="26"/>
                </a:lnTo>
                <a:lnTo>
                  <a:pt x="151" y="11"/>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41" name="xb"/>
          <p:cNvSpPr>
            <a:spLocks noChangeAspect="1"/>
          </p:cNvSpPr>
          <p:nvPr/>
        </p:nvSpPr>
        <p:spPr bwMode="auto">
          <a:xfrm>
            <a:off x="7581900" y="4206875"/>
            <a:ext cx="442913" cy="439738"/>
          </a:xfrm>
          <a:custGeom>
            <a:avLst/>
            <a:gdLst>
              <a:gd name="T0" fmla="*/ 153 w 285"/>
              <a:gd name="T1" fmla="*/ 355 h 355"/>
              <a:gd name="T2" fmla="*/ 136 w 285"/>
              <a:gd name="T3" fmla="*/ 335 h 355"/>
              <a:gd name="T4" fmla="*/ 133 w 285"/>
              <a:gd name="T5" fmla="*/ 288 h 355"/>
              <a:gd name="T6" fmla="*/ 115 w 285"/>
              <a:gd name="T7" fmla="*/ 254 h 355"/>
              <a:gd name="T8" fmla="*/ 114 w 285"/>
              <a:gd name="T9" fmla="*/ 224 h 355"/>
              <a:gd name="T10" fmla="*/ 119 w 285"/>
              <a:gd name="T11" fmla="*/ 202 h 355"/>
              <a:gd name="T12" fmla="*/ 104 w 285"/>
              <a:gd name="T13" fmla="*/ 171 h 355"/>
              <a:gd name="T14" fmla="*/ 85 w 285"/>
              <a:gd name="T15" fmla="*/ 147 h 355"/>
              <a:gd name="T16" fmla="*/ 77 w 285"/>
              <a:gd name="T17" fmla="*/ 121 h 355"/>
              <a:gd name="T18" fmla="*/ 73 w 285"/>
              <a:gd name="T19" fmla="*/ 104 h 355"/>
              <a:gd name="T20" fmla="*/ 50 w 285"/>
              <a:gd name="T21" fmla="*/ 87 h 355"/>
              <a:gd name="T22" fmla="*/ 38 w 285"/>
              <a:gd name="T23" fmla="*/ 64 h 355"/>
              <a:gd name="T24" fmla="*/ 24 w 285"/>
              <a:gd name="T25" fmla="*/ 39 h 355"/>
              <a:gd name="T26" fmla="*/ 0 w 285"/>
              <a:gd name="T27" fmla="*/ 22 h 355"/>
              <a:gd name="T28" fmla="*/ 38 w 285"/>
              <a:gd name="T29" fmla="*/ 0 h 355"/>
              <a:gd name="T30" fmla="*/ 68 w 285"/>
              <a:gd name="T31" fmla="*/ 5 h 355"/>
              <a:gd name="T32" fmla="*/ 87 w 285"/>
              <a:gd name="T33" fmla="*/ 9 h 355"/>
              <a:gd name="T34" fmla="*/ 136 w 285"/>
              <a:gd name="T35" fmla="*/ 49 h 355"/>
              <a:gd name="T36" fmla="*/ 148 w 285"/>
              <a:gd name="T37" fmla="*/ 56 h 355"/>
              <a:gd name="T38" fmla="*/ 183 w 285"/>
              <a:gd name="T39" fmla="*/ 64 h 355"/>
              <a:gd name="T40" fmla="*/ 205 w 285"/>
              <a:gd name="T41" fmla="*/ 99 h 355"/>
              <a:gd name="T42" fmla="*/ 195 w 285"/>
              <a:gd name="T43" fmla="*/ 124 h 355"/>
              <a:gd name="T44" fmla="*/ 209 w 285"/>
              <a:gd name="T45" fmla="*/ 158 h 355"/>
              <a:gd name="T46" fmla="*/ 243 w 285"/>
              <a:gd name="T47" fmla="*/ 184 h 355"/>
              <a:gd name="T48" fmla="*/ 256 w 285"/>
              <a:gd name="T49" fmla="*/ 205 h 355"/>
              <a:gd name="T50" fmla="*/ 277 w 285"/>
              <a:gd name="T51" fmla="*/ 214 h 355"/>
              <a:gd name="T52" fmla="*/ 285 w 285"/>
              <a:gd name="T53" fmla="*/ 215 h 355"/>
              <a:gd name="T54" fmla="*/ 271 w 285"/>
              <a:gd name="T55" fmla="*/ 227 h 355"/>
              <a:gd name="T56" fmla="*/ 235 w 285"/>
              <a:gd name="T57" fmla="*/ 227 h 355"/>
              <a:gd name="T58" fmla="*/ 205 w 285"/>
              <a:gd name="T59" fmla="*/ 224 h 355"/>
              <a:gd name="T60" fmla="*/ 191 w 285"/>
              <a:gd name="T61" fmla="*/ 231 h 355"/>
              <a:gd name="T62" fmla="*/ 195 w 285"/>
              <a:gd name="T63" fmla="*/ 269 h 355"/>
              <a:gd name="T64" fmla="*/ 190 w 285"/>
              <a:gd name="T65" fmla="*/ 299 h 355"/>
              <a:gd name="T66" fmla="*/ 159 w 285"/>
              <a:gd name="T67" fmla="*/ 335 h 355"/>
              <a:gd name="T68" fmla="*/ 153 w 285"/>
              <a:gd name="T69"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355">
                <a:moveTo>
                  <a:pt x="153" y="355"/>
                </a:moveTo>
                <a:lnTo>
                  <a:pt x="136" y="335"/>
                </a:lnTo>
                <a:lnTo>
                  <a:pt x="133" y="288"/>
                </a:lnTo>
                <a:lnTo>
                  <a:pt x="115" y="254"/>
                </a:lnTo>
                <a:lnTo>
                  <a:pt x="114" y="224"/>
                </a:lnTo>
                <a:lnTo>
                  <a:pt x="119" y="202"/>
                </a:lnTo>
                <a:lnTo>
                  <a:pt x="104" y="171"/>
                </a:lnTo>
                <a:lnTo>
                  <a:pt x="85" y="147"/>
                </a:lnTo>
                <a:lnTo>
                  <a:pt x="77" y="121"/>
                </a:lnTo>
                <a:lnTo>
                  <a:pt x="73" y="104"/>
                </a:lnTo>
                <a:lnTo>
                  <a:pt x="50" y="87"/>
                </a:lnTo>
                <a:lnTo>
                  <a:pt x="38" y="64"/>
                </a:lnTo>
                <a:lnTo>
                  <a:pt x="24" y="39"/>
                </a:lnTo>
                <a:lnTo>
                  <a:pt x="0" y="22"/>
                </a:lnTo>
                <a:lnTo>
                  <a:pt x="38" y="0"/>
                </a:lnTo>
                <a:lnTo>
                  <a:pt x="68" y="5"/>
                </a:lnTo>
                <a:lnTo>
                  <a:pt x="87" y="9"/>
                </a:lnTo>
                <a:lnTo>
                  <a:pt x="136" y="49"/>
                </a:lnTo>
                <a:lnTo>
                  <a:pt x="148" y="56"/>
                </a:lnTo>
                <a:lnTo>
                  <a:pt x="183" y="64"/>
                </a:lnTo>
                <a:lnTo>
                  <a:pt x="205" y="99"/>
                </a:lnTo>
                <a:lnTo>
                  <a:pt x="195" y="124"/>
                </a:lnTo>
                <a:lnTo>
                  <a:pt x="209" y="158"/>
                </a:lnTo>
                <a:lnTo>
                  <a:pt x="243" y="184"/>
                </a:lnTo>
                <a:lnTo>
                  <a:pt x="256" y="205"/>
                </a:lnTo>
                <a:lnTo>
                  <a:pt x="277" y="214"/>
                </a:lnTo>
                <a:lnTo>
                  <a:pt x="285" y="215"/>
                </a:lnTo>
                <a:lnTo>
                  <a:pt x="271" y="227"/>
                </a:lnTo>
                <a:lnTo>
                  <a:pt x="235" y="227"/>
                </a:lnTo>
                <a:lnTo>
                  <a:pt x="205" y="224"/>
                </a:lnTo>
                <a:lnTo>
                  <a:pt x="191" y="231"/>
                </a:lnTo>
                <a:lnTo>
                  <a:pt x="195" y="269"/>
                </a:lnTo>
                <a:lnTo>
                  <a:pt x="190" y="299"/>
                </a:lnTo>
                <a:lnTo>
                  <a:pt x="159" y="335"/>
                </a:lnTo>
                <a:lnTo>
                  <a:pt x="153" y="355"/>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nvGrpSpPr>
          <p:cNvPr id="42" name="xx"/>
          <p:cNvGrpSpPr/>
          <p:nvPr/>
        </p:nvGrpSpPr>
        <p:grpSpPr>
          <a:xfrm>
            <a:off x="5729208" y="2794006"/>
            <a:ext cx="272411" cy="405364"/>
            <a:chOff x="2681289" y="3112181"/>
            <a:chExt cx="272411" cy="405364"/>
          </a:xfrm>
          <a:solidFill>
            <a:srgbClr val="FAFAFA"/>
          </a:solidFill>
          <a:effectLst/>
        </p:grpSpPr>
        <p:sp>
          <p:nvSpPr>
            <p:cNvPr id="60" name="Freeform 531"/>
            <p:cNvSpPr>
              <a:spLocks noChangeAspect="1"/>
            </p:cNvSpPr>
            <p:nvPr/>
          </p:nvSpPr>
          <p:spPr bwMode="auto">
            <a:xfrm>
              <a:off x="2681289" y="3211098"/>
              <a:ext cx="272411" cy="306447"/>
            </a:xfrm>
            <a:custGeom>
              <a:avLst/>
              <a:gdLst>
                <a:gd name="T0" fmla="*/ 14 w 183"/>
                <a:gd name="T1" fmla="*/ 216 h 253"/>
                <a:gd name="T2" fmla="*/ 24 w 183"/>
                <a:gd name="T3" fmla="*/ 234 h 253"/>
                <a:gd name="T4" fmla="*/ 44 w 183"/>
                <a:gd name="T5" fmla="*/ 234 h 253"/>
                <a:gd name="T6" fmla="*/ 63 w 183"/>
                <a:gd name="T7" fmla="*/ 240 h 253"/>
                <a:gd name="T8" fmla="*/ 77 w 183"/>
                <a:gd name="T9" fmla="*/ 253 h 253"/>
                <a:gd name="T10" fmla="*/ 92 w 183"/>
                <a:gd name="T11" fmla="*/ 253 h 253"/>
                <a:gd name="T12" fmla="*/ 82 w 183"/>
                <a:gd name="T13" fmla="*/ 237 h 253"/>
                <a:gd name="T14" fmla="*/ 90 w 183"/>
                <a:gd name="T15" fmla="*/ 216 h 253"/>
                <a:gd name="T16" fmla="*/ 98 w 183"/>
                <a:gd name="T17" fmla="*/ 192 h 253"/>
                <a:gd name="T18" fmla="*/ 103 w 183"/>
                <a:gd name="T19" fmla="*/ 166 h 253"/>
                <a:gd name="T20" fmla="*/ 125 w 183"/>
                <a:gd name="T21" fmla="*/ 150 h 253"/>
                <a:gd name="T22" fmla="*/ 143 w 183"/>
                <a:gd name="T23" fmla="*/ 139 h 253"/>
                <a:gd name="T24" fmla="*/ 141 w 183"/>
                <a:gd name="T25" fmla="*/ 123 h 253"/>
                <a:gd name="T26" fmla="*/ 141 w 183"/>
                <a:gd name="T27" fmla="*/ 98 h 253"/>
                <a:gd name="T28" fmla="*/ 145 w 183"/>
                <a:gd name="T29" fmla="*/ 86 h 253"/>
                <a:gd name="T30" fmla="*/ 162 w 183"/>
                <a:gd name="T31" fmla="*/ 83 h 253"/>
                <a:gd name="T32" fmla="*/ 169 w 183"/>
                <a:gd name="T33" fmla="*/ 89 h 253"/>
                <a:gd name="T34" fmla="*/ 183 w 183"/>
                <a:gd name="T35" fmla="*/ 71 h 253"/>
                <a:gd name="T36" fmla="*/ 178 w 183"/>
                <a:gd name="T37" fmla="*/ 55 h 253"/>
                <a:gd name="T38" fmla="*/ 169 w 183"/>
                <a:gd name="T39" fmla="*/ 52 h 253"/>
                <a:gd name="T40" fmla="*/ 153 w 183"/>
                <a:gd name="T41" fmla="*/ 52 h 253"/>
                <a:gd name="T42" fmla="*/ 145 w 183"/>
                <a:gd name="T43" fmla="*/ 52 h 253"/>
                <a:gd name="T44" fmla="*/ 141 w 183"/>
                <a:gd name="T45" fmla="*/ 28 h 253"/>
                <a:gd name="T46" fmla="*/ 143 w 183"/>
                <a:gd name="T47" fmla="*/ 5 h 253"/>
                <a:gd name="T48" fmla="*/ 131 w 183"/>
                <a:gd name="T49" fmla="*/ 0 h 253"/>
                <a:gd name="T50" fmla="*/ 126 w 183"/>
                <a:gd name="T51" fmla="*/ 8 h 253"/>
                <a:gd name="T52" fmla="*/ 98 w 183"/>
                <a:gd name="T53" fmla="*/ 2 h 253"/>
                <a:gd name="T54" fmla="*/ 92 w 183"/>
                <a:gd name="T55" fmla="*/ 9 h 253"/>
                <a:gd name="T56" fmla="*/ 98 w 183"/>
                <a:gd name="T57" fmla="*/ 31 h 253"/>
                <a:gd name="T58" fmla="*/ 96 w 183"/>
                <a:gd name="T59" fmla="*/ 52 h 253"/>
                <a:gd name="T60" fmla="*/ 84 w 183"/>
                <a:gd name="T61" fmla="*/ 37 h 253"/>
                <a:gd name="T62" fmla="*/ 79 w 183"/>
                <a:gd name="T63" fmla="*/ 24 h 253"/>
                <a:gd name="T64" fmla="*/ 63 w 183"/>
                <a:gd name="T65" fmla="*/ 27 h 253"/>
                <a:gd name="T66" fmla="*/ 57 w 183"/>
                <a:gd name="T67" fmla="*/ 39 h 253"/>
                <a:gd name="T68" fmla="*/ 52 w 183"/>
                <a:gd name="T69" fmla="*/ 45 h 253"/>
                <a:gd name="T70" fmla="*/ 52 w 183"/>
                <a:gd name="T71" fmla="*/ 64 h 253"/>
                <a:gd name="T72" fmla="*/ 49 w 183"/>
                <a:gd name="T73" fmla="*/ 61 h 253"/>
                <a:gd name="T74" fmla="*/ 35 w 183"/>
                <a:gd name="T75" fmla="*/ 37 h 253"/>
                <a:gd name="T76" fmla="*/ 27 w 183"/>
                <a:gd name="T77" fmla="*/ 28 h 253"/>
                <a:gd name="T78" fmla="*/ 19 w 183"/>
                <a:gd name="T79" fmla="*/ 34 h 253"/>
                <a:gd name="T80" fmla="*/ 21 w 183"/>
                <a:gd name="T81" fmla="*/ 46 h 253"/>
                <a:gd name="T82" fmla="*/ 21 w 183"/>
                <a:gd name="T83" fmla="*/ 55 h 253"/>
                <a:gd name="T84" fmla="*/ 8 w 183"/>
                <a:gd name="T85" fmla="*/ 61 h 253"/>
                <a:gd name="T86" fmla="*/ 8 w 183"/>
                <a:gd name="T87" fmla="*/ 79 h 253"/>
                <a:gd name="T88" fmla="*/ 19 w 183"/>
                <a:gd name="T89" fmla="*/ 98 h 253"/>
                <a:gd name="T90" fmla="*/ 19 w 183"/>
                <a:gd name="T91" fmla="*/ 110 h 253"/>
                <a:gd name="T92" fmla="*/ 14 w 183"/>
                <a:gd name="T93" fmla="*/ 123 h 253"/>
                <a:gd name="T94" fmla="*/ 0 w 183"/>
                <a:gd name="T95" fmla="*/ 136 h 253"/>
                <a:gd name="T96" fmla="*/ 2 w 183"/>
                <a:gd name="T97" fmla="*/ 150 h 253"/>
                <a:gd name="T98" fmla="*/ 16 w 183"/>
                <a:gd name="T99" fmla="*/ 163 h 253"/>
                <a:gd name="T100" fmla="*/ 21 w 183"/>
                <a:gd name="T101" fmla="*/ 176 h 253"/>
                <a:gd name="T102" fmla="*/ 19 w 183"/>
                <a:gd name="T103" fmla="*/ 200 h 253"/>
                <a:gd name="T104" fmla="*/ 14 w 183"/>
                <a:gd name="T105" fmla="*/ 21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3" h="253">
                  <a:moveTo>
                    <a:pt x="14" y="216"/>
                  </a:moveTo>
                  <a:lnTo>
                    <a:pt x="24" y="234"/>
                  </a:lnTo>
                  <a:lnTo>
                    <a:pt x="44" y="234"/>
                  </a:lnTo>
                  <a:lnTo>
                    <a:pt x="63" y="240"/>
                  </a:lnTo>
                  <a:lnTo>
                    <a:pt x="77" y="253"/>
                  </a:lnTo>
                  <a:lnTo>
                    <a:pt x="92" y="253"/>
                  </a:lnTo>
                  <a:lnTo>
                    <a:pt x="82" y="237"/>
                  </a:lnTo>
                  <a:lnTo>
                    <a:pt x="90" y="216"/>
                  </a:lnTo>
                  <a:lnTo>
                    <a:pt x="98" y="192"/>
                  </a:lnTo>
                  <a:lnTo>
                    <a:pt x="103" y="166"/>
                  </a:lnTo>
                  <a:lnTo>
                    <a:pt x="125" y="150"/>
                  </a:lnTo>
                  <a:lnTo>
                    <a:pt x="143" y="139"/>
                  </a:lnTo>
                  <a:lnTo>
                    <a:pt x="141" y="123"/>
                  </a:lnTo>
                  <a:lnTo>
                    <a:pt x="141" y="98"/>
                  </a:lnTo>
                  <a:lnTo>
                    <a:pt x="145" y="86"/>
                  </a:lnTo>
                  <a:lnTo>
                    <a:pt x="162" y="83"/>
                  </a:lnTo>
                  <a:lnTo>
                    <a:pt x="169" y="89"/>
                  </a:lnTo>
                  <a:lnTo>
                    <a:pt x="183" y="71"/>
                  </a:lnTo>
                  <a:lnTo>
                    <a:pt x="178" y="55"/>
                  </a:lnTo>
                  <a:lnTo>
                    <a:pt x="169" y="52"/>
                  </a:lnTo>
                  <a:lnTo>
                    <a:pt x="153" y="52"/>
                  </a:lnTo>
                  <a:lnTo>
                    <a:pt x="145" y="52"/>
                  </a:lnTo>
                  <a:lnTo>
                    <a:pt x="141" y="28"/>
                  </a:lnTo>
                  <a:lnTo>
                    <a:pt x="143" y="5"/>
                  </a:lnTo>
                  <a:lnTo>
                    <a:pt x="131" y="0"/>
                  </a:lnTo>
                  <a:lnTo>
                    <a:pt x="126" y="8"/>
                  </a:lnTo>
                  <a:lnTo>
                    <a:pt x="98" y="2"/>
                  </a:lnTo>
                  <a:lnTo>
                    <a:pt x="92" y="9"/>
                  </a:lnTo>
                  <a:lnTo>
                    <a:pt x="98" y="31"/>
                  </a:lnTo>
                  <a:lnTo>
                    <a:pt x="96" y="52"/>
                  </a:lnTo>
                  <a:lnTo>
                    <a:pt x="84" y="37"/>
                  </a:lnTo>
                  <a:lnTo>
                    <a:pt x="79" y="24"/>
                  </a:lnTo>
                  <a:lnTo>
                    <a:pt x="63" y="27"/>
                  </a:lnTo>
                  <a:lnTo>
                    <a:pt x="57" y="39"/>
                  </a:lnTo>
                  <a:lnTo>
                    <a:pt x="52" y="45"/>
                  </a:lnTo>
                  <a:lnTo>
                    <a:pt x="52" y="64"/>
                  </a:lnTo>
                  <a:lnTo>
                    <a:pt x="49" y="61"/>
                  </a:lnTo>
                  <a:lnTo>
                    <a:pt x="35" y="37"/>
                  </a:lnTo>
                  <a:lnTo>
                    <a:pt x="27" y="28"/>
                  </a:lnTo>
                  <a:lnTo>
                    <a:pt x="19" y="34"/>
                  </a:lnTo>
                  <a:lnTo>
                    <a:pt x="21" y="46"/>
                  </a:lnTo>
                  <a:lnTo>
                    <a:pt x="21" y="55"/>
                  </a:lnTo>
                  <a:lnTo>
                    <a:pt x="8" y="61"/>
                  </a:lnTo>
                  <a:lnTo>
                    <a:pt x="8" y="79"/>
                  </a:lnTo>
                  <a:lnTo>
                    <a:pt x="19" y="98"/>
                  </a:lnTo>
                  <a:lnTo>
                    <a:pt x="19" y="110"/>
                  </a:lnTo>
                  <a:lnTo>
                    <a:pt x="14" y="123"/>
                  </a:lnTo>
                  <a:lnTo>
                    <a:pt x="0" y="136"/>
                  </a:lnTo>
                  <a:lnTo>
                    <a:pt x="2" y="150"/>
                  </a:lnTo>
                  <a:lnTo>
                    <a:pt x="16" y="163"/>
                  </a:lnTo>
                  <a:lnTo>
                    <a:pt x="21" y="176"/>
                  </a:lnTo>
                  <a:lnTo>
                    <a:pt x="19" y="200"/>
                  </a:lnTo>
                  <a:lnTo>
                    <a:pt x="14" y="216"/>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61" name="Freeform 532"/>
            <p:cNvSpPr>
              <a:spLocks noChangeAspect="1"/>
            </p:cNvSpPr>
            <p:nvPr/>
          </p:nvSpPr>
          <p:spPr bwMode="auto">
            <a:xfrm>
              <a:off x="2705261" y="3112181"/>
              <a:ext cx="202674" cy="118312"/>
            </a:xfrm>
            <a:custGeom>
              <a:avLst/>
              <a:gdLst>
                <a:gd name="T0" fmla="*/ 0 w 138"/>
                <a:gd name="T1" fmla="*/ 94 h 97"/>
                <a:gd name="T2" fmla="*/ 11 w 138"/>
                <a:gd name="T3" fmla="*/ 97 h 97"/>
                <a:gd name="T4" fmla="*/ 25 w 138"/>
                <a:gd name="T5" fmla="*/ 86 h 97"/>
                <a:gd name="T6" fmla="*/ 39 w 138"/>
                <a:gd name="T7" fmla="*/ 67 h 97"/>
                <a:gd name="T8" fmla="*/ 77 w 138"/>
                <a:gd name="T9" fmla="*/ 67 h 97"/>
                <a:gd name="T10" fmla="*/ 110 w 138"/>
                <a:gd name="T11" fmla="*/ 60 h 97"/>
                <a:gd name="T12" fmla="*/ 129 w 138"/>
                <a:gd name="T13" fmla="*/ 43 h 97"/>
                <a:gd name="T14" fmla="*/ 135 w 138"/>
                <a:gd name="T15" fmla="*/ 22 h 97"/>
                <a:gd name="T16" fmla="*/ 138 w 138"/>
                <a:gd name="T17" fmla="*/ 0 h 97"/>
                <a:gd name="T18" fmla="*/ 112 w 138"/>
                <a:gd name="T19" fmla="*/ 13 h 97"/>
                <a:gd name="T20" fmla="*/ 65 w 138"/>
                <a:gd name="T21" fmla="*/ 37 h 97"/>
                <a:gd name="T22" fmla="*/ 53 w 138"/>
                <a:gd name="T23" fmla="*/ 40 h 97"/>
                <a:gd name="T24" fmla="*/ 39 w 138"/>
                <a:gd name="T25" fmla="*/ 52 h 97"/>
                <a:gd name="T26" fmla="*/ 11 w 138"/>
                <a:gd name="T27" fmla="*/ 57 h 97"/>
                <a:gd name="T28" fmla="*/ 0 w 138"/>
                <a:gd name="T29" fmla="*/ 64 h 97"/>
                <a:gd name="T30" fmla="*/ 0 w 138"/>
                <a:gd name="T31" fmla="*/ 9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8" h="97">
                  <a:moveTo>
                    <a:pt x="0" y="94"/>
                  </a:moveTo>
                  <a:lnTo>
                    <a:pt x="11" y="97"/>
                  </a:lnTo>
                  <a:lnTo>
                    <a:pt x="25" y="86"/>
                  </a:lnTo>
                  <a:lnTo>
                    <a:pt x="39" y="67"/>
                  </a:lnTo>
                  <a:lnTo>
                    <a:pt x="77" y="67"/>
                  </a:lnTo>
                  <a:lnTo>
                    <a:pt x="110" y="60"/>
                  </a:lnTo>
                  <a:lnTo>
                    <a:pt x="129" y="43"/>
                  </a:lnTo>
                  <a:lnTo>
                    <a:pt x="135" y="22"/>
                  </a:lnTo>
                  <a:lnTo>
                    <a:pt x="138" y="0"/>
                  </a:lnTo>
                  <a:lnTo>
                    <a:pt x="112" y="13"/>
                  </a:lnTo>
                  <a:lnTo>
                    <a:pt x="65" y="37"/>
                  </a:lnTo>
                  <a:lnTo>
                    <a:pt x="53" y="40"/>
                  </a:lnTo>
                  <a:lnTo>
                    <a:pt x="39" y="52"/>
                  </a:lnTo>
                  <a:lnTo>
                    <a:pt x="11" y="57"/>
                  </a:lnTo>
                  <a:lnTo>
                    <a:pt x="0" y="64"/>
                  </a:lnTo>
                  <a:lnTo>
                    <a:pt x="0" y="94"/>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grpSp>
        <p:nvGrpSpPr>
          <p:cNvPr id="43" name="DD"/>
          <p:cNvGrpSpPr/>
          <p:nvPr/>
        </p:nvGrpSpPr>
        <p:grpSpPr>
          <a:xfrm>
            <a:off x="5882872" y="3020383"/>
            <a:ext cx="224686" cy="228283"/>
            <a:chOff x="2834953" y="3338558"/>
            <a:chExt cx="224686" cy="228283"/>
          </a:xfrm>
          <a:solidFill>
            <a:srgbClr val="FAFAFA"/>
          </a:solidFill>
          <a:effectLst/>
        </p:grpSpPr>
        <p:sp>
          <p:nvSpPr>
            <p:cNvPr id="57" name="Freeform 528"/>
            <p:cNvSpPr>
              <a:spLocks noChangeAspect="1"/>
            </p:cNvSpPr>
            <p:nvPr/>
          </p:nvSpPr>
          <p:spPr bwMode="auto">
            <a:xfrm>
              <a:off x="2834953" y="3388403"/>
              <a:ext cx="89351" cy="96977"/>
            </a:xfrm>
            <a:custGeom>
              <a:avLst/>
              <a:gdLst>
                <a:gd name="T0" fmla="*/ 19 w 59"/>
                <a:gd name="T1" fmla="*/ 0 h 80"/>
                <a:gd name="T2" fmla="*/ 57 w 59"/>
                <a:gd name="T3" fmla="*/ 27 h 80"/>
                <a:gd name="T4" fmla="*/ 59 w 59"/>
                <a:gd name="T5" fmla="*/ 40 h 80"/>
                <a:gd name="T6" fmla="*/ 45 w 59"/>
                <a:gd name="T7" fmla="*/ 55 h 80"/>
                <a:gd name="T8" fmla="*/ 32 w 59"/>
                <a:gd name="T9" fmla="*/ 67 h 80"/>
                <a:gd name="T10" fmla="*/ 35 w 59"/>
                <a:gd name="T11" fmla="*/ 80 h 80"/>
                <a:gd name="T12" fmla="*/ 19 w 59"/>
                <a:gd name="T13" fmla="*/ 77 h 80"/>
                <a:gd name="T14" fmla="*/ 2 w 59"/>
                <a:gd name="T15" fmla="*/ 55 h 80"/>
                <a:gd name="T16" fmla="*/ 0 w 59"/>
                <a:gd name="T17" fmla="*/ 40 h 80"/>
                <a:gd name="T18" fmla="*/ 7 w 59"/>
                <a:gd name="T19" fmla="*/ 23 h 80"/>
                <a:gd name="T20" fmla="*/ 19 w 59"/>
                <a:gd name="T2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80">
                  <a:moveTo>
                    <a:pt x="19" y="0"/>
                  </a:moveTo>
                  <a:lnTo>
                    <a:pt x="57" y="27"/>
                  </a:lnTo>
                  <a:lnTo>
                    <a:pt x="59" y="40"/>
                  </a:lnTo>
                  <a:lnTo>
                    <a:pt x="45" y="55"/>
                  </a:lnTo>
                  <a:lnTo>
                    <a:pt x="32" y="67"/>
                  </a:lnTo>
                  <a:lnTo>
                    <a:pt x="35" y="80"/>
                  </a:lnTo>
                  <a:lnTo>
                    <a:pt x="19" y="77"/>
                  </a:lnTo>
                  <a:lnTo>
                    <a:pt x="2" y="55"/>
                  </a:lnTo>
                  <a:lnTo>
                    <a:pt x="0" y="40"/>
                  </a:lnTo>
                  <a:lnTo>
                    <a:pt x="7" y="23"/>
                  </a:lnTo>
                  <a:lnTo>
                    <a:pt x="19"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58" name="Freeform 529"/>
            <p:cNvSpPr>
              <a:spLocks noChangeAspect="1"/>
            </p:cNvSpPr>
            <p:nvPr/>
          </p:nvSpPr>
          <p:spPr bwMode="auto">
            <a:xfrm>
              <a:off x="2885728" y="3338558"/>
              <a:ext cx="173911" cy="198220"/>
            </a:xfrm>
            <a:custGeom>
              <a:avLst/>
              <a:gdLst>
                <a:gd name="T0" fmla="*/ 83 w 88"/>
                <a:gd name="T1" fmla="*/ 0 h 117"/>
                <a:gd name="T2" fmla="*/ 88 w 88"/>
                <a:gd name="T3" fmla="*/ 6 h 117"/>
                <a:gd name="T4" fmla="*/ 83 w 88"/>
                <a:gd name="T5" fmla="*/ 13 h 117"/>
                <a:gd name="T6" fmla="*/ 88 w 88"/>
                <a:gd name="T7" fmla="*/ 26 h 117"/>
                <a:gd name="T8" fmla="*/ 81 w 88"/>
                <a:gd name="T9" fmla="*/ 41 h 117"/>
                <a:gd name="T10" fmla="*/ 69 w 88"/>
                <a:gd name="T11" fmla="*/ 51 h 117"/>
                <a:gd name="T12" fmla="*/ 74 w 88"/>
                <a:gd name="T13" fmla="*/ 64 h 117"/>
                <a:gd name="T14" fmla="*/ 69 w 88"/>
                <a:gd name="T15" fmla="*/ 75 h 117"/>
                <a:gd name="T16" fmla="*/ 74 w 88"/>
                <a:gd name="T17" fmla="*/ 88 h 117"/>
                <a:gd name="T18" fmla="*/ 57 w 88"/>
                <a:gd name="T19" fmla="*/ 117 h 117"/>
                <a:gd name="T20" fmla="*/ 20 w 88"/>
                <a:gd name="T21" fmla="*/ 88 h 117"/>
                <a:gd name="T22" fmla="*/ 0 w 88"/>
                <a:gd name="T23" fmla="*/ 73 h 117"/>
                <a:gd name="T24" fmla="*/ 12 w 88"/>
                <a:gd name="T25" fmla="*/ 64 h 117"/>
                <a:gd name="T26" fmla="*/ 12 w 88"/>
                <a:gd name="T27" fmla="*/ 46 h 117"/>
                <a:gd name="T28" fmla="*/ 34 w 88"/>
                <a:gd name="T29" fmla="*/ 31 h 117"/>
                <a:gd name="T30" fmla="*/ 46 w 88"/>
                <a:gd name="T31" fmla="*/ 37 h 117"/>
                <a:gd name="T32" fmla="*/ 57 w 88"/>
                <a:gd name="T33" fmla="*/ 31 h 117"/>
                <a:gd name="T34" fmla="*/ 76 w 88"/>
                <a:gd name="T35" fmla="*/ 16 h 117"/>
                <a:gd name="T36" fmla="*/ 83 w 88"/>
                <a:gd name="T37"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117">
                  <a:moveTo>
                    <a:pt x="83" y="0"/>
                  </a:moveTo>
                  <a:lnTo>
                    <a:pt x="88" y="6"/>
                  </a:lnTo>
                  <a:lnTo>
                    <a:pt x="83" y="13"/>
                  </a:lnTo>
                  <a:lnTo>
                    <a:pt x="88" y="26"/>
                  </a:lnTo>
                  <a:lnTo>
                    <a:pt x="81" y="41"/>
                  </a:lnTo>
                  <a:lnTo>
                    <a:pt x="69" y="51"/>
                  </a:lnTo>
                  <a:lnTo>
                    <a:pt x="74" y="64"/>
                  </a:lnTo>
                  <a:lnTo>
                    <a:pt x="69" y="75"/>
                  </a:lnTo>
                  <a:lnTo>
                    <a:pt x="74" y="88"/>
                  </a:lnTo>
                  <a:lnTo>
                    <a:pt x="57" y="117"/>
                  </a:lnTo>
                  <a:lnTo>
                    <a:pt x="20" y="88"/>
                  </a:lnTo>
                  <a:lnTo>
                    <a:pt x="0" y="73"/>
                  </a:lnTo>
                  <a:lnTo>
                    <a:pt x="12" y="64"/>
                  </a:lnTo>
                  <a:lnTo>
                    <a:pt x="12" y="46"/>
                  </a:lnTo>
                  <a:lnTo>
                    <a:pt x="34" y="31"/>
                  </a:lnTo>
                  <a:lnTo>
                    <a:pt x="46" y="37"/>
                  </a:lnTo>
                  <a:lnTo>
                    <a:pt x="57" y="31"/>
                  </a:lnTo>
                  <a:lnTo>
                    <a:pt x="76" y="16"/>
                  </a:lnTo>
                  <a:lnTo>
                    <a:pt x="83"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59" name="Freeform 530"/>
            <p:cNvSpPr>
              <a:spLocks noChangeAspect="1"/>
            </p:cNvSpPr>
            <p:nvPr/>
          </p:nvSpPr>
          <p:spPr bwMode="auto">
            <a:xfrm>
              <a:off x="2924304" y="3506715"/>
              <a:ext cx="52303" cy="60126"/>
            </a:xfrm>
            <a:custGeom>
              <a:avLst/>
              <a:gdLst>
                <a:gd name="T0" fmla="*/ 0 w 35"/>
                <a:gd name="T1" fmla="*/ 0 h 50"/>
                <a:gd name="T2" fmla="*/ 24 w 35"/>
                <a:gd name="T3" fmla="*/ 9 h 50"/>
                <a:gd name="T4" fmla="*/ 33 w 35"/>
                <a:gd name="T5" fmla="*/ 21 h 50"/>
                <a:gd name="T6" fmla="*/ 35 w 35"/>
                <a:gd name="T7" fmla="*/ 40 h 50"/>
                <a:gd name="T8" fmla="*/ 24 w 35"/>
                <a:gd name="T9" fmla="*/ 50 h 50"/>
                <a:gd name="T10" fmla="*/ 6 w 35"/>
                <a:gd name="T11" fmla="*/ 41 h 50"/>
                <a:gd name="T12" fmla="*/ 2 w 35"/>
                <a:gd name="T13" fmla="*/ 28 h 50"/>
                <a:gd name="T14" fmla="*/ 0 w 35"/>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50">
                  <a:moveTo>
                    <a:pt x="0" y="0"/>
                  </a:moveTo>
                  <a:lnTo>
                    <a:pt x="24" y="9"/>
                  </a:lnTo>
                  <a:lnTo>
                    <a:pt x="33" y="21"/>
                  </a:lnTo>
                  <a:lnTo>
                    <a:pt x="35" y="40"/>
                  </a:lnTo>
                  <a:lnTo>
                    <a:pt x="24" y="50"/>
                  </a:lnTo>
                  <a:lnTo>
                    <a:pt x="6" y="41"/>
                  </a:lnTo>
                  <a:lnTo>
                    <a:pt x="2" y="28"/>
                  </a:lnTo>
                  <a:lnTo>
                    <a:pt x="0" y="0"/>
                  </a:lnTo>
                  <a:close/>
                </a:path>
              </a:pathLst>
            </a:custGeom>
            <a:grp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grpSp>
      <p:sp>
        <p:nvSpPr>
          <p:cNvPr id="44" name="IS"/>
          <p:cNvSpPr>
            <a:spLocks/>
          </p:cNvSpPr>
          <p:nvPr/>
        </p:nvSpPr>
        <p:spPr bwMode="auto">
          <a:xfrm>
            <a:off x="3940175" y="1368425"/>
            <a:ext cx="536575" cy="450850"/>
          </a:xfrm>
          <a:custGeom>
            <a:avLst/>
            <a:gdLst>
              <a:gd name="T0" fmla="*/ 101 w 590"/>
              <a:gd name="T1" fmla="*/ 320 h 424"/>
              <a:gd name="T2" fmla="*/ 135 w 590"/>
              <a:gd name="T3" fmla="*/ 384 h 424"/>
              <a:gd name="T4" fmla="*/ 202 w 590"/>
              <a:gd name="T5" fmla="*/ 424 h 424"/>
              <a:gd name="T6" fmla="*/ 253 w 590"/>
              <a:gd name="T7" fmla="*/ 424 h 424"/>
              <a:gd name="T8" fmla="*/ 287 w 590"/>
              <a:gd name="T9" fmla="*/ 416 h 424"/>
              <a:gd name="T10" fmla="*/ 346 w 590"/>
              <a:gd name="T11" fmla="*/ 424 h 424"/>
              <a:gd name="T12" fmla="*/ 430 w 590"/>
              <a:gd name="T13" fmla="*/ 392 h 424"/>
              <a:gd name="T14" fmla="*/ 463 w 590"/>
              <a:gd name="T15" fmla="*/ 400 h 424"/>
              <a:gd name="T16" fmla="*/ 506 w 590"/>
              <a:gd name="T17" fmla="*/ 376 h 424"/>
              <a:gd name="T18" fmla="*/ 556 w 590"/>
              <a:gd name="T19" fmla="*/ 352 h 424"/>
              <a:gd name="T20" fmla="*/ 590 w 590"/>
              <a:gd name="T21" fmla="*/ 272 h 424"/>
              <a:gd name="T22" fmla="*/ 565 w 590"/>
              <a:gd name="T23" fmla="*/ 256 h 424"/>
              <a:gd name="T24" fmla="*/ 556 w 590"/>
              <a:gd name="T25" fmla="*/ 224 h 424"/>
              <a:gd name="T26" fmla="*/ 565 w 590"/>
              <a:gd name="T27" fmla="*/ 192 h 424"/>
              <a:gd name="T28" fmla="*/ 573 w 590"/>
              <a:gd name="T29" fmla="*/ 160 h 424"/>
              <a:gd name="T30" fmla="*/ 531 w 590"/>
              <a:gd name="T31" fmla="*/ 160 h 424"/>
              <a:gd name="T32" fmla="*/ 506 w 590"/>
              <a:gd name="T33" fmla="*/ 120 h 424"/>
              <a:gd name="T34" fmla="*/ 480 w 590"/>
              <a:gd name="T35" fmla="*/ 144 h 424"/>
              <a:gd name="T36" fmla="*/ 472 w 590"/>
              <a:gd name="T37" fmla="*/ 160 h 424"/>
              <a:gd name="T38" fmla="*/ 447 w 590"/>
              <a:gd name="T39" fmla="*/ 152 h 424"/>
              <a:gd name="T40" fmla="*/ 413 w 590"/>
              <a:gd name="T41" fmla="*/ 160 h 424"/>
              <a:gd name="T42" fmla="*/ 405 w 590"/>
              <a:gd name="T43" fmla="*/ 128 h 424"/>
              <a:gd name="T44" fmla="*/ 379 w 590"/>
              <a:gd name="T45" fmla="*/ 128 h 424"/>
              <a:gd name="T46" fmla="*/ 371 w 590"/>
              <a:gd name="T47" fmla="*/ 152 h 424"/>
              <a:gd name="T48" fmla="*/ 354 w 590"/>
              <a:gd name="T49" fmla="*/ 112 h 424"/>
              <a:gd name="T50" fmla="*/ 312 w 590"/>
              <a:gd name="T51" fmla="*/ 120 h 424"/>
              <a:gd name="T52" fmla="*/ 295 w 590"/>
              <a:gd name="T53" fmla="*/ 144 h 424"/>
              <a:gd name="T54" fmla="*/ 278 w 590"/>
              <a:gd name="T55" fmla="*/ 144 h 424"/>
              <a:gd name="T56" fmla="*/ 270 w 590"/>
              <a:gd name="T57" fmla="*/ 88 h 424"/>
              <a:gd name="T58" fmla="*/ 253 w 590"/>
              <a:gd name="T59" fmla="*/ 96 h 424"/>
              <a:gd name="T60" fmla="*/ 244 w 590"/>
              <a:gd name="T61" fmla="*/ 152 h 424"/>
              <a:gd name="T62" fmla="*/ 228 w 590"/>
              <a:gd name="T63" fmla="*/ 152 h 424"/>
              <a:gd name="T64" fmla="*/ 219 w 590"/>
              <a:gd name="T65" fmla="*/ 128 h 424"/>
              <a:gd name="T66" fmla="*/ 177 w 590"/>
              <a:gd name="T67" fmla="*/ 160 h 424"/>
              <a:gd name="T68" fmla="*/ 185 w 590"/>
              <a:gd name="T69" fmla="*/ 112 h 424"/>
              <a:gd name="T70" fmla="*/ 211 w 590"/>
              <a:gd name="T71" fmla="*/ 88 h 424"/>
              <a:gd name="T72" fmla="*/ 185 w 590"/>
              <a:gd name="T73" fmla="*/ 16 h 424"/>
              <a:gd name="T74" fmla="*/ 143 w 590"/>
              <a:gd name="T75" fmla="*/ 0 h 424"/>
              <a:gd name="T76" fmla="*/ 152 w 590"/>
              <a:gd name="T77" fmla="*/ 64 h 424"/>
              <a:gd name="T78" fmla="*/ 118 w 590"/>
              <a:gd name="T79" fmla="*/ 16 h 424"/>
              <a:gd name="T80" fmla="*/ 93 w 590"/>
              <a:gd name="T81" fmla="*/ 32 h 424"/>
              <a:gd name="T82" fmla="*/ 76 w 590"/>
              <a:gd name="T83" fmla="*/ 48 h 424"/>
              <a:gd name="T84" fmla="*/ 93 w 590"/>
              <a:gd name="T85" fmla="*/ 64 h 424"/>
              <a:gd name="T86" fmla="*/ 59 w 590"/>
              <a:gd name="T87" fmla="*/ 48 h 424"/>
              <a:gd name="T88" fmla="*/ 51 w 590"/>
              <a:gd name="T89" fmla="*/ 64 h 424"/>
              <a:gd name="T90" fmla="*/ 25 w 590"/>
              <a:gd name="T91" fmla="*/ 64 h 424"/>
              <a:gd name="T92" fmla="*/ 42 w 590"/>
              <a:gd name="T93" fmla="*/ 88 h 424"/>
              <a:gd name="T94" fmla="*/ 101 w 590"/>
              <a:gd name="T95" fmla="*/ 96 h 424"/>
              <a:gd name="T96" fmla="*/ 143 w 590"/>
              <a:gd name="T97" fmla="*/ 128 h 424"/>
              <a:gd name="T98" fmla="*/ 110 w 590"/>
              <a:gd name="T99" fmla="*/ 144 h 424"/>
              <a:gd name="T100" fmla="*/ 126 w 590"/>
              <a:gd name="T101" fmla="*/ 160 h 424"/>
              <a:gd name="T102" fmla="*/ 143 w 590"/>
              <a:gd name="T103" fmla="*/ 176 h 424"/>
              <a:gd name="T104" fmla="*/ 126 w 590"/>
              <a:gd name="T105" fmla="*/ 184 h 424"/>
              <a:gd name="T106" fmla="*/ 8 w 590"/>
              <a:gd name="T107" fmla="*/ 144 h 424"/>
              <a:gd name="T108" fmla="*/ 0 w 590"/>
              <a:gd name="T109" fmla="*/ 168 h 424"/>
              <a:gd name="T110" fmla="*/ 93 w 590"/>
              <a:gd name="T111" fmla="*/ 192 h 424"/>
              <a:gd name="T112" fmla="*/ 84 w 590"/>
              <a:gd name="T113" fmla="*/ 216 h 424"/>
              <a:gd name="T114" fmla="*/ 84 w 590"/>
              <a:gd name="T115" fmla="*/ 256 h 424"/>
              <a:gd name="T116" fmla="*/ 67 w 590"/>
              <a:gd name="T117" fmla="*/ 280 h 424"/>
              <a:gd name="T118" fmla="*/ 34 w 590"/>
              <a:gd name="T119" fmla="*/ 280 h 424"/>
              <a:gd name="T120" fmla="*/ 17 w 590"/>
              <a:gd name="T121" fmla="*/ 296 h 424"/>
              <a:gd name="T122" fmla="*/ 101 w 590"/>
              <a:gd name="T123" fmla="*/ 32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0" h="424">
                <a:moveTo>
                  <a:pt x="101" y="320"/>
                </a:moveTo>
                <a:lnTo>
                  <a:pt x="135" y="384"/>
                </a:lnTo>
                <a:lnTo>
                  <a:pt x="202" y="424"/>
                </a:lnTo>
                <a:lnTo>
                  <a:pt x="253" y="424"/>
                </a:lnTo>
                <a:lnTo>
                  <a:pt x="287" y="416"/>
                </a:lnTo>
                <a:lnTo>
                  <a:pt x="346" y="424"/>
                </a:lnTo>
                <a:lnTo>
                  <a:pt x="430" y="392"/>
                </a:lnTo>
                <a:lnTo>
                  <a:pt x="463" y="400"/>
                </a:lnTo>
                <a:lnTo>
                  <a:pt x="506" y="376"/>
                </a:lnTo>
                <a:lnTo>
                  <a:pt x="556" y="352"/>
                </a:lnTo>
                <a:lnTo>
                  <a:pt x="590" y="272"/>
                </a:lnTo>
                <a:lnTo>
                  <a:pt x="565" y="256"/>
                </a:lnTo>
                <a:lnTo>
                  <a:pt x="556" y="224"/>
                </a:lnTo>
                <a:lnTo>
                  <a:pt x="565" y="192"/>
                </a:lnTo>
                <a:lnTo>
                  <a:pt x="573" y="160"/>
                </a:lnTo>
                <a:lnTo>
                  <a:pt x="531" y="160"/>
                </a:lnTo>
                <a:lnTo>
                  <a:pt x="506" y="120"/>
                </a:lnTo>
                <a:lnTo>
                  <a:pt x="480" y="144"/>
                </a:lnTo>
                <a:lnTo>
                  <a:pt x="472" y="160"/>
                </a:lnTo>
                <a:lnTo>
                  <a:pt x="447" y="152"/>
                </a:lnTo>
                <a:lnTo>
                  <a:pt x="413" y="160"/>
                </a:lnTo>
                <a:lnTo>
                  <a:pt x="405" y="128"/>
                </a:lnTo>
                <a:lnTo>
                  <a:pt x="379" y="128"/>
                </a:lnTo>
                <a:lnTo>
                  <a:pt x="371" y="152"/>
                </a:lnTo>
                <a:lnTo>
                  <a:pt x="354" y="112"/>
                </a:lnTo>
                <a:lnTo>
                  <a:pt x="312" y="120"/>
                </a:lnTo>
                <a:lnTo>
                  <a:pt x="295" y="144"/>
                </a:lnTo>
                <a:lnTo>
                  <a:pt x="278" y="144"/>
                </a:lnTo>
                <a:lnTo>
                  <a:pt x="270" y="88"/>
                </a:lnTo>
                <a:lnTo>
                  <a:pt x="253" y="96"/>
                </a:lnTo>
                <a:lnTo>
                  <a:pt x="244" y="152"/>
                </a:lnTo>
                <a:lnTo>
                  <a:pt x="228" y="152"/>
                </a:lnTo>
                <a:lnTo>
                  <a:pt x="219" y="128"/>
                </a:lnTo>
                <a:lnTo>
                  <a:pt x="177" y="160"/>
                </a:lnTo>
                <a:lnTo>
                  <a:pt x="185" y="112"/>
                </a:lnTo>
                <a:lnTo>
                  <a:pt x="211" y="88"/>
                </a:lnTo>
                <a:lnTo>
                  <a:pt x="185" y="16"/>
                </a:lnTo>
                <a:lnTo>
                  <a:pt x="143" y="0"/>
                </a:lnTo>
                <a:lnTo>
                  <a:pt x="152" y="64"/>
                </a:lnTo>
                <a:lnTo>
                  <a:pt x="118" y="16"/>
                </a:lnTo>
                <a:lnTo>
                  <a:pt x="93" y="32"/>
                </a:lnTo>
                <a:lnTo>
                  <a:pt x="76" y="48"/>
                </a:lnTo>
                <a:lnTo>
                  <a:pt x="93" y="64"/>
                </a:lnTo>
                <a:lnTo>
                  <a:pt x="59" y="48"/>
                </a:lnTo>
                <a:lnTo>
                  <a:pt x="51" y="64"/>
                </a:lnTo>
                <a:lnTo>
                  <a:pt x="25" y="64"/>
                </a:lnTo>
                <a:lnTo>
                  <a:pt x="42" y="88"/>
                </a:lnTo>
                <a:lnTo>
                  <a:pt x="101" y="96"/>
                </a:lnTo>
                <a:lnTo>
                  <a:pt x="143" y="128"/>
                </a:lnTo>
                <a:lnTo>
                  <a:pt x="110" y="144"/>
                </a:lnTo>
                <a:lnTo>
                  <a:pt x="126" y="160"/>
                </a:lnTo>
                <a:lnTo>
                  <a:pt x="143" y="176"/>
                </a:lnTo>
                <a:lnTo>
                  <a:pt x="126" y="184"/>
                </a:lnTo>
                <a:lnTo>
                  <a:pt x="8" y="144"/>
                </a:lnTo>
                <a:lnTo>
                  <a:pt x="0" y="168"/>
                </a:lnTo>
                <a:lnTo>
                  <a:pt x="93" y="192"/>
                </a:lnTo>
                <a:lnTo>
                  <a:pt x="84" y="216"/>
                </a:lnTo>
                <a:lnTo>
                  <a:pt x="84" y="256"/>
                </a:lnTo>
                <a:lnTo>
                  <a:pt x="67" y="280"/>
                </a:lnTo>
                <a:lnTo>
                  <a:pt x="34" y="280"/>
                </a:lnTo>
                <a:lnTo>
                  <a:pt x="17" y="296"/>
                </a:lnTo>
                <a:lnTo>
                  <a:pt x="101" y="320"/>
                </a:lnTo>
                <a:close/>
              </a:path>
            </a:pathLst>
          </a:custGeom>
          <a:solidFill>
            <a:srgbClr val="FAFAFA"/>
          </a:solidFill>
          <a:ln w="3175">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fontAlgn="auto">
              <a:spcBef>
                <a:spcPts val="0"/>
              </a:spcBef>
              <a:spcAft>
                <a:spcPts val="0"/>
              </a:spcAft>
              <a:defRPr/>
            </a:pPr>
            <a:endParaRPr lang="de-CH" dirty="0"/>
          </a:p>
        </p:txBody>
      </p:sp>
      <p:sp>
        <p:nvSpPr>
          <p:cNvPr id="45" name="ME"/>
          <p:cNvSpPr/>
          <p:nvPr/>
        </p:nvSpPr>
        <p:spPr>
          <a:xfrm>
            <a:off x="6616700" y="4986338"/>
            <a:ext cx="225425" cy="228600"/>
          </a:xfrm>
          <a:custGeom>
            <a:avLst/>
            <a:gdLst>
              <a:gd name="connsiteX0" fmla="*/ 7144 w 116681"/>
              <a:gd name="connsiteY0" fmla="*/ 138113 h 185738"/>
              <a:gd name="connsiteX1" fmla="*/ 92869 w 116681"/>
              <a:gd name="connsiteY1" fmla="*/ 185738 h 185738"/>
              <a:gd name="connsiteX2" fmla="*/ 116681 w 116681"/>
              <a:gd name="connsiteY2" fmla="*/ 111919 h 185738"/>
              <a:gd name="connsiteX3" fmla="*/ 97631 w 116681"/>
              <a:gd name="connsiteY3" fmla="*/ 0 h 185738"/>
              <a:gd name="connsiteX4" fmla="*/ 47625 w 116681"/>
              <a:gd name="connsiteY4" fmla="*/ 16669 h 185738"/>
              <a:gd name="connsiteX5" fmla="*/ 57150 w 116681"/>
              <a:gd name="connsiteY5" fmla="*/ 45244 h 185738"/>
              <a:gd name="connsiteX6" fmla="*/ 30956 w 116681"/>
              <a:gd name="connsiteY6" fmla="*/ 42863 h 185738"/>
              <a:gd name="connsiteX7" fmla="*/ 23813 w 116681"/>
              <a:gd name="connsiteY7" fmla="*/ 73819 h 185738"/>
              <a:gd name="connsiteX8" fmla="*/ 0 w 116681"/>
              <a:gd name="connsiteY8" fmla="*/ 85725 h 185738"/>
              <a:gd name="connsiteX9" fmla="*/ 7144 w 116681"/>
              <a:gd name="connsiteY9" fmla="*/ 138113 h 185738"/>
              <a:gd name="connsiteX0" fmla="*/ 7144 w 161952"/>
              <a:gd name="connsiteY0" fmla="*/ 121444 h 169069"/>
              <a:gd name="connsiteX1" fmla="*/ 92869 w 161952"/>
              <a:gd name="connsiteY1" fmla="*/ 169069 h 169069"/>
              <a:gd name="connsiteX2" fmla="*/ 116681 w 161952"/>
              <a:gd name="connsiteY2" fmla="*/ 95250 h 169069"/>
              <a:gd name="connsiteX3" fmla="*/ 161952 w 161952"/>
              <a:gd name="connsiteY3" fmla="*/ 54183 h 169069"/>
              <a:gd name="connsiteX4" fmla="*/ 47625 w 161952"/>
              <a:gd name="connsiteY4" fmla="*/ 0 h 169069"/>
              <a:gd name="connsiteX5" fmla="*/ 57150 w 161952"/>
              <a:gd name="connsiteY5" fmla="*/ 28575 h 169069"/>
              <a:gd name="connsiteX6" fmla="*/ 30956 w 161952"/>
              <a:gd name="connsiteY6" fmla="*/ 26194 h 169069"/>
              <a:gd name="connsiteX7" fmla="*/ 23813 w 161952"/>
              <a:gd name="connsiteY7" fmla="*/ 57150 h 169069"/>
              <a:gd name="connsiteX8" fmla="*/ 0 w 161952"/>
              <a:gd name="connsiteY8" fmla="*/ 69056 h 169069"/>
              <a:gd name="connsiteX9" fmla="*/ 7144 w 161952"/>
              <a:gd name="connsiteY9" fmla="*/ 121444 h 169069"/>
              <a:gd name="connsiteX0" fmla="*/ 7144 w 161952"/>
              <a:gd name="connsiteY0" fmla="*/ 134728 h 182353"/>
              <a:gd name="connsiteX1" fmla="*/ 92869 w 161952"/>
              <a:gd name="connsiteY1" fmla="*/ 182353 h 182353"/>
              <a:gd name="connsiteX2" fmla="*/ 116681 w 161952"/>
              <a:gd name="connsiteY2" fmla="*/ 108534 h 182353"/>
              <a:gd name="connsiteX3" fmla="*/ 161952 w 161952"/>
              <a:gd name="connsiteY3" fmla="*/ 67467 h 182353"/>
              <a:gd name="connsiteX4" fmla="*/ 104800 w 161952"/>
              <a:gd name="connsiteY4" fmla="*/ 0 h 182353"/>
              <a:gd name="connsiteX5" fmla="*/ 57150 w 161952"/>
              <a:gd name="connsiteY5" fmla="*/ 41859 h 182353"/>
              <a:gd name="connsiteX6" fmla="*/ 30956 w 161952"/>
              <a:gd name="connsiteY6" fmla="*/ 39478 h 182353"/>
              <a:gd name="connsiteX7" fmla="*/ 23813 w 161952"/>
              <a:gd name="connsiteY7" fmla="*/ 70434 h 182353"/>
              <a:gd name="connsiteX8" fmla="*/ 0 w 161952"/>
              <a:gd name="connsiteY8" fmla="*/ 82340 h 182353"/>
              <a:gd name="connsiteX9" fmla="*/ 7144 w 161952"/>
              <a:gd name="connsiteY9" fmla="*/ 134728 h 182353"/>
              <a:gd name="connsiteX0" fmla="*/ 7144 w 161952"/>
              <a:gd name="connsiteY0" fmla="*/ 146009 h 193634"/>
              <a:gd name="connsiteX1" fmla="*/ 92869 w 161952"/>
              <a:gd name="connsiteY1" fmla="*/ 193634 h 193634"/>
              <a:gd name="connsiteX2" fmla="*/ 116681 w 161952"/>
              <a:gd name="connsiteY2" fmla="*/ 119815 h 193634"/>
              <a:gd name="connsiteX3" fmla="*/ 161952 w 161952"/>
              <a:gd name="connsiteY3" fmla="*/ 78748 h 193634"/>
              <a:gd name="connsiteX4" fmla="*/ 104800 w 161952"/>
              <a:gd name="connsiteY4" fmla="*/ 11281 h 193634"/>
              <a:gd name="connsiteX5" fmla="*/ 78591 w 161952"/>
              <a:gd name="connsiteY5" fmla="*/ 0 h 193634"/>
              <a:gd name="connsiteX6" fmla="*/ 30956 w 161952"/>
              <a:gd name="connsiteY6" fmla="*/ 50759 h 193634"/>
              <a:gd name="connsiteX7" fmla="*/ 23813 w 161952"/>
              <a:gd name="connsiteY7" fmla="*/ 81715 h 193634"/>
              <a:gd name="connsiteX8" fmla="*/ 0 w 161952"/>
              <a:gd name="connsiteY8" fmla="*/ 93621 h 193634"/>
              <a:gd name="connsiteX9" fmla="*/ 7144 w 161952"/>
              <a:gd name="connsiteY9" fmla="*/ 146009 h 193634"/>
              <a:gd name="connsiteX0" fmla="*/ 7144 w 161952"/>
              <a:gd name="connsiteY0" fmla="*/ 152818 h 200443"/>
              <a:gd name="connsiteX1" fmla="*/ 92869 w 161952"/>
              <a:gd name="connsiteY1" fmla="*/ 200443 h 200443"/>
              <a:gd name="connsiteX2" fmla="*/ 116681 w 161952"/>
              <a:gd name="connsiteY2" fmla="*/ 126624 h 200443"/>
              <a:gd name="connsiteX3" fmla="*/ 161952 w 161952"/>
              <a:gd name="connsiteY3" fmla="*/ 85557 h 200443"/>
              <a:gd name="connsiteX4" fmla="*/ 104800 w 161952"/>
              <a:gd name="connsiteY4" fmla="*/ 18090 h 200443"/>
              <a:gd name="connsiteX5" fmla="*/ 78591 w 161952"/>
              <a:gd name="connsiteY5" fmla="*/ 6809 h 200443"/>
              <a:gd name="connsiteX6" fmla="*/ 52396 w 161952"/>
              <a:gd name="connsiteY6" fmla="*/ 0 h 200443"/>
              <a:gd name="connsiteX7" fmla="*/ 23813 w 161952"/>
              <a:gd name="connsiteY7" fmla="*/ 88524 h 200443"/>
              <a:gd name="connsiteX8" fmla="*/ 0 w 161952"/>
              <a:gd name="connsiteY8" fmla="*/ 100430 h 200443"/>
              <a:gd name="connsiteX9" fmla="*/ 7144 w 161952"/>
              <a:gd name="connsiteY9" fmla="*/ 152818 h 200443"/>
              <a:gd name="connsiteX0" fmla="*/ 7144 w 161952"/>
              <a:gd name="connsiteY0" fmla="*/ 152818 h 200443"/>
              <a:gd name="connsiteX1" fmla="*/ 92869 w 161952"/>
              <a:gd name="connsiteY1" fmla="*/ 200443 h 200443"/>
              <a:gd name="connsiteX2" fmla="*/ 134548 w 161952"/>
              <a:gd name="connsiteY2" fmla="*/ 139910 h 200443"/>
              <a:gd name="connsiteX3" fmla="*/ 161952 w 161952"/>
              <a:gd name="connsiteY3" fmla="*/ 85557 h 200443"/>
              <a:gd name="connsiteX4" fmla="*/ 104800 w 161952"/>
              <a:gd name="connsiteY4" fmla="*/ 18090 h 200443"/>
              <a:gd name="connsiteX5" fmla="*/ 78591 w 161952"/>
              <a:gd name="connsiteY5" fmla="*/ 6809 h 200443"/>
              <a:gd name="connsiteX6" fmla="*/ 52396 w 161952"/>
              <a:gd name="connsiteY6" fmla="*/ 0 h 200443"/>
              <a:gd name="connsiteX7" fmla="*/ 23813 w 161952"/>
              <a:gd name="connsiteY7" fmla="*/ 88524 h 200443"/>
              <a:gd name="connsiteX8" fmla="*/ 0 w 161952"/>
              <a:gd name="connsiteY8" fmla="*/ 100430 h 200443"/>
              <a:gd name="connsiteX9" fmla="*/ 7144 w 161952"/>
              <a:gd name="connsiteY9" fmla="*/ 152818 h 200443"/>
              <a:gd name="connsiteX0" fmla="*/ 7144 w 161952"/>
              <a:gd name="connsiteY0" fmla="*/ 152818 h 173873"/>
              <a:gd name="connsiteX1" fmla="*/ 103589 w 161952"/>
              <a:gd name="connsiteY1" fmla="*/ 173873 h 173873"/>
              <a:gd name="connsiteX2" fmla="*/ 134548 w 161952"/>
              <a:gd name="connsiteY2" fmla="*/ 139910 h 173873"/>
              <a:gd name="connsiteX3" fmla="*/ 161952 w 161952"/>
              <a:gd name="connsiteY3" fmla="*/ 85557 h 173873"/>
              <a:gd name="connsiteX4" fmla="*/ 104800 w 161952"/>
              <a:gd name="connsiteY4" fmla="*/ 18090 h 173873"/>
              <a:gd name="connsiteX5" fmla="*/ 78591 w 161952"/>
              <a:gd name="connsiteY5" fmla="*/ 6809 h 173873"/>
              <a:gd name="connsiteX6" fmla="*/ 52396 w 161952"/>
              <a:gd name="connsiteY6" fmla="*/ 0 h 173873"/>
              <a:gd name="connsiteX7" fmla="*/ 23813 w 161952"/>
              <a:gd name="connsiteY7" fmla="*/ 88524 h 173873"/>
              <a:gd name="connsiteX8" fmla="*/ 0 w 161952"/>
              <a:gd name="connsiteY8" fmla="*/ 100430 h 173873"/>
              <a:gd name="connsiteX9" fmla="*/ 7144 w 161952"/>
              <a:gd name="connsiteY9" fmla="*/ 152818 h 173873"/>
              <a:gd name="connsiteX0" fmla="*/ 7144 w 161952"/>
              <a:gd name="connsiteY0" fmla="*/ 152818 h 173873"/>
              <a:gd name="connsiteX1" fmla="*/ 103589 w 161952"/>
              <a:gd name="connsiteY1" fmla="*/ 173873 h 173873"/>
              <a:gd name="connsiteX2" fmla="*/ 134548 w 161952"/>
              <a:gd name="connsiteY2" fmla="*/ 139910 h 173873"/>
              <a:gd name="connsiteX3" fmla="*/ 161952 w 161952"/>
              <a:gd name="connsiteY3" fmla="*/ 85557 h 173873"/>
              <a:gd name="connsiteX4" fmla="*/ 104800 w 161952"/>
              <a:gd name="connsiteY4" fmla="*/ 18090 h 173873"/>
              <a:gd name="connsiteX5" fmla="*/ 78591 w 161952"/>
              <a:gd name="connsiteY5" fmla="*/ 6809 h 173873"/>
              <a:gd name="connsiteX6" fmla="*/ 52396 w 161952"/>
              <a:gd name="connsiteY6" fmla="*/ 0 h 173873"/>
              <a:gd name="connsiteX7" fmla="*/ 13093 w 161952"/>
              <a:gd name="connsiteY7" fmla="*/ 57526 h 173873"/>
              <a:gd name="connsiteX8" fmla="*/ 0 w 161952"/>
              <a:gd name="connsiteY8" fmla="*/ 100430 h 173873"/>
              <a:gd name="connsiteX9" fmla="*/ 7144 w 161952"/>
              <a:gd name="connsiteY9" fmla="*/ 152818 h 173873"/>
              <a:gd name="connsiteX0" fmla="*/ 42878 w 161952"/>
              <a:gd name="connsiteY0" fmla="*/ 112963 h 173873"/>
              <a:gd name="connsiteX1" fmla="*/ 103589 w 161952"/>
              <a:gd name="connsiteY1" fmla="*/ 173873 h 173873"/>
              <a:gd name="connsiteX2" fmla="*/ 134548 w 161952"/>
              <a:gd name="connsiteY2" fmla="*/ 139910 h 173873"/>
              <a:gd name="connsiteX3" fmla="*/ 161952 w 161952"/>
              <a:gd name="connsiteY3" fmla="*/ 85557 h 173873"/>
              <a:gd name="connsiteX4" fmla="*/ 104800 w 161952"/>
              <a:gd name="connsiteY4" fmla="*/ 18090 h 173873"/>
              <a:gd name="connsiteX5" fmla="*/ 78591 w 161952"/>
              <a:gd name="connsiteY5" fmla="*/ 6809 h 173873"/>
              <a:gd name="connsiteX6" fmla="*/ 52396 w 161952"/>
              <a:gd name="connsiteY6" fmla="*/ 0 h 173873"/>
              <a:gd name="connsiteX7" fmla="*/ 13093 w 161952"/>
              <a:gd name="connsiteY7" fmla="*/ 57526 h 173873"/>
              <a:gd name="connsiteX8" fmla="*/ 0 w 161952"/>
              <a:gd name="connsiteY8" fmla="*/ 100430 h 173873"/>
              <a:gd name="connsiteX9" fmla="*/ 42878 w 161952"/>
              <a:gd name="connsiteY9" fmla="*/ 112963 h 173873"/>
              <a:gd name="connsiteX0" fmla="*/ 29785 w 148859"/>
              <a:gd name="connsiteY0" fmla="*/ 112963 h 173873"/>
              <a:gd name="connsiteX1" fmla="*/ 90496 w 148859"/>
              <a:gd name="connsiteY1" fmla="*/ 173873 h 173873"/>
              <a:gd name="connsiteX2" fmla="*/ 121455 w 148859"/>
              <a:gd name="connsiteY2" fmla="*/ 139910 h 173873"/>
              <a:gd name="connsiteX3" fmla="*/ 148859 w 148859"/>
              <a:gd name="connsiteY3" fmla="*/ 85557 h 173873"/>
              <a:gd name="connsiteX4" fmla="*/ 91707 w 148859"/>
              <a:gd name="connsiteY4" fmla="*/ 18090 h 173873"/>
              <a:gd name="connsiteX5" fmla="*/ 65498 w 148859"/>
              <a:gd name="connsiteY5" fmla="*/ 6809 h 173873"/>
              <a:gd name="connsiteX6" fmla="*/ 39303 w 148859"/>
              <a:gd name="connsiteY6" fmla="*/ 0 h 173873"/>
              <a:gd name="connsiteX7" fmla="*/ 0 w 148859"/>
              <a:gd name="connsiteY7" fmla="*/ 57526 h 173873"/>
              <a:gd name="connsiteX8" fmla="*/ 4775 w 148859"/>
              <a:gd name="connsiteY8" fmla="*/ 91573 h 173873"/>
              <a:gd name="connsiteX9" fmla="*/ 29785 w 148859"/>
              <a:gd name="connsiteY9" fmla="*/ 112963 h 173873"/>
              <a:gd name="connsiteX0" fmla="*/ 44079 w 148859"/>
              <a:gd name="connsiteY0" fmla="*/ 139533 h 173873"/>
              <a:gd name="connsiteX1" fmla="*/ 90496 w 148859"/>
              <a:gd name="connsiteY1" fmla="*/ 173873 h 173873"/>
              <a:gd name="connsiteX2" fmla="*/ 121455 w 148859"/>
              <a:gd name="connsiteY2" fmla="*/ 139910 h 173873"/>
              <a:gd name="connsiteX3" fmla="*/ 148859 w 148859"/>
              <a:gd name="connsiteY3" fmla="*/ 85557 h 173873"/>
              <a:gd name="connsiteX4" fmla="*/ 91707 w 148859"/>
              <a:gd name="connsiteY4" fmla="*/ 18090 h 173873"/>
              <a:gd name="connsiteX5" fmla="*/ 65498 w 148859"/>
              <a:gd name="connsiteY5" fmla="*/ 6809 h 173873"/>
              <a:gd name="connsiteX6" fmla="*/ 39303 w 148859"/>
              <a:gd name="connsiteY6" fmla="*/ 0 h 173873"/>
              <a:gd name="connsiteX7" fmla="*/ 0 w 148859"/>
              <a:gd name="connsiteY7" fmla="*/ 57526 h 173873"/>
              <a:gd name="connsiteX8" fmla="*/ 4775 w 148859"/>
              <a:gd name="connsiteY8" fmla="*/ 91573 h 173873"/>
              <a:gd name="connsiteX9" fmla="*/ 44079 w 148859"/>
              <a:gd name="connsiteY9" fmla="*/ 139533 h 173873"/>
              <a:gd name="connsiteX0" fmla="*/ 65519 w 148859"/>
              <a:gd name="connsiteY0" fmla="*/ 135104 h 173873"/>
              <a:gd name="connsiteX1" fmla="*/ 90496 w 148859"/>
              <a:gd name="connsiteY1" fmla="*/ 173873 h 173873"/>
              <a:gd name="connsiteX2" fmla="*/ 121455 w 148859"/>
              <a:gd name="connsiteY2" fmla="*/ 139910 h 173873"/>
              <a:gd name="connsiteX3" fmla="*/ 148859 w 148859"/>
              <a:gd name="connsiteY3" fmla="*/ 85557 h 173873"/>
              <a:gd name="connsiteX4" fmla="*/ 91707 w 148859"/>
              <a:gd name="connsiteY4" fmla="*/ 18090 h 173873"/>
              <a:gd name="connsiteX5" fmla="*/ 65498 w 148859"/>
              <a:gd name="connsiteY5" fmla="*/ 6809 h 173873"/>
              <a:gd name="connsiteX6" fmla="*/ 39303 w 148859"/>
              <a:gd name="connsiteY6" fmla="*/ 0 h 173873"/>
              <a:gd name="connsiteX7" fmla="*/ 0 w 148859"/>
              <a:gd name="connsiteY7" fmla="*/ 57526 h 173873"/>
              <a:gd name="connsiteX8" fmla="*/ 4775 w 148859"/>
              <a:gd name="connsiteY8" fmla="*/ 91573 h 173873"/>
              <a:gd name="connsiteX9" fmla="*/ 65519 w 148859"/>
              <a:gd name="connsiteY9" fmla="*/ 135104 h 173873"/>
              <a:gd name="connsiteX0" fmla="*/ 60744 w 144084"/>
              <a:gd name="connsiteY0" fmla="*/ 135104 h 173873"/>
              <a:gd name="connsiteX1" fmla="*/ 85721 w 144084"/>
              <a:gd name="connsiteY1" fmla="*/ 173873 h 173873"/>
              <a:gd name="connsiteX2" fmla="*/ 116680 w 144084"/>
              <a:gd name="connsiteY2" fmla="*/ 139910 h 173873"/>
              <a:gd name="connsiteX3" fmla="*/ 144084 w 144084"/>
              <a:gd name="connsiteY3" fmla="*/ 85557 h 173873"/>
              <a:gd name="connsiteX4" fmla="*/ 86932 w 144084"/>
              <a:gd name="connsiteY4" fmla="*/ 18090 h 173873"/>
              <a:gd name="connsiteX5" fmla="*/ 60723 w 144084"/>
              <a:gd name="connsiteY5" fmla="*/ 6809 h 173873"/>
              <a:gd name="connsiteX6" fmla="*/ 34528 w 144084"/>
              <a:gd name="connsiteY6" fmla="*/ 0 h 173873"/>
              <a:gd name="connsiteX7" fmla="*/ 9519 w 144084"/>
              <a:gd name="connsiteY7" fmla="*/ 35385 h 173873"/>
              <a:gd name="connsiteX8" fmla="*/ 0 w 144084"/>
              <a:gd name="connsiteY8" fmla="*/ 91573 h 173873"/>
              <a:gd name="connsiteX9" fmla="*/ 60744 w 144084"/>
              <a:gd name="connsiteY9" fmla="*/ 135104 h 173873"/>
              <a:gd name="connsiteX0" fmla="*/ 60744 w 144084"/>
              <a:gd name="connsiteY0" fmla="*/ 128295 h 167064"/>
              <a:gd name="connsiteX1" fmla="*/ 85721 w 144084"/>
              <a:gd name="connsiteY1" fmla="*/ 167064 h 167064"/>
              <a:gd name="connsiteX2" fmla="*/ 116680 w 144084"/>
              <a:gd name="connsiteY2" fmla="*/ 133101 h 167064"/>
              <a:gd name="connsiteX3" fmla="*/ 144084 w 144084"/>
              <a:gd name="connsiteY3" fmla="*/ 78748 h 167064"/>
              <a:gd name="connsiteX4" fmla="*/ 86932 w 144084"/>
              <a:gd name="connsiteY4" fmla="*/ 11281 h 167064"/>
              <a:gd name="connsiteX5" fmla="*/ 60723 w 144084"/>
              <a:gd name="connsiteY5" fmla="*/ 0 h 167064"/>
              <a:gd name="connsiteX6" fmla="*/ 41674 w 144084"/>
              <a:gd name="connsiteY6" fmla="*/ 10905 h 167064"/>
              <a:gd name="connsiteX7" fmla="*/ 9519 w 144084"/>
              <a:gd name="connsiteY7" fmla="*/ 28576 h 167064"/>
              <a:gd name="connsiteX8" fmla="*/ 0 w 144084"/>
              <a:gd name="connsiteY8" fmla="*/ 84764 h 167064"/>
              <a:gd name="connsiteX9" fmla="*/ 60744 w 144084"/>
              <a:gd name="connsiteY9" fmla="*/ 128295 h 167064"/>
              <a:gd name="connsiteX0" fmla="*/ 60744 w 144084"/>
              <a:gd name="connsiteY0" fmla="*/ 128295 h 167064"/>
              <a:gd name="connsiteX1" fmla="*/ 85721 w 144084"/>
              <a:gd name="connsiteY1" fmla="*/ 167064 h 167064"/>
              <a:gd name="connsiteX2" fmla="*/ 116680 w 144084"/>
              <a:gd name="connsiteY2" fmla="*/ 133101 h 167064"/>
              <a:gd name="connsiteX3" fmla="*/ 144084 w 144084"/>
              <a:gd name="connsiteY3" fmla="*/ 78748 h 167064"/>
              <a:gd name="connsiteX4" fmla="*/ 97653 w 144084"/>
              <a:gd name="connsiteY4" fmla="*/ 33423 h 167064"/>
              <a:gd name="connsiteX5" fmla="*/ 60723 w 144084"/>
              <a:gd name="connsiteY5" fmla="*/ 0 h 167064"/>
              <a:gd name="connsiteX6" fmla="*/ 41674 w 144084"/>
              <a:gd name="connsiteY6" fmla="*/ 10905 h 167064"/>
              <a:gd name="connsiteX7" fmla="*/ 9519 w 144084"/>
              <a:gd name="connsiteY7" fmla="*/ 28576 h 167064"/>
              <a:gd name="connsiteX8" fmla="*/ 0 w 144084"/>
              <a:gd name="connsiteY8" fmla="*/ 84764 h 167064"/>
              <a:gd name="connsiteX9" fmla="*/ 60744 w 144084"/>
              <a:gd name="connsiteY9" fmla="*/ 128295 h 167064"/>
              <a:gd name="connsiteX0" fmla="*/ 60744 w 144084"/>
              <a:gd name="connsiteY0" fmla="*/ 140694 h 179463"/>
              <a:gd name="connsiteX1" fmla="*/ 85721 w 144084"/>
              <a:gd name="connsiteY1" fmla="*/ 179463 h 179463"/>
              <a:gd name="connsiteX2" fmla="*/ 116680 w 144084"/>
              <a:gd name="connsiteY2" fmla="*/ 145500 h 179463"/>
              <a:gd name="connsiteX3" fmla="*/ 144084 w 144084"/>
              <a:gd name="connsiteY3" fmla="*/ 91147 h 179463"/>
              <a:gd name="connsiteX4" fmla="*/ 97653 w 144084"/>
              <a:gd name="connsiteY4" fmla="*/ 45822 h 179463"/>
              <a:gd name="connsiteX5" fmla="*/ 63225 w 144084"/>
              <a:gd name="connsiteY5" fmla="*/ 0 h 179463"/>
              <a:gd name="connsiteX6" fmla="*/ 41674 w 144084"/>
              <a:gd name="connsiteY6" fmla="*/ 23304 h 179463"/>
              <a:gd name="connsiteX7" fmla="*/ 9519 w 144084"/>
              <a:gd name="connsiteY7" fmla="*/ 40975 h 179463"/>
              <a:gd name="connsiteX8" fmla="*/ 0 w 144084"/>
              <a:gd name="connsiteY8" fmla="*/ 97163 h 179463"/>
              <a:gd name="connsiteX9" fmla="*/ 60744 w 144084"/>
              <a:gd name="connsiteY9" fmla="*/ 140694 h 179463"/>
              <a:gd name="connsiteX0" fmla="*/ 60744 w 144084"/>
              <a:gd name="connsiteY0" fmla="*/ 140694 h 179463"/>
              <a:gd name="connsiteX1" fmla="*/ 85721 w 144084"/>
              <a:gd name="connsiteY1" fmla="*/ 179463 h 179463"/>
              <a:gd name="connsiteX2" fmla="*/ 116680 w 144084"/>
              <a:gd name="connsiteY2" fmla="*/ 145500 h 179463"/>
              <a:gd name="connsiteX3" fmla="*/ 144084 w 144084"/>
              <a:gd name="connsiteY3" fmla="*/ 91147 h 179463"/>
              <a:gd name="connsiteX4" fmla="*/ 97653 w 144084"/>
              <a:gd name="connsiteY4" fmla="*/ 45822 h 179463"/>
              <a:gd name="connsiteX5" fmla="*/ 63225 w 144084"/>
              <a:gd name="connsiteY5" fmla="*/ 0 h 179463"/>
              <a:gd name="connsiteX6" fmla="*/ 34170 w 144084"/>
              <a:gd name="connsiteY6" fmla="*/ 7805 h 179463"/>
              <a:gd name="connsiteX7" fmla="*/ 9519 w 144084"/>
              <a:gd name="connsiteY7" fmla="*/ 40975 h 179463"/>
              <a:gd name="connsiteX8" fmla="*/ 0 w 144084"/>
              <a:gd name="connsiteY8" fmla="*/ 97163 h 179463"/>
              <a:gd name="connsiteX9" fmla="*/ 60744 w 144084"/>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07659 w 154090"/>
              <a:gd name="connsiteY4" fmla="*/ 45822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85663"/>
              <a:gd name="connsiteX1" fmla="*/ 108234 w 154090"/>
              <a:gd name="connsiteY1" fmla="*/ 185663 h 185663"/>
              <a:gd name="connsiteX2" fmla="*/ 126686 w 154090"/>
              <a:gd name="connsiteY2" fmla="*/ 145500 h 185663"/>
              <a:gd name="connsiteX3" fmla="*/ 154090 w 154090"/>
              <a:gd name="connsiteY3" fmla="*/ 91147 h 185663"/>
              <a:gd name="connsiteX4" fmla="*/ 125169 w 154090"/>
              <a:gd name="connsiteY4" fmla="*/ 52021 h 185663"/>
              <a:gd name="connsiteX5" fmla="*/ 73231 w 154090"/>
              <a:gd name="connsiteY5" fmla="*/ 0 h 185663"/>
              <a:gd name="connsiteX6" fmla="*/ 44176 w 154090"/>
              <a:gd name="connsiteY6" fmla="*/ 7805 h 185663"/>
              <a:gd name="connsiteX7" fmla="*/ 19525 w 154090"/>
              <a:gd name="connsiteY7" fmla="*/ 40975 h 185663"/>
              <a:gd name="connsiteX8" fmla="*/ 0 w 154090"/>
              <a:gd name="connsiteY8" fmla="*/ 69265 h 185663"/>
              <a:gd name="connsiteX9" fmla="*/ 70750 w 154090"/>
              <a:gd name="connsiteY9" fmla="*/ 140694 h 185663"/>
              <a:gd name="connsiteX0" fmla="*/ 60744 w 144084"/>
              <a:gd name="connsiteY0" fmla="*/ 140694 h 185663"/>
              <a:gd name="connsiteX1" fmla="*/ 98228 w 144084"/>
              <a:gd name="connsiteY1" fmla="*/ 185663 h 185663"/>
              <a:gd name="connsiteX2" fmla="*/ 116680 w 144084"/>
              <a:gd name="connsiteY2" fmla="*/ 145500 h 185663"/>
              <a:gd name="connsiteX3" fmla="*/ 144084 w 144084"/>
              <a:gd name="connsiteY3" fmla="*/ 91147 h 185663"/>
              <a:gd name="connsiteX4" fmla="*/ 115163 w 144084"/>
              <a:gd name="connsiteY4" fmla="*/ 52021 h 185663"/>
              <a:gd name="connsiteX5" fmla="*/ 63225 w 144084"/>
              <a:gd name="connsiteY5" fmla="*/ 0 h 185663"/>
              <a:gd name="connsiteX6" fmla="*/ 34170 w 144084"/>
              <a:gd name="connsiteY6" fmla="*/ 7805 h 185663"/>
              <a:gd name="connsiteX7" fmla="*/ 9519 w 144084"/>
              <a:gd name="connsiteY7" fmla="*/ 40975 h 185663"/>
              <a:gd name="connsiteX8" fmla="*/ 0 w 144084"/>
              <a:gd name="connsiteY8" fmla="*/ 90963 h 185663"/>
              <a:gd name="connsiteX9" fmla="*/ 60744 w 144084"/>
              <a:gd name="connsiteY9" fmla="*/ 140694 h 185663"/>
              <a:gd name="connsiteX0" fmla="*/ 60744 w 144084"/>
              <a:gd name="connsiteY0" fmla="*/ 140694 h 185663"/>
              <a:gd name="connsiteX1" fmla="*/ 98228 w 144084"/>
              <a:gd name="connsiteY1" fmla="*/ 185663 h 185663"/>
              <a:gd name="connsiteX2" fmla="*/ 109176 w 144084"/>
              <a:gd name="connsiteY2" fmla="*/ 126901 h 185663"/>
              <a:gd name="connsiteX3" fmla="*/ 144084 w 144084"/>
              <a:gd name="connsiteY3" fmla="*/ 91147 h 185663"/>
              <a:gd name="connsiteX4" fmla="*/ 115163 w 144084"/>
              <a:gd name="connsiteY4" fmla="*/ 52021 h 185663"/>
              <a:gd name="connsiteX5" fmla="*/ 63225 w 144084"/>
              <a:gd name="connsiteY5" fmla="*/ 0 h 185663"/>
              <a:gd name="connsiteX6" fmla="*/ 34170 w 144084"/>
              <a:gd name="connsiteY6" fmla="*/ 7805 h 185663"/>
              <a:gd name="connsiteX7" fmla="*/ 9519 w 144084"/>
              <a:gd name="connsiteY7" fmla="*/ 40975 h 185663"/>
              <a:gd name="connsiteX8" fmla="*/ 0 w 144084"/>
              <a:gd name="connsiteY8" fmla="*/ 90963 h 185663"/>
              <a:gd name="connsiteX9" fmla="*/ 60744 w 144084"/>
              <a:gd name="connsiteY9" fmla="*/ 140694 h 185663"/>
              <a:gd name="connsiteX0" fmla="*/ 60744 w 144084"/>
              <a:gd name="connsiteY0" fmla="*/ 140694 h 185663"/>
              <a:gd name="connsiteX1" fmla="*/ 98228 w 144084"/>
              <a:gd name="connsiteY1" fmla="*/ 185663 h 185663"/>
              <a:gd name="connsiteX2" fmla="*/ 109176 w 144084"/>
              <a:gd name="connsiteY2" fmla="*/ 126901 h 185663"/>
              <a:gd name="connsiteX3" fmla="*/ 144084 w 144084"/>
              <a:gd name="connsiteY3" fmla="*/ 112846 h 185663"/>
              <a:gd name="connsiteX4" fmla="*/ 115163 w 144084"/>
              <a:gd name="connsiteY4" fmla="*/ 52021 h 185663"/>
              <a:gd name="connsiteX5" fmla="*/ 63225 w 144084"/>
              <a:gd name="connsiteY5" fmla="*/ 0 h 185663"/>
              <a:gd name="connsiteX6" fmla="*/ 34170 w 144084"/>
              <a:gd name="connsiteY6" fmla="*/ 7805 h 185663"/>
              <a:gd name="connsiteX7" fmla="*/ 9519 w 144084"/>
              <a:gd name="connsiteY7" fmla="*/ 40975 h 185663"/>
              <a:gd name="connsiteX8" fmla="*/ 0 w 144084"/>
              <a:gd name="connsiteY8" fmla="*/ 90963 h 185663"/>
              <a:gd name="connsiteX9" fmla="*/ 60744 w 144084"/>
              <a:gd name="connsiteY9" fmla="*/ 140694 h 185663"/>
              <a:gd name="connsiteX0" fmla="*/ 60744 w 159092"/>
              <a:gd name="connsiteY0" fmla="*/ 140694 h 185663"/>
              <a:gd name="connsiteX1" fmla="*/ 98228 w 159092"/>
              <a:gd name="connsiteY1" fmla="*/ 185663 h 185663"/>
              <a:gd name="connsiteX2" fmla="*/ 109176 w 159092"/>
              <a:gd name="connsiteY2" fmla="*/ 126901 h 185663"/>
              <a:gd name="connsiteX3" fmla="*/ 159092 w 159092"/>
              <a:gd name="connsiteY3" fmla="*/ 100447 h 185663"/>
              <a:gd name="connsiteX4" fmla="*/ 115163 w 159092"/>
              <a:gd name="connsiteY4" fmla="*/ 52021 h 185663"/>
              <a:gd name="connsiteX5" fmla="*/ 63225 w 159092"/>
              <a:gd name="connsiteY5" fmla="*/ 0 h 185663"/>
              <a:gd name="connsiteX6" fmla="*/ 34170 w 159092"/>
              <a:gd name="connsiteY6" fmla="*/ 7805 h 185663"/>
              <a:gd name="connsiteX7" fmla="*/ 9519 w 159092"/>
              <a:gd name="connsiteY7" fmla="*/ 40975 h 185663"/>
              <a:gd name="connsiteX8" fmla="*/ 0 w 159092"/>
              <a:gd name="connsiteY8" fmla="*/ 90963 h 185663"/>
              <a:gd name="connsiteX9" fmla="*/ 60744 w 159092"/>
              <a:gd name="connsiteY9" fmla="*/ 140694 h 185663"/>
              <a:gd name="connsiteX0" fmla="*/ 60744 w 141582"/>
              <a:gd name="connsiteY0" fmla="*/ 140694 h 185663"/>
              <a:gd name="connsiteX1" fmla="*/ 98228 w 141582"/>
              <a:gd name="connsiteY1" fmla="*/ 185663 h 185663"/>
              <a:gd name="connsiteX2" fmla="*/ 109176 w 141582"/>
              <a:gd name="connsiteY2" fmla="*/ 126901 h 185663"/>
              <a:gd name="connsiteX3" fmla="*/ 141582 w 141582"/>
              <a:gd name="connsiteY3" fmla="*/ 109746 h 185663"/>
              <a:gd name="connsiteX4" fmla="*/ 115163 w 141582"/>
              <a:gd name="connsiteY4" fmla="*/ 52021 h 185663"/>
              <a:gd name="connsiteX5" fmla="*/ 63225 w 141582"/>
              <a:gd name="connsiteY5" fmla="*/ 0 h 185663"/>
              <a:gd name="connsiteX6" fmla="*/ 34170 w 141582"/>
              <a:gd name="connsiteY6" fmla="*/ 7805 h 185663"/>
              <a:gd name="connsiteX7" fmla="*/ 9519 w 141582"/>
              <a:gd name="connsiteY7" fmla="*/ 40975 h 185663"/>
              <a:gd name="connsiteX8" fmla="*/ 0 w 141582"/>
              <a:gd name="connsiteY8" fmla="*/ 90963 h 185663"/>
              <a:gd name="connsiteX9" fmla="*/ 60744 w 141582"/>
              <a:gd name="connsiteY9" fmla="*/ 140694 h 185663"/>
              <a:gd name="connsiteX0" fmla="*/ 66233 w 147071"/>
              <a:gd name="connsiteY0" fmla="*/ 140694 h 185663"/>
              <a:gd name="connsiteX1" fmla="*/ 103717 w 147071"/>
              <a:gd name="connsiteY1" fmla="*/ 185663 h 185663"/>
              <a:gd name="connsiteX2" fmla="*/ 114665 w 147071"/>
              <a:gd name="connsiteY2" fmla="*/ 126901 h 185663"/>
              <a:gd name="connsiteX3" fmla="*/ 147071 w 147071"/>
              <a:gd name="connsiteY3" fmla="*/ 109746 h 185663"/>
              <a:gd name="connsiteX4" fmla="*/ 120652 w 147071"/>
              <a:gd name="connsiteY4" fmla="*/ 52021 h 185663"/>
              <a:gd name="connsiteX5" fmla="*/ 68714 w 147071"/>
              <a:gd name="connsiteY5" fmla="*/ 0 h 185663"/>
              <a:gd name="connsiteX6" fmla="*/ 39659 w 147071"/>
              <a:gd name="connsiteY6" fmla="*/ 7805 h 185663"/>
              <a:gd name="connsiteX7" fmla="*/ 0 w 147071"/>
              <a:gd name="connsiteY7" fmla="*/ 59574 h 185663"/>
              <a:gd name="connsiteX8" fmla="*/ 5489 w 147071"/>
              <a:gd name="connsiteY8" fmla="*/ 90963 h 185663"/>
              <a:gd name="connsiteX9" fmla="*/ 66233 w 147071"/>
              <a:gd name="connsiteY9" fmla="*/ 140694 h 185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071" h="185663">
                <a:moveTo>
                  <a:pt x="66233" y="140694"/>
                </a:moveTo>
                <a:lnTo>
                  <a:pt x="103717" y="185663"/>
                </a:lnTo>
                <a:lnTo>
                  <a:pt x="114665" y="126901"/>
                </a:lnTo>
                <a:lnTo>
                  <a:pt x="147071" y="109746"/>
                </a:lnTo>
                <a:cubicBezTo>
                  <a:pt x="137431" y="96704"/>
                  <a:pt x="130292" y="71263"/>
                  <a:pt x="120652" y="52021"/>
                </a:cubicBezTo>
                <a:cubicBezTo>
                  <a:pt x="95835" y="34681"/>
                  <a:pt x="86027" y="17340"/>
                  <a:pt x="68714" y="0"/>
                </a:cubicBezTo>
                <a:lnTo>
                  <a:pt x="39659" y="7805"/>
                </a:lnTo>
                <a:lnTo>
                  <a:pt x="0" y="59574"/>
                </a:lnTo>
                <a:lnTo>
                  <a:pt x="5489" y="90963"/>
                </a:lnTo>
                <a:lnTo>
                  <a:pt x="66233" y="140694"/>
                </a:lnTo>
                <a:close/>
              </a:path>
            </a:pathLst>
          </a:custGeom>
          <a:solidFill>
            <a:srgbClr val="FAFAFA"/>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eaLnBrk="0" fontAlgn="auto" hangingPunct="0">
              <a:spcBef>
                <a:spcPts val="0"/>
              </a:spcBef>
              <a:spcAft>
                <a:spcPts val="0"/>
              </a:spcAft>
              <a:defRPr/>
            </a:pPr>
            <a:endParaRPr lang="en-IE" sz="2400" b="1" dirty="0">
              <a:solidFill>
                <a:srgbClr val="000000"/>
              </a:solidFill>
            </a:endParaRPr>
          </a:p>
        </p:txBody>
      </p:sp>
      <p:sp>
        <p:nvSpPr>
          <p:cNvPr id="46" name="SP"/>
          <p:cNvSpPr>
            <a:spLocks/>
          </p:cNvSpPr>
          <p:nvPr/>
        </p:nvSpPr>
        <p:spPr bwMode="auto">
          <a:xfrm rot="515399">
            <a:off x="4479925" y="2357438"/>
            <a:ext cx="427038" cy="566737"/>
          </a:xfrm>
          <a:custGeom>
            <a:avLst/>
            <a:gdLst>
              <a:gd name="T0" fmla="*/ 2147483647 w 104"/>
              <a:gd name="T1" fmla="*/ 2147483647 h 159"/>
              <a:gd name="T2" fmla="*/ 2147483647 w 104"/>
              <a:gd name="T3" fmla="*/ 2147483647 h 159"/>
              <a:gd name="T4" fmla="*/ 2147483647 w 104"/>
              <a:gd name="T5" fmla="*/ 2147483647 h 159"/>
              <a:gd name="T6" fmla="*/ 2147483647 w 104"/>
              <a:gd name="T7" fmla="*/ 2147483647 h 159"/>
              <a:gd name="T8" fmla="*/ 2147483647 w 104"/>
              <a:gd name="T9" fmla="*/ 2147483647 h 159"/>
              <a:gd name="T10" fmla="*/ 2147483647 w 104"/>
              <a:gd name="T11" fmla="*/ 2147483647 h 159"/>
              <a:gd name="T12" fmla="*/ 2147483647 w 104"/>
              <a:gd name="T13" fmla="*/ 2147483647 h 159"/>
              <a:gd name="T14" fmla="*/ 2147483647 w 104"/>
              <a:gd name="T15" fmla="*/ 2147483647 h 159"/>
              <a:gd name="T16" fmla="*/ 2147483647 w 104"/>
              <a:gd name="T17" fmla="*/ 2147483647 h 159"/>
              <a:gd name="T18" fmla="*/ 2147483647 w 104"/>
              <a:gd name="T19" fmla="*/ 2147483647 h 159"/>
              <a:gd name="T20" fmla="*/ 2147483647 w 104"/>
              <a:gd name="T21" fmla="*/ 2147483647 h 159"/>
              <a:gd name="T22" fmla="*/ 2147483647 w 104"/>
              <a:gd name="T23" fmla="*/ 2147483647 h 159"/>
              <a:gd name="T24" fmla="*/ 2147483647 w 104"/>
              <a:gd name="T25" fmla="*/ 2147483647 h 159"/>
              <a:gd name="T26" fmla="*/ 2147483647 w 104"/>
              <a:gd name="T27" fmla="*/ 2147483647 h 159"/>
              <a:gd name="T28" fmla="*/ 2147483647 w 104"/>
              <a:gd name="T29" fmla="*/ 2147483647 h 159"/>
              <a:gd name="T30" fmla="*/ 2147483647 w 104"/>
              <a:gd name="T31" fmla="*/ 2147483647 h 159"/>
              <a:gd name="T32" fmla="*/ 2147483647 w 104"/>
              <a:gd name="T33" fmla="*/ 2147483647 h 159"/>
              <a:gd name="T34" fmla="*/ 0 w 104"/>
              <a:gd name="T35" fmla="*/ 2147483647 h 159"/>
              <a:gd name="T36" fmla="*/ 2147483647 w 104"/>
              <a:gd name="T37" fmla="*/ 2147483647 h 159"/>
              <a:gd name="T38" fmla="*/ 2147483647 w 104"/>
              <a:gd name="T39" fmla="*/ 2147483647 h 159"/>
              <a:gd name="T40" fmla="*/ 0 w 104"/>
              <a:gd name="T41" fmla="*/ 2147483647 h 159"/>
              <a:gd name="T42" fmla="*/ 2147483647 w 104"/>
              <a:gd name="T43" fmla="*/ 2147483647 h 159"/>
              <a:gd name="T44" fmla="*/ 2147483647 w 104"/>
              <a:gd name="T45" fmla="*/ 2147483647 h 159"/>
              <a:gd name="T46" fmla="*/ 2147483647 w 104"/>
              <a:gd name="T47" fmla="*/ 2147483647 h 159"/>
              <a:gd name="T48" fmla="*/ 2147483647 w 104"/>
              <a:gd name="T49" fmla="*/ 2147483647 h 159"/>
              <a:gd name="T50" fmla="*/ 2147483647 w 104"/>
              <a:gd name="T51" fmla="*/ 2147483647 h 159"/>
              <a:gd name="T52" fmla="*/ 2147483647 w 104"/>
              <a:gd name="T53" fmla="*/ 2147483647 h 159"/>
              <a:gd name="T54" fmla="*/ 2147483647 w 104"/>
              <a:gd name="T55" fmla="*/ 2147483647 h 159"/>
              <a:gd name="T56" fmla="*/ 2147483647 w 104"/>
              <a:gd name="T57" fmla="*/ 2147483647 h 159"/>
              <a:gd name="T58" fmla="*/ 2147483647 w 104"/>
              <a:gd name="T59" fmla="*/ 0 h 159"/>
              <a:gd name="T60" fmla="*/ 2147483647 w 104"/>
              <a:gd name="T61" fmla="*/ 0 h 159"/>
              <a:gd name="T62" fmla="*/ 2147483647 w 104"/>
              <a:gd name="T63" fmla="*/ 2147483647 h 159"/>
              <a:gd name="T64" fmla="*/ 2147483647 w 104"/>
              <a:gd name="T65" fmla="*/ 2147483647 h 159"/>
              <a:gd name="T66" fmla="*/ 2147483647 w 104"/>
              <a:gd name="T67" fmla="*/ 2147483647 h 159"/>
              <a:gd name="T68" fmla="*/ 2147483647 w 104"/>
              <a:gd name="T69" fmla="*/ 2147483647 h 159"/>
              <a:gd name="T70" fmla="*/ 2147483647 w 104"/>
              <a:gd name="T71" fmla="*/ 2147483647 h 159"/>
              <a:gd name="T72" fmla="*/ 2147483647 w 104"/>
              <a:gd name="T73" fmla="*/ 2147483647 h 159"/>
              <a:gd name="T74" fmla="*/ 2147483647 w 104"/>
              <a:gd name="T75" fmla="*/ 2147483647 h 159"/>
              <a:gd name="T76" fmla="*/ 2147483647 w 104"/>
              <a:gd name="T77" fmla="*/ 2147483647 h 159"/>
              <a:gd name="T78" fmla="*/ 2147483647 w 104"/>
              <a:gd name="T79" fmla="*/ 2147483647 h 159"/>
              <a:gd name="T80" fmla="*/ 2147483647 w 104"/>
              <a:gd name="T81" fmla="*/ 2147483647 h 159"/>
              <a:gd name="T82" fmla="*/ 2147483647 w 104"/>
              <a:gd name="T83" fmla="*/ 2147483647 h 159"/>
              <a:gd name="T84" fmla="*/ 2147483647 w 104"/>
              <a:gd name="T85" fmla="*/ 2147483647 h 159"/>
              <a:gd name="T86" fmla="*/ 2147483647 w 104"/>
              <a:gd name="T87" fmla="*/ 2147483647 h 159"/>
              <a:gd name="T88" fmla="*/ 2147483647 w 104"/>
              <a:gd name="T89" fmla="*/ 2147483647 h 159"/>
              <a:gd name="T90" fmla="*/ 2147483647 w 104"/>
              <a:gd name="T91" fmla="*/ 2147483647 h 159"/>
              <a:gd name="T92" fmla="*/ 2147483647 w 104"/>
              <a:gd name="T93" fmla="*/ 2147483647 h 15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4"/>
              <a:gd name="T142" fmla="*/ 0 h 159"/>
              <a:gd name="T143" fmla="*/ 104 w 104"/>
              <a:gd name="T144" fmla="*/ 159 h 159"/>
              <a:gd name="connsiteX0" fmla="*/ 7885 w 10000"/>
              <a:gd name="connsiteY0" fmla="*/ 7610 h 10000"/>
              <a:gd name="connsiteX1" fmla="*/ 4712 w 10000"/>
              <a:gd name="connsiteY1" fmla="*/ 9686 h 10000"/>
              <a:gd name="connsiteX2" fmla="*/ 2500 w 10000"/>
              <a:gd name="connsiteY2" fmla="*/ 9686 h 10000"/>
              <a:gd name="connsiteX3" fmla="*/ 1923 w 10000"/>
              <a:gd name="connsiteY3" fmla="*/ 9434 h 10000"/>
              <a:gd name="connsiteX4" fmla="*/ 1635 w 10000"/>
              <a:gd name="connsiteY4" fmla="*/ 10000 h 10000"/>
              <a:gd name="connsiteX5" fmla="*/ 769 w 10000"/>
              <a:gd name="connsiteY5" fmla="*/ 9497 h 10000"/>
              <a:gd name="connsiteX6" fmla="*/ 769 w 10000"/>
              <a:gd name="connsiteY6" fmla="*/ 8931 h 10000"/>
              <a:gd name="connsiteX7" fmla="*/ 2212 w 10000"/>
              <a:gd name="connsiteY7" fmla="*/ 8050 h 10000"/>
              <a:gd name="connsiteX8" fmla="*/ 1635 w 10000"/>
              <a:gd name="connsiteY8" fmla="*/ 7547 h 10000"/>
              <a:gd name="connsiteX9" fmla="*/ 2212 w 10000"/>
              <a:gd name="connsiteY9" fmla="*/ 7107 h 10000"/>
              <a:gd name="connsiteX10" fmla="*/ 3173 w 10000"/>
              <a:gd name="connsiteY10" fmla="*/ 7170 h 10000"/>
              <a:gd name="connsiteX11" fmla="*/ 2981 w 10000"/>
              <a:gd name="connsiteY11" fmla="*/ 6667 h 10000"/>
              <a:gd name="connsiteX12" fmla="*/ 2212 w 10000"/>
              <a:gd name="connsiteY12" fmla="*/ 6667 h 10000"/>
              <a:gd name="connsiteX13" fmla="*/ 2212 w 10000"/>
              <a:gd name="connsiteY13" fmla="*/ 6289 h 10000"/>
              <a:gd name="connsiteX14" fmla="*/ 1538 w 10000"/>
              <a:gd name="connsiteY14" fmla="*/ 6226 h 10000"/>
              <a:gd name="connsiteX15" fmla="*/ 1154 w 10000"/>
              <a:gd name="connsiteY15" fmla="*/ 6604 h 10000"/>
              <a:gd name="connsiteX16" fmla="*/ 577 w 10000"/>
              <a:gd name="connsiteY16" fmla="*/ 6352 h 10000"/>
              <a:gd name="connsiteX17" fmla="*/ 0 w 10000"/>
              <a:gd name="connsiteY17" fmla="*/ 6352 h 10000"/>
              <a:gd name="connsiteX18" fmla="*/ 1462 w 10000"/>
              <a:gd name="connsiteY18" fmla="*/ 5188 h 10000"/>
              <a:gd name="connsiteX19" fmla="*/ 2212 w 10000"/>
              <a:gd name="connsiteY19" fmla="*/ 4277 h 10000"/>
              <a:gd name="connsiteX20" fmla="*/ 0 w 10000"/>
              <a:gd name="connsiteY20" fmla="*/ 4969 h 10000"/>
              <a:gd name="connsiteX21" fmla="*/ 865 w 10000"/>
              <a:gd name="connsiteY21" fmla="*/ 4214 h 10000"/>
              <a:gd name="connsiteX22" fmla="*/ 865 w 10000"/>
              <a:gd name="connsiteY22" fmla="*/ 3648 h 10000"/>
              <a:gd name="connsiteX23" fmla="*/ 1731 w 10000"/>
              <a:gd name="connsiteY23" fmla="*/ 3711 h 10000"/>
              <a:gd name="connsiteX24" fmla="*/ 1635 w 10000"/>
              <a:gd name="connsiteY24" fmla="*/ 2767 h 10000"/>
              <a:gd name="connsiteX25" fmla="*/ 962 w 10000"/>
              <a:gd name="connsiteY25" fmla="*/ 2579 h 10000"/>
              <a:gd name="connsiteX26" fmla="*/ 2019 w 10000"/>
              <a:gd name="connsiteY26" fmla="*/ 1761 h 10000"/>
              <a:gd name="connsiteX27" fmla="*/ 3269 w 10000"/>
              <a:gd name="connsiteY27" fmla="*/ 1824 h 10000"/>
              <a:gd name="connsiteX28" fmla="*/ 3269 w 10000"/>
              <a:gd name="connsiteY28" fmla="*/ 881 h 10000"/>
              <a:gd name="connsiteX29" fmla="*/ 3750 w 10000"/>
              <a:gd name="connsiteY29" fmla="*/ 0 h 10000"/>
              <a:gd name="connsiteX30" fmla="*/ 4327 w 10000"/>
              <a:gd name="connsiteY30" fmla="*/ 0 h 10000"/>
              <a:gd name="connsiteX31" fmla="*/ 4327 w 10000"/>
              <a:gd name="connsiteY31" fmla="*/ 440 h 10000"/>
              <a:gd name="connsiteX32" fmla="*/ 7692 w 10000"/>
              <a:gd name="connsiteY32" fmla="*/ 440 h 10000"/>
              <a:gd name="connsiteX33" fmla="*/ 4519 w 10000"/>
              <a:gd name="connsiteY33" fmla="*/ 2579 h 10000"/>
              <a:gd name="connsiteX34" fmla="*/ 5096 w 10000"/>
              <a:gd name="connsiteY34" fmla="*/ 2830 h 10000"/>
              <a:gd name="connsiteX35" fmla="*/ 10000 w 10000"/>
              <a:gd name="connsiteY35" fmla="*/ 2830 h 10000"/>
              <a:gd name="connsiteX36" fmla="*/ 7788 w 10000"/>
              <a:gd name="connsiteY36" fmla="*/ 5786 h 10000"/>
              <a:gd name="connsiteX37" fmla="*/ 5385 w 10000"/>
              <a:gd name="connsiteY37" fmla="*/ 5723 h 10000"/>
              <a:gd name="connsiteX38" fmla="*/ 5385 w 10000"/>
              <a:gd name="connsiteY38" fmla="*/ 6164 h 10000"/>
              <a:gd name="connsiteX39" fmla="*/ 6731 w 10000"/>
              <a:gd name="connsiteY39" fmla="*/ 6164 h 10000"/>
              <a:gd name="connsiteX40" fmla="*/ 7212 w 10000"/>
              <a:gd name="connsiteY40" fmla="*/ 6478 h 10000"/>
              <a:gd name="connsiteX41" fmla="*/ 4712 w 10000"/>
              <a:gd name="connsiteY41" fmla="*/ 6604 h 10000"/>
              <a:gd name="connsiteX42" fmla="*/ 4135 w 10000"/>
              <a:gd name="connsiteY42" fmla="*/ 6289 h 10000"/>
              <a:gd name="connsiteX43" fmla="*/ 4135 w 10000"/>
              <a:gd name="connsiteY43" fmla="*/ 6855 h 10000"/>
              <a:gd name="connsiteX44" fmla="*/ 4712 w 10000"/>
              <a:gd name="connsiteY44" fmla="*/ 7233 h 10000"/>
              <a:gd name="connsiteX45" fmla="*/ 7212 w 10000"/>
              <a:gd name="connsiteY45" fmla="*/ 7233 h 10000"/>
              <a:gd name="connsiteX46" fmla="*/ 7885 w 10000"/>
              <a:gd name="connsiteY46" fmla="*/ 7610 h 10000"/>
              <a:gd name="connsiteX0" fmla="*/ 7885 w 10000"/>
              <a:gd name="connsiteY0" fmla="*/ 7610 h 10000"/>
              <a:gd name="connsiteX1" fmla="*/ 4712 w 10000"/>
              <a:gd name="connsiteY1" fmla="*/ 9686 h 10000"/>
              <a:gd name="connsiteX2" fmla="*/ 2500 w 10000"/>
              <a:gd name="connsiteY2" fmla="*/ 9686 h 10000"/>
              <a:gd name="connsiteX3" fmla="*/ 1923 w 10000"/>
              <a:gd name="connsiteY3" fmla="*/ 9434 h 10000"/>
              <a:gd name="connsiteX4" fmla="*/ 1635 w 10000"/>
              <a:gd name="connsiteY4" fmla="*/ 10000 h 10000"/>
              <a:gd name="connsiteX5" fmla="*/ 769 w 10000"/>
              <a:gd name="connsiteY5" fmla="*/ 9497 h 10000"/>
              <a:gd name="connsiteX6" fmla="*/ 769 w 10000"/>
              <a:gd name="connsiteY6" fmla="*/ 8931 h 10000"/>
              <a:gd name="connsiteX7" fmla="*/ 2212 w 10000"/>
              <a:gd name="connsiteY7" fmla="*/ 8050 h 10000"/>
              <a:gd name="connsiteX8" fmla="*/ 1635 w 10000"/>
              <a:gd name="connsiteY8" fmla="*/ 7547 h 10000"/>
              <a:gd name="connsiteX9" fmla="*/ 2212 w 10000"/>
              <a:gd name="connsiteY9" fmla="*/ 7107 h 10000"/>
              <a:gd name="connsiteX10" fmla="*/ 3173 w 10000"/>
              <a:gd name="connsiteY10" fmla="*/ 7170 h 10000"/>
              <a:gd name="connsiteX11" fmla="*/ 2981 w 10000"/>
              <a:gd name="connsiteY11" fmla="*/ 6667 h 10000"/>
              <a:gd name="connsiteX12" fmla="*/ 2212 w 10000"/>
              <a:gd name="connsiteY12" fmla="*/ 6667 h 10000"/>
              <a:gd name="connsiteX13" fmla="*/ 2212 w 10000"/>
              <a:gd name="connsiteY13" fmla="*/ 6289 h 10000"/>
              <a:gd name="connsiteX14" fmla="*/ 1538 w 10000"/>
              <a:gd name="connsiteY14" fmla="*/ 6226 h 10000"/>
              <a:gd name="connsiteX15" fmla="*/ 1154 w 10000"/>
              <a:gd name="connsiteY15" fmla="*/ 6604 h 10000"/>
              <a:gd name="connsiteX16" fmla="*/ 577 w 10000"/>
              <a:gd name="connsiteY16" fmla="*/ 6352 h 10000"/>
              <a:gd name="connsiteX17" fmla="*/ 0 w 10000"/>
              <a:gd name="connsiteY17" fmla="*/ 6352 h 10000"/>
              <a:gd name="connsiteX18" fmla="*/ 1462 w 10000"/>
              <a:gd name="connsiteY18" fmla="*/ 5188 h 10000"/>
              <a:gd name="connsiteX19" fmla="*/ 1090 w 10000"/>
              <a:gd name="connsiteY19" fmla="*/ 5121 h 10000"/>
              <a:gd name="connsiteX20" fmla="*/ 2212 w 10000"/>
              <a:gd name="connsiteY20" fmla="*/ 4277 h 10000"/>
              <a:gd name="connsiteX21" fmla="*/ 0 w 10000"/>
              <a:gd name="connsiteY21" fmla="*/ 4969 h 10000"/>
              <a:gd name="connsiteX22" fmla="*/ 865 w 10000"/>
              <a:gd name="connsiteY22" fmla="*/ 4214 h 10000"/>
              <a:gd name="connsiteX23" fmla="*/ 865 w 10000"/>
              <a:gd name="connsiteY23" fmla="*/ 3648 h 10000"/>
              <a:gd name="connsiteX24" fmla="*/ 1731 w 10000"/>
              <a:gd name="connsiteY24" fmla="*/ 3711 h 10000"/>
              <a:gd name="connsiteX25" fmla="*/ 1635 w 10000"/>
              <a:gd name="connsiteY25" fmla="*/ 2767 h 10000"/>
              <a:gd name="connsiteX26" fmla="*/ 962 w 10000"/>
              <a:gd name="connsiteY26" fmla="*/ 2579 h 10000"/>
              <a:gd name="connsiteX27" fmla="*/ 2019 w 10000"/>
              <a:gd name="connsiteY27" fmla="*/ 1761 h 10000"/>
              <a:gd name="connsiteX28" fmla="*/ 3269 w 10000"/>
              <a:gd name="connsiteY28" fmla="*/ 1824 h 10000"/>
              <a:gd name="connsiteX29" fmla="*/ 3269 w 10000"/>
              <a:gd name="connsiteY29" fmla="*/ 881 h 10000"/>
              <a:gd name="connsiteX30" fmla="*/ 3750 w 10000"/>
              <a:gd name="connsiteY30" fmla="*/ 0 h 10000"/>
              <a:gd name="connsiteX31" fmla="*/ 4327 w 10000"/>
              <a:gd name="connsiteY31" fmla="*/ 0 h 10000"/>
              <a:gd name="connsiteX32" fmla="*/ 4327 w 10000"/>
              <a:gd name="connsiteY32" fmla="*/ 440 h 10000"/>
              <a:gd name="connsiteX33" fmla="*/ 7692 w 10000"/>
              <a:gd name="connsiteY33" fmla="*/ 440 h 10000"/>
              <a:gd name="connsiteX34" fmla="*/ 4519 w 10000"/>
              <a:gd name="connsiteY34" fmla="*/ 2579 h 10000"/>
              <a:gd name="connsiteX35" fmla="*/ 5096 w 10000"/>
              <a:gd name="connsiteY35" fmla="*/ 2830 h 10000"/>
              <a:gd name="connsiteX36" fmla="*/ 10000 w 10000"/>
              <a:gd name="connsiteY36" fmla="*/ 2830 h 10000"/>
              <a:gd name="connsiteX37" fmla="*/ 7788 w 10000"/>
              <a:gd name="connsiteY37" fmla="*/ 5786 h 10000"/>
              <a:gd name="connsiteX38" fmla="*/ 5385 w 10000"/>
              <a:gd name="connsiteY38" fmla="*/ 5723 h 10000"/>
              <a:gd name="connsiteX39" fmla="*/ 5385 w 10000"/>
              <a:gd name="connsiteY39" fmla="*/ 6164 h 10000"/>
              <a:gd name="connsiteX40" fmla="*/ 6731 w 10000"/>
              <a:gd name="connsiteY40" fmla="*/ 6164 h 10000"/>
              <a:gd name="connsiteX41" fmla="*/ 7212 w 10000"/>
              <a:gd name="connsiteY41" fmla="*/ 6478 h 10000"/>
              <a:gd name="connsiteX42" fmla="*/ 4712 w 10000"/>
              <a:gd name="connsiteY42" fmla="*/ 6604 h 10000"/>
              <a:gd name="connsiteX43" fmla="*/ 4135 w 10000"/>
              <a:gd name="connsiteY43" fmla="*/ 6289 h 10000"/>
              <a:gd name="connsiteX44" fmla="*/ 4135 w 10000"/>
              <a:gd name="connsiteY44" fmla="*/ 6855 h 10000"/>
              <a:gd name="connsiteX45" fmla="*/ 4712 w 10000"/>
              <a:gd name="connsiteY45" fmla="*/ 7233 h 10000"/>
              <a:gd name="connsiteX46" fmla="*/ 7212 w 10000"/>
              <a:gd name="connsiteY46" fmla="*/ 7233 h 10000"/>
              <a:gd name="connsiteX47" fmla="*/ 7885 w 10000"/>
              <a:gd name="connsiteY47" fmla="*/ 7610 h 10000"/>
              <a:gd name="connsiteX0" fmla="*/ 7885 w 10000"/>
              <a:gd name="connsiteY0" fmla="*/ 7610 h 10000"/>
              <a:gd name="connsiteX1" fmla="*/ 4712 w 10000"/>
              <a:gd name="connsiteY1" fmla="*/ 9686 h 10000"/>
              <a:gd name="connsiteX2" fmla="*/ 2500 w 10000"/>
              <a:gd name="connsiteY2" fmla="*/ 9686 h 10000"/>
              <a:gd name="connsiteX3" fmla="*/ 1923 w 10000"/>
              <a:gd name="connsiteY3" fmla="*/ 9434 h 10000"/>
              <a:gd name="connsiteX4" fmla="*/ 1635 w 10000"/>
              <a:gd name="connsiteY4" fmla="*/ 10000 h 10000"/>
              <a:gd name="connsiteX5" fmla="*/ 769 w 10000"/>
              <a:gd name="connsiteY5" fmla="*/ 9497 h 10000"/>
              <a:gd name="connsiteX6" fmla="*/ 769 w 10000"/>
              <a:gd name="connsiteY6" fmla="*/ 8931 h 10000"/>
              <a:gd name="connsiteX7" fmla="*/ 2212 w 10000"/>
              <a:gd name="connsiteY7" fmla="*/ 8050 h 10000"/>
              <a:gd name="connsiteX8" fmla="*/ 1635 w 10000"/>
              <a:gd name="connsiteY8" fmla="*/ 7547 h 10000"/>
              <a:gd name="connsiteX9" fmla="*/ 2212 w 10000"/>
              <a:gd name="connsiteY9" fmla="*/ 7107 h 10000"/>
              <a:gd name="connsiteX10" fmla="*/ 3173 w 10000"/>
              <a:gd name="connsiteY10" fmla="*/ 7170 h 10000"/>
              <a:gd name="connsiteX11" fmla="*/ 2981 w 10000"/>
              <a:gd name="connsiteY11" fmla="*/ 6667 h 10000"/>
              <a:gd name="connsiteX12" fmla="*/ 2212 w 10000"/>
              <a:gd name="connsiteY12" fmla="*/ 6667 h 10000"/>
              <a:gd name="connsiteX13" fmla="*/ 2212 w 10000"/>
              <a:gd name="connsiteY13" fmla="*/ 6289 h 10000"/>
              <a:gd name="connsiteX14" fmla="*/ 1538 w 10000"/>
              <a:gd name="connsiteY14" fmla="*/ 6226 h 10000"/>
              <a:gd name="connsiteX15" fmla="*/ 1154 w 10000"/>
              <a:gd name="connsiteY15" fmla="*/ 6604 h 10000"/>
              <a:gd name="connsiteX16" fmla="*/ 577 w 10000"/>
              <a:gd name="connsiteY16" fmla="*/ 6352 h 10000"/>
              <a:gd name="connsiteX17" fmla="*/ 0 w 10000"/>
              <a:gd name="connsiteY17" fmla="*/ 6352 h 10000"/>
              <a:gd name="connsiteX18" fmla="*/ 1462 w 10000"/>
              <a:gd name="connsiteY18" fmla="*/ 5188 h 10000"/>
              <a:gd name="connsiteX19" fmla="*/ 1090 w 10000"/>
              <a:gd name="connsiteY19" fmla="*/ 5121 h 10000"/>
              <a:gd name="connsiteX20" fmla="*/ 789 w 10000"/>
              <a:gd name="connsiteY20" fmla="*/ 5057 h 10000"/>
              <a:gd name="connsiteX21" fmla="*/ 0 w 10000"/>
              <a:gd name="connsiteY21" fmla="*/ 4969 h 10000"/>
              <a:gd name="connsiteX22" fmla="*/ 865 w 10000"/>
              <a:gd name="connsiteY22" fmla="*/ 4214 h 10000"/>
              <a:gd name="connsiteX23" fmla="*/ 865 w 10000"/>
              <a:gd name="connsiteY23" fmla="*/ 3648 h 10000"/>
              <a:gd name="connsiteX24" fmla="*/ 1731 w 10000"/>
              <a:gd name="connsiteY24" fmla="*/ 3711 h 10000"/>
              <a:gd name="connsiteX25" fmla="*/ 1635 w 10000"/>
              <a:gd name="connsiteY25" fmla="*/ 2767 h 10000"/>
              <a:gd name="connsiteX26" fmla="*/ 962 w 10000"/>
              <a:gd name="connsiteY26" fmla="*/ 2579 h 10000"/>
              <a:gd name="connsiteX27" fmla="*/ 2019 w 10000"/>
              <a:gd name="connsiteY27" fmla="*/ 1761 h 10000"/>
              <a:gd name="connsiteX28" fmla="*/ 3269 w 10000"/>
              <a:gd name="connsiteY28" fmla="*/ 1824 h 10000"/>
              <a:gd name="connsiteX29" fmla="*/ 3269 w 10000"/>
              <a:gd name="connsiteY29" fmla="*/ 881 h 10000"/>
              <a:gd name="connsiteX30" fmla="*/ 3750 w 10000"/>
              <a:gd name="connsiteY30" fmla="*/ 0 h 10000"/>
              <a:gd name="connsiteX31" fmla="*/ 4327 w 10000"/>
              <a:gd name="connsiteY31" fmla="*/ 0 h 10000"/>
              <a:gd name="connsiteX32" fmla="*/ 4327 w 10000"/>
              <a:gd name="connsiteY32" fmla="*/ 440 h 10000"/>
              <a:gd name="connsiteX33" fmla="*/ 7692 w 10000"/>
              <a:gd name="connsiteY33" fmla="*/ 440 h 10000"/>
              <a:gd name="connsiteX34" fmla="*/ 4519 w 10000"/>
              <a:gd name="connsiteY34" fmla="*/ 2579 h 10000"/>
              <a:gd name="connsiteX35" fmla="*/ 5096 w 10000"/>
              <a:gd name="connsiteY35" fmla="*/ 2830 h 10000"/>
              <a:gd name="connsiteX36" fmla="*/ 10000 w 10000"/>
              <a:gd name="connsiteY36" fmla="*/ 2830 h 10000"/>
              <a:gd name="connsiteX37" fmla="*/ 7788 w 10000"/>
              <a:gd name="connsiteY37" fmla="*/ 5786 h 10000"/>
              <a:gd name="connsiteX38" fmla="*/ 5385 w 10000"/>
              <a:gd name="connsiteY38" fmla="*/ 5723 h 10000"/>
              <a:gd name="connsiteX39" fmla="*/ 5385 w 10000"/>
              <a:gd name="connsiteY39" fmla="*/ 6164 h 10000"/>
              <a:gd name="connsiteX40" fmla="*/ 6731 w 10000"/>
              <a:gd name="connsiteY40" fmla="*/ 6164 h 10000"/>
              <a:gd name="connsiteX41" fmla="*/ 7212 w 10000"/>
              <a:gd name="connsiteY41" fmla="*/ 6478 h 10000"/>
              <a:gd name="connsiteX42" fmla="*/ 4712 w 10000"/>
              <a:gd name="connsiteY42" fmla="*/ 6604 h 10000"/>
              <a:gd name="connsiteX43" fmla="*/ 4135 w 10000"/>
              <a:gd name="connsiteY43" fmla="*/ 6289 h 10000"/>
              <a:gd name="connsiteX44" fmla="*/ 4135 w 10000"/>
              <a:gd name="connsiteY44" fmla="*/ 6855 h 10000"/>
              <a:gd name="connsiteX45" fmla="*/ 4712 w 10000"/>
              <a:gd name="connsiteY45" fmla="*/ 7233 h 10000"/>
              <a:gd name="connsiteX46" fmla="*/ 7212 w 10000"/>
              <a:gd name="connsiteY46" fmla="*/ 7233 h 10000"/>
              <a:gd name="connsiteX47" fmla="*/ 7885 w 10000"/>
              <a:gd name="connsiteY47" fmla="*/ 7610 h 10000"/>
              <a:gd name="connsiteX0" fmla="*/ 7885 w 9771"/>
              <a:gd name="connsiteY0" fmla="*/ 7610 h 10000"/>
              <a:gd name="connsiteX1" fmla="*/ 4712 w 9771"/>
              <a:gd name="connsiteY1" fmla="*/ 9686 h 10000"/>
              <a:gd name="connsiteX2" fmla="*/ 2500 w 9771"/>
              <a:gd name="connsiteY2" fmla="*/ 9686 h 10000"/>
              <a:gd name="connsiteX3" fmla="*/ 1923 w 9771"/>
              <a:gd name="connsiteY3" fmla="*/ 9434 h 10000"/>
              <a:gd name="connsiteX4" fmla="*/ 1635 w 9771"/>
              <a:gd name="connsiteY4" fmla="*/ 10000 h 10000"/>
              <a:gd name="connsiteX5" fmla="*/ 769 w 9771"/>
              <a:gd name="connsiteY5" fmla="*/ 9497 h 10000"/>
              <a:gd name="connsiteX6" fmla="*/ 769 w 9771"/>
              <a:gd name="connsiteY6" fmla="*/ 8931 h 10000"/>
              <a:gd name="connsiteX7" fmla="*/ 2212 w 9771"/>
              <a:gd name="connsiteY7" fmla="*/ 8050 h 10000"/>
              <a:gd name="connsiteX8" fmla="*/ 1635 w 9771"/>
              <a:gd name="connsiteY8" fmla="*/ 7547 h 10000"/>
              <a:gd name="connsiteX9" fmla="*/ 2212 w 9771"/>
              <a:gd name="connsiteY9" fmla="*/ 7107 h 10000"/>
              <a:gd name="connsiteX10" fmla="*/ 3173 w 9771"/>
              <a:gd name="connsiteY10" fmla="*/ 7170 h 10000"/>
              <a:gd name="connsiteX11" fmla="*/ 2981 w 9771"/>
              <a:gd name="connsiteY11" fmla="*/ 6667 h 10000"/>
              <a:gd name="connsiteX12" fmla="*/ 2212 w 9771"/>
              <a:gd name="connsiteY12" fmla="*/ 6667 h 10000"/>
              <a:gd name="connsiteX13" fmla="*/ 2212 w 9771"/>
              <a:gd name="connsiteY13" fmla="*/ 6289 h 10000"/>
              <a:gd name="connsiteX14" fmla="*/ 1538 w 9771"/>
              <a:gd name="connsiteY14" fmla="*/ 6226 h 10000"/>
              <a:gd name="connsiteX15" fmla="*/ 1154 w 9771"/>
              <a:gd name="connsiteY15" fmla="*/ 6604 h 10000"/>
              <a:gd name="connsiteX16" fmla="*/ 577 w 9771"/>
              <a:gd name="connsiteY16" fmla="*/ 6352 h 10000"/>
              <a:gd name="connsiteX17" fmla="*/ 0 w 9771"/>
              <a:gd name="connsiteY17" fmla="*/ 6352 h 10000"/>
              <a:gd name="connsiteX18" fmla="*/ 1462 w 9771"/>
              <a:gd name="connsiteY18" fmla="*/ 5188 h 10000"/>
              <a:gd name="connsiteX19" fmla="*/ 1090 w 9771"/>
              <a:gd name="connsiteY19" fmla="*/ 5121 h 10000"/>
              <a:gd name="connsiteX20" fmla="*/ 789 w 9771"/>
              <a:gd name="connsiteY20" fmla="*/ 5057 h 10000"/>
              <a:gd name="connsiteX21" fmla="*/ 0 w 9771"/>
              <a:gd name="connsiteY21" fmla="*/ 4969 h 10000"/>
              <a:gd name="connsiteX22" fmla="*/ 865 w 9771"/>
              <a:gd name="connsiteY22" fmla="*/ 4214 h 10000"/>
              <a:gd name="connsiteX23" fmla="*/ 865 w 9771"/>
              <a:gd name="connsiteY23" fmla="*/ 3648 h 10000"/>
              <a:gd name="connsiteX24" fmla="*/ 1731 w 9771"/>
              <a:gd name="connsiteY24" fmla="*/ 3711 h 10000"/>
              <a:gd name="connsiteX25" fmla="*/ 1635 w 9771"/>
              <a:gd name="connsiteY25" fmla="*/ 2767 h 10000"/>
              <a:gd name="connsiteX26" fmla="*/ 962 w 9771"/>
              <a:gd name="connsiteY26" fmla="*/ 2579 h 10000"/>
              <a:gd name="connsiteX27" fmla="*/ 2019 w 9771"/>
              <a:gd name="connsiteY27" fmla="*/ 1761 h 10000"/>
              <a:gd name="connsiteX28" fmla="*/ 3269 w 9771"/>
              <a:gd name="connsiteY28" fmla="*/ 1824 h 10000"/>
              <a:gd name="connsiteX29" fmla="*/ 3269 w 9771"/>
              <a:gd name="connsiteY29" fmla="*/ 881 h 10000"/>
              <a:gd name="connsiteX30" fmla="*/ 3750 w 9771"/>
              <a:gd name="connsiteY30" fmla="*/ 0 h 10000"/>
              <a:gd name="connsiteX31" fmla="*/ 4327 w 9771"/>
              <a:gd name="connsiteY31" fmla="*/ 0 h 10000"/>
              <a:gd name="connsiteX32" fmla="*/ 4327 w 9771"/>
              <a:gd name="connsiteY32" fmla="*/ 440 h 10000"/>
              <a:gd name="connsiteX33" fmla="*/ 7692 w 9771"/>
              <a:gd name="connsiteY33" fmla="*/ 440 h 10000"/>
              <a:gd name="connsiteX34" fmla="*/ 4519 w 9771"/>
              <a:gd name="connsiteY34" fmla="*/ 2579 h 10000"/>
              <a:gd name="connsiteX35" fmla="*/ 5096 w 9771"/>
              <a:gd name="connsiteY35" fmla="*/ 2830 h 10000"/>
              <a:gd name="connsiteX36" fmla="*/ 9771 w 9771"/>
              <a:gd name="connsiteY36" fmla="*/ 2951 h 10000"/>
              <a:gd name="connsiteX37" fmla="*/ 7788 w 9771"/>
              <a:gd name="connsiteY37" fmla="*/ 5786 h 10000"/>
              <a:gd name="connsiteX38" fmla="*/ 5385 w 9771"/>
              <a:gd name="connsiteY38" fmla="*/ 5723 h 10000"/>
              <a:gd name="connsiteX39" fmla="*/ 5385 w 9771"/>
              <a:gd name="connsiteY39" fmla="*/ 6164 h 10000"/>
              <a:gd name="connsiteX40" fmla="*/ 6731 w 9771"/>
              <a:gd name="connsiteY40" fmla="*/ 6164 h 10000"/>
              <a:gd name="connsiteX41" fmla="*/ 7212 w 9771"/>
              <a:gd name="connsiteY41" fmla="*/ 6478 h 10000"/>
              <a:gd name="connsiteX42" fmla="*/ 4712 w 9771"/>
              <a:gd name="connsiteY42" fmla="*/ 6604 h 10000"/>
              <a:gd name="connsiteX43" fmla="*/ 4135 w 9771"/>
              <a:gd name="connsiteY43" fmla="*/ 6289 h 10000"/>
              <a:gd name="connsiteX44" fmla="*/ 4135 w 9771"/>
              <a:gd name="connsiteY44" fmla="*/ 6855 h 10000"/>
              <a:gd name="connsiteX45" fmla="*/ 4712 w 9771"/>
              <a:gd name="connsiteY45" fmla="*/ 7233 h 10000"/>
              <a:gd name="connsiteX46" fmla="*/ 7212 w 9771"/>
              <a:gd name="connsiteY46" fmla="*/ 7233 h 10000"/>
              <a:gd name="connsiteX47" fmla="*/ 7885 w 9771"/>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5511 w 10000"/>
              <a:gd name="connsiteY38" fmla="*/ 5723 h 10000"/>
              <a:gd name="connsiteX39" fmla="*/ 5511 w 10000"/>
              <a:gd name="connsiteY39" fmla="*/ 6164 h 10000"/>
              <a:gd name="connsiteX40" fmla="*/ 6889 w 10000"/>
              <a:gd name="connsiteY40" fmla="*/ 6164 h 10000"/>
              <a:gd name="connsiteX41" fmla="*/ 7381 w 10000"/>
              <a:gd name="connsiteY41" fmla="*/ 6478 h 10000"/>
              <a:gd name="connsiteX42" fmla="*/ 4822 w 10000"/>
              <a:gd name="connsiteY42" fmla="*/ 6604 h 10000"/>
              <a:gd name="connsiteX43" fmla="*/ 4232 w 10000"/>
              <a:gd name="connsiteY43" fmla="*/ 6289 h 10000"/>
              <a:gd name="connsiteX44" fmla="*/ 4232 w 10000"/>
              <a:gd name="connsiteY44" fmla="*/ 6855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5511 w 10000"/>
              <a:gd name="connsiteY38" fmla="*/ 5723 h 10000"/>
              <a:gd name="connsiteX39" fmla="*/ 7747 w 10000"/>
              <a:gd name="connsiteY39" fmla="*/ 6344 h 10000"/>
              <a:gd name="connsiteX40" fmla="*/ 6889 w 10000"/>
              <a:gd name="connsiteY40" fmla="*/ 6164 h 10000"/>
              <a:gd name="connsiteX41" fmla="*/ 7381 w 10000"/>
              <a:gd name="connsiteY41" fmla="*/ 6478 h 10000"/>
              <a:gd name="connsiteX42" fmla="*/ 4822 w 10000"/>
              <a:gd name="connsiteY42" fmla="*/ 6604 h 10000"/>
              <a:gd name="connsiteX43" fmla="*/ 4232 w 10000"/>
              <a:gd name="connsiteY43" fmla="*/ 6289 h 10000"/>
              <a:gd name="connsiteX44" fmla="*/ 4232 w 10000"/>
              <a:gd name="connsiteY44" fmla="*/ 6855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7839 w 10000"/>
              <a:gd name="connsiteY38" fmla="*/ 6035 h 10000"/>
              <a:gd name="connsiteX39" fmla="*/ 7747 w 10000"/>
              <a:gd name="connsiteY39" fmla="*/ 6344 h 10000"/>
              <a:gd name="connsiteX40" fmla="*/ 6889 w 10000"/>
              <a:gd name="connsiteY40" fmla="*/ 6164 h 10000"/>
              <a:gd name="connsiteX41" fmla="*/ 7381 w 10000"/>
              <a:gd name="connsiteY41" fmla="*/ 6478 h 10000"/>
              <a:gd name="connsiteX42" fmla="*/ 4822 w 10000"/>
              <a:gd name="connsiteY42" fmla="*/ 6604 h 10000"/>
              <a:gd name="connsiteX43" fmla="*/ 4232 w 10000"/>
              <a:gd name="connsiteY43" fmla="*/ 6289 h 10000"/>
              <a:gd name="connsiteX44" fmla="*/ 4232 w 10000"/>
              <a:gd name="connsiteY44" fmla="*/ 6855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7839 w 10000"/>
              <a:gd name="connsiteY38" fmla="*/ 6035 h 10000"/>
              <a:gd name="connsiteX39" fmla="*/ 7747 w 10000"/>
              <a:gd name="connsiteY39" fmla="*/ 6344 h 10000"/>
              <a:gd name="connsiteX40" fmla="*/ 6889 w 10000"/>
              <a:gd name="connsiteY40" fmla="*/ 6164 h 10000"/>
              <a:gd name="connsiteX41" fmla="*/ 7381 w 10000"/>
              <a:gd name="connsiteY41" fmla="*/ 6478 h 10000"/>
              <a:gd name="connsiteX42" fmla="*/ 6138 w 10000"/>
              <a:gd name="connsiteY42" fmla="*/ 7028 h 10000"/>
              <a:gd name="connsiteX43" fmla="*/ 4232 w 10000"/>
              <a:gd name="connsiteY43" fmla="*/ 6289 h 10000"/>
              <a:gd name="connsiteX44" fmla="*/ 4232 w 10000"/>
              <a:gd name="connsiteY44" fmla="*/ 6855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7839 w 10000"/>
              <a:gd name="connsiteY38" fmla="*/ 6035 h 10000"/>
              <a:gd name="connsiteX39" fmla="*/ 7747 w 10000"/>
              <a:gd name="connsiteY39" fmla="*/ 6344 h 10000"/>
              <a:gd name="connsiteX40" fmla="*/ 6889 w 10000"/>
              <a:gd name="connsiteY40" fmla="*/ 6164 h 10000"/>
              <a:gd name="connsiteX41" fmla="*/ 7160 w 10000"/>
              <a:gd name="connsiteY41" fmla="*/ 6978 h 10000"/>
              <a:gd name="connsiteX42" fmla="*/ 6138 w 10000"/>
              <a:gd name="connsiteY42" fmla="*/ 7028 h 10000"/>
              <a:gd name="connsiteX43" fmla="*/ 4232 w 10000"/>
              <a:gd name="connsiteY43" fmla="*/ 6289 h 10000"/>
              <a:gd name="connsiteX44" fmla="*/ 4232 w 10000"/>
              <a:gd name="connsiteY44" fmla="*/ 6855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7839 w 10000"/>
              <a:gd name="connsiteY38" fmla="*/ 6035 h 10000"/>
              <a:gd name="connsiteX39" fmla="*/ 7747 w 10000"/>
              <a:gd name="connsiteY39" fmla="*/ 6344 h 10000"/>
              <a:gd name="connsiteX40" fmla="*/ 6889 w 10000"/>
              <a:gd name="connsiteY40" fmla="*/ 6164 h 10000"/>
              <a:gd name="connsiteX41" fmla="*/ 7160 w 10000"/>
              <a:gd name="connsiteY41" fmla="*/ 6978 h 10000"/>
              <a:gd name="connsiteX42" fmla="*/ 6138 w 10000"/>
              <a:gd name="connsiteY42" fmla="*/ 7028 h 10000"/>
              <a:gd name="connsiteX43" fmla="*/ 4232 w 10000"/>
              <a:gd name="connsiteY43" fmla="*/ 6289 h 10000"/>
              <a:gd name="connsiteX44" fmla="*/ 5554 w 10000"/>
              <a:gd name="connsiteY44" fmla="*/ 6993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7839 w 10000"/>
              <a:gd name="connsiteY38" fmla="*/ 6035 h 10000"/>
              <a:gd name="connsiteX39" fmla="*/ 7747 w 10000"/>
              <a:gd name="connsiteY39" fmla="*/ 6344 h 10000"/>
              <a:gd name="connsiteX40" fmla="*/ 6889 w 10000"/>
              <a:gd name="connsiteY40" fmla="*/ 6164 h 10000"/>
              <a:gd name="connsiteX41" fmla="*/ 7160 w 10000"/>
              <a:gd name="connsiteY41" fmla="*/ 6978 h 10000"/>
              <a:gd name="connsiteX42" fmla="*/ 6138 w 10000"/>
              <a:gd name="connsiteY42" fmla="*/ 7028 h 10000"/>
              <a:gd name="connsiteX43" fmla="*/ 5460 w 10000"/>
              <a:gd name="connsiteY43" fmla="*/ 6913 h 10000"/>
              <a:gd name="connsiteX44" fmla="*/ 5554 w 10000"/>
              <a:gd name="connsiteY44" fmla="*/ 6993 h 10000"/>
              <a:gd name="connsiteX45" fmla="*/ 4822 w 10000"/>
              <a:gd name="connsiteY45" fmla="*/ 7233 h 10000"/>
              <a:gd name="connsiteX46" fmla="*/ 7381 w 10000"/>
              <a:gd name="connsiteY46" fmla="*/ 7233 h 10000"/>
              <a:gd name="connsiteX47" fmla="*/ 8070 w 10000"/>
              <a:gd name="connsiteY47" fmla="*/ 7610 h 10000"/>
              <a:gd name="connsiteX0" fmla="*/ 8070 w 10000"/>
              <a:gd name="connsiteY0" fmla="*/ 7610 h 10000"/>
              <a:gd name="connsiteX1" fmla="*/ 4822 w 10000"/>
              <a:gd name="connsiteY1" fmla="*/ 9686 h 10000"/>
              <a:gd name="connsiteX2" fmla="*/ 2559 w 10000"/>
              <a:gd name="connsiteY2" fmla="*/ 9686 h 10000"/>
              <a:gd name="connsiteX3" fmla="*/ 1968 w 10000"/>
              <a:gd name="connsiteY3" fmla="*/ 9434 h 10000"/>
              <a:gd name="connsiteX4" fmla="*/ 1673 w 10000"/>
              <a:gd name="connsiteY4" fmla="*/ 10000 h 10000"/>
              <a:gd name="connsiteX5" fmla="*/ 787 w 10000"/>
              <a:gd name="connsiteY5" fmla="*/ 9497 h 10000"/>
              <a:gd name="connsiteX6" fmla="*/ 787 w 10000"/>
              <a:gd name="connsiteY6" fmla="*/ 8931 h 10000"/>
              <a:gd name="connsiteX7" fmla="*/ 2264 w 10000"/>
              <a:gd name="connsiteY7" fmla="*/ 8050 h 10000"/>
              <a:gd name="connsiteX8" fmla="*/ 1673 w 10000"/>
              <a:gd name="connsiteY8" fmla="*/ 7547 h 10000"/>
              <a:gd name="connsiteX9" fmla="*/ 2264 w 10000"/>
              <a:gd name="connsiteY9" fmla="*/ 7107 h 10000"/>
              <a:gd name="connsiteX10" fmla="*/ 3247 w 10000"/>
              <a:gd name="connsiteY10" fmla="*/ 7170 h 10000"/>
              <a:gd name="connsiteX11" fmla="*/ 3051 w 10000"/>
              <a:gd name="connsiteY11" fmla="*/ 6667 h 10000"/>
              <a:gd name="connsiteX12" fmla="*/ 2264 w 10000"/>
              <a:gd name="connsiteY12" fmla="*/ 6667 h 10000"/>
              <a:gd name="connsiteX13" fmla="*/ 2264 w 10000"/>
              <a:gd name="connsiteY13" fmla="*/ 6289 h 10000"/>
              <a:gd name="connsiteX14" fmla="*/ 1574 w 10000"/>
              <a:gd name="connsiteY14" fmla="*/ 6226 h 10000"/>
              <a:gd name="connsiteX15" fmla="*/ 1181 w 10000"/>
              <a:gd name="connsiteY15" fmla="*/ 6604 h 10000"/>
              <a:gd name="connsiteX16" fmla="*/ 591 w 10000"/>
              <a:gd name="connsiteY16" fmla="*/ 6352 h 10000"/>
              <a:gd name="connsiteX17" fmla="*/ 0 w 10000"/>
              <a:gd name="connsiteY17" fmla="*/ 6352 h 10000"/>
              <a:gd name="connsiteX18" fmla="*/ 1496 w 10000"/>
              <a:gd name="connsiteY18" fmla="*/ 5188 h 10000"/>
              <a:gd name="connsiteX19" fmla="*/ 1116 w 10000"/>
              <a:gd name="connsiteY19" fmla="*/ 5121 h 10000"/>
              <a:gd name="connsiteX20" fmla="*/ 807 w 10000"/>
              <a:gd name="connsiteY20" fmla="*/ 5057 h 10000"/>
              <a:gd name="connsiteX21" fmla="*/ 0 w 10000"/>
              <a:gd name="connsiteY21" fmla="*/ 4969 h 10000"/>
              <a:gd name="connsiteX22" fmla="*/ 885 w 10000"/>
              <a:gd name="connsiteY22" fmla="*/ 4214 h 10000"/>
              <a:gd name="connsiteX23" fmla="*/ 885 w 10000"/>
              <a:gd name="connsiteY23" fmla="*/ 3648 h 10000"/>
              <a:gd name="connsiteX24" fmla="*/ 1772 w 10000"/>
              <a:gd name="connsiteY24" fmla="*/ 3711 h 10000"/>
              <a:gd name="connsiteX25" fmla="*/ 1673 w 10000"/>
              <a:gd name="connsiteY25" fmla="*/ 2767 h 10000"/>
              <a:gd name="connsiteX26" fmla="*/ 985 w 10000"/>
              <a:gd name="connsiteY26" fmla="*/ 2579 h 10000"/>
              <a:gd name="connsiteX27" fmla="*/ 2066 w 10000"/>
              <a:gd name="connsiteY27" fmla="*/ 1761 h 10000"/>
              <a:gd name="connsiteX28" fmla="*/ 3346 w 10000"/>
              <a:gd name="connsiteY28" fmla="*/ 1824 h 10000"/>
              <a:gd name="connsiteX29" fmla="*/ 3346 w 10000"/>
              <a:gd name="connsiteY29" fmla="*/ 881 h 10000"/>
              <a:gd name="connsiteX30" fmla="*/ 3838 w 10000"/>
              <a:gd name="connsiteY30" fmla="*/ 0 h 10000"/>
              <a:gd name="connsiteX31" fmla="*/ 4428 w 10000"/>
              <a:gd name="connsiteY31" fmla="*/ 0 h 10000"/>
              <a:gd name="connsiteX32" fmla="*/ 4428 w 10000"/>
              <a:gd name="connsiteY32" fmla="*/ 440 h 10000"/>
              <a:gd name="connsiteX33" fmla="*/ 7872 w 10000"/>
              <a:gd name="connsiteY33" fmla="*/ 440 h 10000"/>
              <a:gd name="connsiteX34" fmla="*/ 4625 w 10000"/>
              <a:gd name="connsiteY34" fmla="*/ 2579 h 10000"/>
              <a:gd name="connsiteX35" fmla="*/ 5215 w 10000"/>
              <a:gd name="connsiteY35" fmla="*/ 2830 h 10000"/>
              <a:gd name="connsiteX36" fmla="*/ 10000 w 10000"/>
              <a:gd name="connsiteY36" fmla="*/ 2951 h 10000"/>
              <a:gd name="connsiteX37" fmla="*/ 7971 w 10000"/>
              <a:gd name="connsiteY37" fmla="*/ 5786 h 10000"/>
              <a:gd name="connsiteX38" fmla="*/ 7839 w 10000"/>
              <a:gd name="connsiteY38" fmla="*/ 6035 h 10000"/>
              <a:gd name="connsiteX39" fmla="*/ 7747 w 10000"/>
              <a:gd name="connsiteY39" fmla="*/ 6344 h 10000"/>
              <a:gd name="connsiteX40" fmla="*/ 6889 w 10000"/>
              <a:gd name="connsiteY40" fmla="*/ 6164 h 10000"/>
              <a:gd name="connsiteX41" fmla="*/ 7160 w 10000"/>
              <a:gd name="connsiteY41" fmla="*/ 6978 h 10000"/>
              <a:gd name="connsiteX42" fmla="*/ 6138 w 10000"/>
              <a:gd name="connsiteY42" fmla="*/ 7028 h 10000"/>
              <a:gd name="connsiteX43" fmla="*/ 5460 w 10000"/>
              <a:gd name="connsiteY43" fmla="*/ 6913 h 10000"/>
              <a:gd name="connsiteX44" fmla="*/ 5554 w 10000"/>
              <a:gd name="connsiteY44" fmla="*/ 6993 h 10000"/>
              <a:gd name="connsiteX45" fmla="*/ 5401 w 10000"/>
              <a:gd name="connsiteY45" fmla="*/ 7216 h 10000"/>
              <a:gd name="connsiteX46" fmla="*/ 7381 w 10000"/>
              <a:gd name="connsiteY46" fmla="*/ 7233 h 10000"/>
              <a:gd name="connsiteX47" fmla="*/ 8070 w 10000"/>
              <a:gd name="connsiteY47" fmla="*/ 7610 h 10000"/>
              <a:gd name="connsiteX0" fmla="*/ 8070 w 10000"/>
              <a:gd name="connsiteY0" fmla="*/ 7610 h 9917"/>
              <a:gd name="connsiteX1" fmla="*/ 4822 w 10000"/>
              <a:gd name="connsiteY1" fmla="*/ 9686 h 9917"/>
              <a:gd name="connsiteX2" fmla="*/ 2559 w 10000"/>
              <a:gd name="connsiteY2" fmla="*/ 9686 h 9917"/>
              <a:gd name="connsiteX3" fmla="*/ 1968 w 10000"/>
              <a:gd name="connsiteY3" fmla="*/ 9434 h 9917"/>
              <a:gd name="connsiteX4" fmla="*/ 1139 w 10000"/>
              <a:gd name="connsiteY4" fmla="*/ 9917 h 9917"/>
              <a:gd name="connsiteX5" fmla="*/ 787 w 10000"/>
              <a:gd name="connsiteY5" fmla="*/ 9497 h 9917"/>
              <a:gd name="connsiteX6" fmla="*/ 787 w 10000"/>
              <a:gd name="connsiteY6" fmla="*/ 8931 h 9917"/>
              <a:gd name="connsiteX7" fmla="*/ 2264 w 10000"/>
              <a:gd name="connsiteY7" fmla="*/ 8050 h 9917"/>
              <a:gd name="connsiteX8" fmla="*/ 1673 w 10000"/>
              <a:gd name="connsiteY8" fmla="*/ 7547 h 9917"/>
              <a:gd name="connsiteX9" fmla="*/ 2264 w 10000"/>
              <a:gd name="connsiteY9" fmla="*/ 7107 h 9917"/>
              <a:gd name="connsiteX10" fmla="*/ 3247 w 10000"/>
              <a:gd name="connsiteY10" fmla="*/ 7170 h 9917"/>
              <a:gd name="connsiteX11" fmla="*/ 3051 w 10000"/>
              <a:gd name="connsiteY11" fmla="*/ 6667 h 9917"/>
              <a:gd name="connsiteX12" fmla="*/ 2264 w 10000"/>
              <a:gd name="connsiteY12" fmla="*/ 6667 h 9917"/>
              <a:gd name="connsiteX13" fmla="*/ 2264 w 10000"/>
              <a:gd name="connsiteY13" fmla="*/ 6289 h 9917"/>
              <a:gd name="connsiteX14" fmla="*/ 1574 w 10000"/>
              <a:gd name="connsiteY14" fmla="*/ 6226 h 9917"/>
              <a:gd name="connsiteX15" fmla="*/ 1181 w 10000"/>
              <a:gd name="connsiteY15" fmla="*/ 6604 h 9917"/>
              <a:gd name="connsiteX16" fmla="*/ 591 w 10000"/>
              <a:gd name="connsiteY16" fmla="*/ 6352 h 9917"/>
              <a:gd name="connsiteX17" fmla="*/ 0 w 10000"/>
              <a:gd name="connsiteY17" fmla="*/ 6352 h 9917"/>
              <a:gd name="connsiteX18" fmla="*/ 1496 w 10000"/>
              <a:gd name="connsiteY18" fmla="*/ 5188 h 9917"/>
              <a:gd name="connsiteX19" fmla="*/ 1116 w 10000"/>
              <a:gd name="connsiteY19" fmla="*/ 5121 h 9917"/>
              <a:gd name="connsiteX20" fmla="*/ 807 w 10000"/>
              <a:gd name="connsiteY20" fmla="*/ 5057 h 9917"/>
              <a:gd name="connsiteX21" fmla="*/ 0 w 10000"/>
              <a:gd name="connsiteY21" fmla="*/ 4969 h 9917"/>
              <a:gd name="connsiteX22" fmla="*/ 885 w 10000"/>
              <a:gd name="connsiteY22" fmla="*/ 4214 h 9917"/>
              <a:gd name="connsiteX23" fmla="*/ 885 w 10000"/>
              <a:gd name="connsiteY23" fmla="*/ 3648 h 9917"/>
              <a:gd name="connsiteX24" fmla="*/ 1772 w 10000"/>
              <a:gd name="connsiteY24" fmla="*/ 3711 h 9917"/>
              <a:gd name="connsiteX25" fmla="*/ 1673 w 10000"/>
              <a:gd name="connsiteY25" fmla="*/ 2767 h 9917"/>
              <a:gd name="connsiteX26" fmla="*/ 985 w 10000"/>
              <a:gd name="connsiteY26" fmla="*/ 2579 h 9917"/>
              <a:gd name="connsiteX27" fmla="*/ 2066 w 10000"/>
              <a:gd name="connsiteY27" fmla="*/ 1761 h 9917"/>
              <a:gd name="connsiteX28" fmla="*/ 3346 w 10000"/>
              <a:gd name="connsiteY28" fmla="*/ 1824 h 9917"/>
              <a:gd name="connsiteX29" fmla="*/ 3346 w 10000"/>
              <a:gd name="connsiteY29" fmla="*/ 881 h 9917"/>
              <a:gd name="connsiteX30" fmla="*/ 3838 w 10000"/>
              <a:gd name="connsiteY30" fmla="*/ 0 h 9917"/>
              <a:gd name="connsiteX31" fmla="*/ 4428 w 10000"/>
              <a:gd name="connsiteY31" fmla="*/ 0 h 9917"/>
              <a:gd name="connsiteX32" fmla="*/ 4428 w 10000"/>
              <a:gd name="connsiteY32" fmla="*/ 440 h 9917"/>
              <a:gd name="connsiteX33" fmla="*/ 7872 w 10000"/>
              <a:gd name="connsiteY33" fmla="*/ 440 h 9917"/>
              <a:gd name="connsiteX34" fmla="*/ 4625 w 10000"/>
              <a:gd name="connsiteY34" fmla="*/ 2579 h 9917"/>
              <a:gd name="connsiteX35" fmla="*/ 5215 w 10000"/>
              <a:gd name="connsiteY35" fmla="*/ 2830 h 9917"/>
              <a:gd name="connsiteX36" fmla="*/ 10000 w 10000"/>
              <a:gd name="connsiteY36" fmla="*/ 2951 h 9917"/>
              <a:gd name="connsiteX37" fmla="*/ 7971 w 10000"/>
              <a:gd name="connsiteY37" fmla="*/ 5786 h 9917"/>
              <a:gd name="connsiteX38" fmla="*/ 7839 w 10000"/>
              <a:gd name="connsiteY38" fmla="*/ 6035 h 9917"/>
              <a:gd name="connsiteX39" fmla="*/ 7747 w 10000"/>
              <a:gd name="connsiteY39" fmla="*/ 6344 h 9917"/>
              <a:gd name="connsiteX40" fmla="*/ 6889 w 10000"/>
              <a:gd name="connsiteY40" fmla="*/ 6164 h 9917"/>
              <a:gd name="connsiteX41" fmla="*/ 7160 w 10000"/>
              <a:gd name="connsiteY41" fmla="*/ 6978 h 9917"/>
              <a:gd name="connsiteX42" fmla="*/ 6138 w 10000"/>
              <a:gd name="connsiteY42" fmla="*/ 7028 h 9917"/>
              <a:gd name="connsiteX43" fmla="*/ 5460 w 10000"/>
              <a:gd name="connsiteY43" fmla="*/ 6913 h 9917"/>
              <a:gd name="connsiteX44" fmla="*/ 5554 w 10000"/>
              <a:gd name="connsiteY44" fmla="*/ 6993 h 9917"/>
              <a:gd name="connsiteX45" fmla="*/ 5401 w 10000"/>
              <a:gd name="connsiteY45" fmla="*/ 7216 h 9917"/>
              <a:gd name="connsiteX46" fmla="*/ 7381 w 10000"/>
              <a:gd name="connsiteY46" fmla="*/ 7233 h 9917"/>
              <a:gd name="connsiteX47" fmla="*/ 8070 w 10000"/>
              <a:gd name="connsiteY47" fmla="*/ 7610 h 9917"/>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3051 w 10000"/>
              <a:gd name="connsiteY11" fmla="*/ 6723 h 10000"/>
              <a:gd name="connsiteX12" fmla="*/ 2264 w 10000"/>
              <a:gd name="connsiteY12" fmla="*/ 6723 h 10000"/>
              <a:gd name="connsiteX13" fmla="*/ 2264 w 10000"/>
              <a:gd name="connsiteY13" fmla="*/ 6342 h 10000"/>
              <a:gd name="connsiteX14" fmla="*/ 1574 w 10000"/>
              <a:gd name="connsiteY14" fmla="*/ 6278 h 10000"/>
              <a:gd name="connsiteX15" fmla="*/ 1181 w 10000"/>
              <a:gd name="connsiteY15" fmla="*/ 6659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3051 w 10000"/>
              <a:gd name="connsiteY11" fmla="*/ 6723 h 10000"/>
              <a:gd name="connsiteX12" fmla="*/ 596 w 10000"/>
              <a:gd name="connsiteY12" fmla="*/ 8060 h 10000"/>
              <a:gd name="connsiteX13" fmla="*/ 2264 w 10000"/>
              <a:gd name="connsiteY13" fmla="*/ 6342 h 10000"/>
              <a:gd name="connsiteX14" fmla="*/ 1574 w 10000"/>
              <a:gd name="connsiteY14" fmla="*/ 6278 h 10000"/>
              <a:gd name="connsiteX15" fmla="*/ 1181 w 10000"/>
              <a:gd name="connsiteY15" fmla="*/ 6659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3051 w 10000"/>
              <a:gd name="connsiteY11" fmla="*/ 6723 h 10000"/>
              <a:gd name="connsiteX12" fmla="*/ 596 w 10000"/>
              <a:gd name="connsiteY12" fmla="*/ 8060 h 10000"/>
              <a:gd name="connsiteX13" fmla="*/ 69 w 10000"/>
              <a:gd name="connsiteY13" fmla="*/ 8266 h 10000"/>
              <a:gd name="connsiteX14" fmla="*/ 1574 w 10000"/>
              <a:gd name="connsiteY14" fmla="*/ 6278 h 10000"/>
              <a:gd name="connsiteX15" fmla="*/ 1181 w 10000"/>
              <a:gd name="connsiteY15" fmla="*/ 6659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3051 w 10000"/>
              <a:gd name="connsiteY11" fmla="*/ 6723 h 10000"/>
              <a:gd name="connsiteX12" fmla="*/ 596 w 10000"/>
              <a:gd name="connsiteY12" fmla="*/ 8060 h 10000"/>
              <a:gd name="connsiteX13" fmla="*/ 69 w 10000"/>
              <a:gd name="connsiteY13" fmla="*/ 8266 h 10000"/>
              <a:gd name="connsiteX14" fmla="*/ 301 w 10000"/>
              <a:gd name="connsiteY14" fmla="*/ 7331 h 10000"/>
              <a:gd name="connsiteX15" fmla="*/ 1181 w 10000"/>
              <a:gd name="connsiteY15" fmla="*/ 6659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3051 w 10000"/>
              <a:gd name="connsiteY11" fmla="*/ 6723 h 10000"/>
              <a:gd name="connsiteX12" fmla="*/ 596 w 10000"/>
              <a:gd name="connsiteY12" fmla="*/ 8060 h 10000"/>
              <a:gd name="connsiteX13" fmla="*/ 69 w 10000"/>
              <a:gd name="connsiteY13" fmla="*/ 8266 h 10000"/>
              <a:gd name="connsiteX14" fmla="*/ 301 w 10000"/>
              <a:gd name="connsiteY14" fmla="*/ 7331 h 10000"/>
              <a:gd name="connsiteX15" fmla="*/ 802 w 10000"/>
              <a:gd name="connsiteY15" fmla="*/ 6701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1711 w 10000"/>
              <a:gd name="connsiteY11" fmla="*/ 7448 h 10000"/>
              <a:gd name="connsiteX12" fmla="*/ 596 w 10000"/>
              <a:gd name="connsiteY12" fmla="*/ 8060 h 10000"/>
              <a:gd name="connsiteX13" fmla="*/ 69 w 10000"/>
              <a:gd name="connsiteY13" fmla="*/ 8266 h 10000"/>
              <a:gd name="connsiteX14" fmla="*/ 301 w 10000"/>
              <a:gd name="connsiteY14" fmla="*/ 7331 h 10000"/>
              <a:gd name="connsiteX15" fmla="*/ 802 w 10000"/>
              <a:gd name="connsiteY15" fmla="*/ 6701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1711 w 10000"/>
              <a:gd name="connsiteY11" fmla="*/ 7448 h 10000"/>
              <a:gd name="connsiteX12" fmla="*/ 347 w 10000"/>
              <a:gd name="connsiteY12" fmla="*/ 8423 h 10000"/>
              <a:gd name="connsiteX13" fmla="*/ 69 w 10000"/>
              <a:gd name="connsiteY13" fmla="*/ 8266 h 10000"/>
              <a:gd name="connsiteX14" fmla="*/ 301 w 10000"/>
              <a:gd name="connsiteY14" fmla="*/ 7331 h 10000"/>
              <a:gd name="connsiteX15" fmla="*/ 802 w 10000"/>
              <a:gd name="connsiteY15" fmla="*/ 6701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4625 w 10000"/>
              <a:gd name="connsiteY34" fmla="*/ 2601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1711 w 10000"/>
              <a:gd name="connsiteY11" fmla="*/ 7448 h 10000"/>
              <a:gd name="connsiteX12" fmla="*/ 347 w 10000"/>
              <a:gd name="connsiteY12" fmla="*/ 8423 h 10000"/>
              <a:gd name="connsiteX13" fmla="*/ 69 w 10000"/>
              <a:gd name="connsiteY13" fmla="*/ 8266 h 10000"/>
              <a:gd name="connsiteX14" fmla="*/ 301 w 10000"/>
              <a:gd name="connsiteY14" fmla="*/ 7331 h 10000"/>
              <a:gd name="connsiteX15" fmla="*/ 802 w 10000"/>
              <a:gd name="connsiteY15" fmla="*/ 6701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7872 w 10000"/>
              <a:gd name="connsiteY33" fmla="*/ 444 h 10000"/>
              <a:gd name="connsiteX34" fmla="*/ 5115 w 10000"/>
              <a:gd name="connsiteY34" fmla="*/ 2786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1711 w 10000"/>
              <a:gd name="connsiteY11" fmla="*/ 7448 h 10000"/>
              <a:gd name="connsiteX12" fmla="*/ 347 w 10000"/>
              <a:gd name="connsiteY12" fmla="*/ 8423 h 10000"/>
              <a:gd name="connsiteX13" fmla="*/ 69 w 10000"/>
              <a:gd name="connsiteY13" fmla="*/ 8266 h 10000"/>
              <a:gd name="connsiteX14" fmla="*/ 301 w 10000"/>
              <a:gd name="connsiteY14" fmla="*/ 7331 h 10000"/>
              <a:gd name="connsiteX15" fmla="*/ 802 w 10000"/>
              <a:gd name="connsiteY15" fmla="*/ 6701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8659 w 10000"/>
              <a:gd name="connsiteY33" fmla="*/ 500 h 10000"/>
              <a:gd name="connsiteX34" fmla="*/ 5115 w 10000"/>
              <a:gd name="connsiteY34" fmla="*/ 2786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6889 w 10000"/>
              <a:gd name="connsiteY40" fmla="*/ 6216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000"/>
              <a:gd name="connsiteY0" fmla="*/ 7674 h 10000"/>
              <a:gd name="connsiteX1" fmla="*/ 4822 w 10000"/>
              <a:gd name="connsiteY1" fmla="*/ 9767 h 10000"/>
              <a:gd name="connsiteX2" fmla="*/ 2559 w 10000"/>
              <a:gd name="connsiteY2" fmla="*/ 9767 h 10000"/>
              <a:gd name="connsiteX3" fmla="*/ 1968 w 10000"/>
              <a:gd name="connsiteY3" fmla="*/ 9513 h 10000"/>
              <a:gd name="connsiteX4" fmla="*/ 1139 w 10000"/>
              <a:gd name="connsiteY4" fmla="*/ 10000 h 10000"/>
              <a:gd name="connsiteX5" fmla="*/ 787 w 10000"/>
              <a:gd name="connsiteY5" fmla="*/ 9576 h 10000"/>
              <a:gd name="connsiteX6" fmla="*/ 787 w 10000"/>
              <a:gd name="connsiteY6" fmla="*/ 9006 h 10000"/>
              <a:gd name="connsiteX7" fmla="*/ 2264 w 10000"/>
              <a:gd name="connsiteY7" fmla="*/ 8117 h 10000"/>
              <a:gd name="connsiteX8" fmla="*/ 1673 w 10000"/>
              <a:gd name="connsiteY8" fmla="*/ 7610 h 10000"/>
              <a:gd name="connsiteX9" fmla="*/ 2264 w 10000"/>
              <a:gd name="connsiteY9" fmla="*/ 7166 h 10000"/>
              <a:gd name="connsiteX10" fmla="*/ 1729 w 10000"/>
              <a:gd name="connsiteY10" fmla="*/ 7400 h 10000"/>
              <a:gd name="connsiteX11" fmla="*/ 1711 w 10000"/>
              <a:gd name="connsiteY11" fmla="*/ 7448 h 10000"/>
              <a:gd name="connsiteX12" fmla="*/ 347 w 10000"/>
              <a:gd name="connsiteY12" fmla="*/ 8423 h 10000"/>
              <a:gd name="connsiteX13" fmla="*/ 69 w 10000"/>
              <a:gd name="connsiteY13" fmla="*/ 8266 h 10000"/>
              <a:gd name="connsiteX14" fmla="*/ 301 w 10000"/>
              <a:gd name="connsiteY14" fmla="*/ 7331 h 10000"/>
              <a:gd name="connsiteX15" fmla="*/ 802 w 10000"/>
              <a:gd name="connsiteY15" fmla="*/ 6701 h 10000"/>
              <a:gd name="connsiteX16" fmla="*/ 591 w 10000"/>
              <a:gd name="connsiteY16" fmla="*/ 6405 h 10000"/>
              <a:gd name="connsiteX17" fmla="*/ 0 w 10000"/>
              <a:gd name="connsiteY17" fmla="*/ 6405 h 10000"/>
              <a:gd name="connsiteX18" fmla="*/ 1496 w 10000"/>
              <a:gd name="connsiteY18" fmla="*/ 5231 h 10000"/>
              <a:gd name="connsiteX19" fmla="*/ 1116 w 10000"/>
              <a:gd name="connsiteY19" fmla="*/ 5164 h 10000"/>
              <a:gd name="connsiteX20" fmla="*/ 807 w 10000"/>
              <a:gd name="connsiteY20" fmla="*/ 5099 h 10000"/>
              <a:gd name="connsiteX21" fmla="*/ 0 w 10000"/>
              <a:gd name="connsiteY21" fmla="*/ 5011 h 10000"/>
              <a:gd name="connsiteX22" fmla="*/ 885 w 10000"/>
              <a:gd name="connsiteY22" fmla="*/ 4249 h 10000"/>
              <a:gd name="connsiteX23" fmla="*/ 885 w 10000"/>
              <a:gd name="connsiteY23" fmla="*/ 3679 h 10000"/>
              <a:gd name="connsiteX24" fmla="*/ 1772 w 10000"/>
              <a:gd name="connsiteY24" fmla="*/ 3742 h 10000"/>
              <a:gd name="connsiteX25" fmla="*/ 1673 w 10000"/>
              <a:gd name="connsiteY25" fmla="*/ 2790 h 10000"/>
              <a:gd name="connsiteX26" fmla="*/ 985 w 10000"/>
              <a:gd name="connsiteY26" fmla="*/ 2601 h 10000"/>
              <a:gd name="connsiteX27" fmla="*/ 2066 w 10000"/>
              <a:gd name="connsiteY27" fmla="*/ 1776 h 10000"/>
              <a:gd name="connsiteX28" fmla="*/ 3346 w 10000"/>
              <a:gd name="connsiteY28" fmla="*/ 1839 h 10000"/>
              <a:gd name="connsiteX29" fmla="*/ 3346 w 10000"/>
              <a:gd name="connsiteY29" fmla="*/ 888 h 10000"/>
              <a:gd name="connsiteX30" fmla="*/ 3838 w 10000"/>
              <a:gd name="connsiteY30" fmla="*/ 0 h 10000"/>
              <a:gd name="connsiteX31" fmla="*/ 4428 w 10000"/>
              <a:gd name="connsiteY31" fmla="*/ 0 h 10000"/>
              <a:gd name="connsiteX32" fmla="*/ 4428 w 10000"/>
              <a:gd name="connsiteY32" fmla="*/ 444 h 10000"/>
              <a:gd name="connsiteX33" fmla="*/ 8659 w 10000"/>
              <a:gd name="connsiteY33" fmla="*/ 500 h 10000"/>
              <a:gd name="connsiteX34" fmla="*/ 5115 w 10000"/>
              <a:gd name="connsiteY34" fmla="*/ 2786 h 10000"/>
              <a:gd name="connsiteX35" fmla="*/ 5215 w 10000"/>
              <a:gd name="connsiteY35" fmla="*/ 2854 h 10000"/>
              <a:gd name="connsiteX36" fmla="*/ 10000 w 10000"/>
              <a:gd name="connsiteY36" fmla="*/ 2976 h 10000"/>
              <a:gd name="connsiteX37" fmla="*/ 7971 w 10000"/>
              <a:gd name="connsiteY37" fmla="*/ 5834 h 10000"/>
              <a:gd name="connsiteX38" fmla="*/ 7839 w 10000"/>
              <a:gd name="connsiteY38" fmla="*/ 6086 h 10000"/>
              <a:gd name="connsiteX39" fmla="*/ 7747 w 10000"/>
              <a:gd name="connsiteY39" fmla="*/ 6397 h 10000"/>
              <a:gd name="connsiteX40" fmla="*/ 7475 w 10000"/>
              <a:gd name="connsiteY40" fmla="*/ 6870 h 10000"/>
              <a:gd name="connsiteX41" fmla="*/ 7160 w 10000"/>
              <a:gd name="connsiteY41" fmla="*/ 7036 h 10000"/>
              <a:gd name="connsiteX42" fmla="*/ 6138 w 10000"/>
              <a:gd name="connsiteY42" fmla="*/ 7087 h 10000"/>
              <a:gd name="connsiteX43" fmla="*/ 5460 w 10000"/>
              <a:gd name="connsiteY43" fmla="*/ 6971 h 10000"/>
              <a:gd name="connsiteX44" fmla="*/ 5554 w 10000"/>
              <a:gd name="connsiteY44" fmla="*/ 7052 h 10000"/>
              <a:gd name="connsiteX45" fmla="*/ 5401 w 10000"/>
              <a:gd name="connsiteY45" fmla="*/ 7276 h 10000"/>
              <a:gd name="connsiteX46" fmla="*/ 7381 w 10000"/>
              <a:gd name="connsiteY46" fmla="*/ 7294 h 10000"/>
              <a:gd name="connsiteX47" fmla="*/ 8070 w 10000"/>
              <a:gd name="connsiteY47" fmla="*/ 7674 h 10000"/>
              <a:gd name="connsiteX0" fmla="*/ 8070 w 10155"/>
              <a:gd name="connsiteY0" fmla="*/ 7674 h 10000"/>
              <a:gd name="connsiteX1" fmla="*/ 4822 w 10155"/>
              <a:gd name="connsiteY1" fmla="*/ 9767 h 10000"/>
              <a:gd name="connsiteX2" fmla="*/ 2559 w 10155"/>
              <a:gd name="connsiteY2" fmla="*/ 9767 h 10000"/>
              <a:gd name="connsiteX3" fmla="*/ 1968 w 10155"/>
              <a:gd name="connsiteY3" fmla="*/ 9513 h 10000"/>
              <a:gd name="connsiteX4" fmla="*/ 1139 w 10155"/>
              <a:gd name="connsiteY4" fmla="*/ 10000 h 10000"/>
              <a:gd name="connsiteX5" fmla="*/ 787 w 10155"/>
              <a:gd name="connsiteY5" fmla="*/ 9576 h 10000"/>
              <a:gd name="connsiteX6" fmla="*/ 787 w 10155"/>
              <a:gd name="connsiteY6" fmla="*/ 9006 h 10000"/>
              <a:gd name="connsiteX7" fmla="*/ 2264 w 10155"/>
              <a:gd name="connsiteY7" fmla="*/ 8117 h 10000"/>
              <a:gd name="connsiteX8" fmla="*/ 1673 w 10155"/>
              <a:gd name="connsiteY8" fmla="*/ 7610 h 10000"/>
              <a:gd name="connsiteX9" fmla="*/ 2264 w 10155"/>
              <a:gd name="connsiteY9" fmla="*/ 7166 h 10000"/>
              <a:gd name="connsiteX10" fmla="*/ 1729 w 10155"/>
              <a:gd name="connsiteY10" fmla="*/ 7400 h 10000"/>
              <a:gd name="connsiteX11" fmla="*/ 1711 w 10155"/>
              <a:gd name="connsiteY11" fmla="*/ 7448 h 10000"/>
              <a:gd name="connsiteX12" fmla="*/ 347 w 10155"/>
              <a:gd name="connsiteY12" fmla="*/ 8423 h 10000"/>
              <a:gd name="connsiteX13" fmla="*/ 69 w 10155"/>
              <a:gd name="connsiteY13" fmla="*/ 8266 h 10000"/>
              <a:gd name="connsiteX14" fmla="*/ 301 w 10155"/>
              <a:gd name="connsiteY14" fmla="*/ 7331 h 10000"/>
              <a:gd name="connsiteX15" fmla="*/ 802 w 10155"/>
              <a:gd name="connsiteY15" fmla="*/ 6701 h 10000"/>
              <a:gd name="connsiteX16" fmla="*/ 591 w 10155"/>
              <a:gd name="connsiteY16" fmla="*/ 6405 h 10000"/>
              <a:gd name="connsiteX17" fmla="*/ 0 w 10155"/>
              <a:gd name="connsiteY17" fmla="*/ 6405 h 10000"/>
              <a:gd name="connsiteX18" fmla="*/ 1496 w 10155"/>
              <a:gd name="connsiteY18" fmla="*/ 5231 h 10000"/>
              <a:gd name="connsiteX19" fmla="*/ 1116 w 10155"/>
              <a:gd name="connsiteY19" fmla="*/ 5164 h 10000"/>
              <a:gd name="connsiteX20" fmla="*/ 807 w 10155"/>
              <a:gd name="connsiteY20" fmla="*/ 5099 h 10000"/>
              <a:gd name="connsiteX21" fmla="*/ 0 w 10155"/>
              <a:gd name="connsiteY21" fmla="*/ 5011 h 10000"/>
              <a:gd name="connsiteX22" fmla="*/ 885 w 10155"/>
              <a:gd name="connsiteY22" fmla="*/ 4249 h 10000"/>
              <a:gd name="connsiteX23" fmla="*/ 885 w 10155"/>
              <a:gd name="connsiteY23" fmla="*/ 3679 h 10000"/>
              <a:gd name="connsiteX24" fmla="*/ 1772 w 10155"/>
              <a:gd name="connsiteY24" fmla="*/ 3742 h 10000"/>
              <a:gd name="connsiteX25" fmla="*/ 1673 w 10155"/>
              <a:gd name="connsiteY25" fmla="*/ 2790 h 10000"/>
              <a:gd name="connsiteX26" fmla="*/ 985 w 10155"/>
              <a:gd name="connsiteY26" fmla="*/ 2601 h 10000"/>
              <a:gd name="connsiteX27" fmla="*/ 2066 w 10155"/>
              <a:gd name="connsiteY27" fmla="*/ 1776 h 10000"/>
              <a:gd name="connsiteX28" fmla="*/ 3346 w 10155"/>
              <a:gd name="connsiteY28" fmla="*/ 1839 h 10000"/>
              <a:gd name="connsiteX29" fmla="*/ 3346 w 10155"/>
              <a:gd name="connsiteY29" fmla="*/ 888 h 10000"/>
              <a:gd name="connsiteX30" fmla="*/ 3838 w 10155"/>
              <a:gd name="connsiteY30" fmla="*/ 0 h 10000"/>
              <a:gd name="connsiteX31" fmla="*/ 4428 w 10155"/>
              <a:gd name="connsiteY31" fmla="*/ 0 h 10000"/>
              <a:gd name="connsiteX32" fmla="*/ 4428 w 10155"/>
              <a:gd name="connsiteY32" fmla="*/ 444 h 10000"/>
              <a:gd name="connsiteX33" fmla="*/ 8659 w 10155"/>
              <a:gd name="connsiteY33" fmla="*/ 500 h 10000"/>
              <a:gd name="connsiteX34" fmla="*/ 5115 w 10155"/>
              <a:gd name="connsiteY34" fmla="*/ 2786 h 10000"/>
              <a:gd name="connsiteX35" fmla="*/ 5215 w 10155"/>
              <a:gd name="connsiteY35" fmla="*/ 2854 h 10000"/>
              <a:gd name="connsiteX36" fmla="*/ 10155 w 10155"/>
              <a:gd name="connsiteY36" fmla="*/ 3102 h 10000"/>
              <a:gd name="connsiteX37" fmla="*/ 7971 w 10155"/>
              <a:gd name="connsiteY37" fmla="*/ 5834 h 10000"/>
              <a:gd name="connsiteX38" fmla="*/ 7839 w 10155"/>
              <a:gd name="connsiteY38" fmla="*/ 6086 h 10000"/>
              <a:gd name="connsiteX39" fmla="*/ 7747 w 10155"/>
              <a:gd name="connsiteY39" fmla="*/ 6397 h 10000"/>
              <a:gd name="connsiteX40" fmla="*/ 7475 w 10155"/>
              <a:gd name="connsiteY40" fmla="*/ 6870 h 10000"/>
              <a:gd name="connsiteX41" fmla="*/ 7160 w 10155"/>
              <a:gd name="connsiteY41" fmla="*/ 7036 h 10000"/>
              <a:gd name="connsiteX42" fmla="*/ 6138 w 10155"/>
              <a:gd name="connsiteY42" fmla="*/ 7087 h 10000"/>
              <a:gd name="connsiteX43" fmla="*/ 5460 w 10155"/>
              <a:gd name="connsiteY43" fmla="*/ 6971 h 10000"/>
              <a:gd name="connsiteX44" fmla="*/ 5554 w 10155"/>
              <a:gd name="connsiteY44" fmla="*/ 7052 h 10000"/>
              <a:gd name="connsiteX45" fmla="*/ 5401 w 10155"/>
              <a:gd name="connsiteY45" fmla="*/ 7276 h 10000"/>
              <a:gd name="connsiteX46" fmla="*/ 7381 w 10155"/>
              <a:gd name="connsiteY46" fmla="*/ 7294 h 10000"/>
              <a:gd name="connsiteX47" fmla="*/ 8070 w 10155"/>
              <a:gd name="connsiteY47" fmla="*/ 7674 h 10000"/>
              <a:gd name="connsiteX0" fmla="*/ 8070 w 10155"/>
              <a:gd name="connsiteY0" fmla="*/ 7674 h 10000"/>
              <a:gd name="connsiteX1" fmla="*/ 4822 w 10155"/>
              <a:gd name="connsiteY1" fmla="*/ 9767 h 10000"/>
              <a:gd name="connsiteX2" fmla="*/ 2559 w 10155"/>
              <a:gd name="connsiteY2" fmla="*/ 9767 h 10000"/>
              <a:gd name="connsiteX3" fmla="*/ 1968 w 10155"/>
              <a:gd name="connsiteY3" fmla="*/ 9513 h 10000"/>
              <a:gd name="connsiteX4" fmla="*/ 1139 w 10155"/>
              <a:gd name="connsiteY4" fmla="*/ 10000 h 10000"/>
              <a:gd name="connsiteX5" fmla="*/ 787 w 10155"/>
              <a:gd name="connsiteY5" fmla="*/ 9576 h 10000"/>
              <a:gd name="connsiteX6" fmla="*/ 787 w 10155"/>
              <a:gd name="connsiteY6" fmla="*/ 9006 h 10000"/>
              <a:gd name="connsiteX7" fmla="*/ 2264 w 10155"/>
              <a:gd name="connsiteY7" fmla="*/ 8117 h 10000"/>
              <a:gd name="connsiteX8" fmla="*/ 1673 w 10155"/>
              <a:gd name="connsiteY8" fmla="*/ 7610 h 10000"/>
              <a:gd name="connsiteX9" fmla="*/ 2264 w 10155"/>
              <a:gd name="connsiteY9" fmla="*/ 7166 h 10000"/>
              <a:gd name="connsiteX10" fmla="*/ 1729 w 10155"/>
              <a:gd name="connsiteY10" fmla="*/ 7400 h 10000"/>
              <a:gd name="connsiteX11" fmla="*/ 1711 w 10155"/>
              <a:gd name="connsiteY11" fmla="*/ 7448 h 10000"/>
              <a:gd name="connsiteX12" fmla="*/ 347 w 10155"/>
              <a:gd name="connsiteY12" fmla="*/ 8423 h 10000"/>
              <a:gd name="connsiteX13" fmla="*/ 69 w 10155"/>
              <a:gd name="connsiteY13" fmla="*/ 8266 h 10000"/>
              <a:gd name="connsiteX14" fmla="*/ 301 w 10155"/>
              <a:gd name="connsiteY14" fmla="*/ 7331 h 10000"/>
              <a:gd name="connsiteX15" fmla="*/ 802 w 10155"/>
              <a:gd name="connsiteY15" fmla="*/ 6701 h 10000"/>
              <a:gd name="connsiteX16" fmla="*/ 591 w 10155"/>
              <a:gd name="connsiteY16" fmla="*/ 6405 h 10000"/>
              <a:gd name="connsiteX17" fmla="*/ 0 w 10155"/>
              <a:gd name="connsiteY17" fmla="*/ 6405 h 10000"/>
              <a:gd name="connsiteX18" fmla="*/ 1496 w 10155"/>
              <a:gd name="connsiteY18" fmla="*/ 5231 h 10000"/>
              <a:gd name="connsiteX19" fmla="*/ 1116 w 10155"/>
              <a:gd name="connsiteY19" fmla="*/ 5164 h 10000"/>
              <a:gd name="connsiteX20" fmla="*/ 807 w 10155"/>
              <a:gd name="connsiteY20" fmla="*/ 5099 h 10000"/>
              <a:gd name="connsiteX21" fmla="*/ 0 w 10155"/>
              <a:gd name="connsiteY21" fmla="*/ 5011 h 10000"/>
              <a:gd name="connsiteX22" fmla="*/ 885 w 10155"/>
              <a:gd name="connsiteY22" fmla="*/ 4249 h 10000"/>
              <a:gd name="connsiteX23" fmla="*/ 885 w 10155"/>
              <a:gd name="connsiteY23" fmla="*/ 3679 h 10000"/>
              <a:gd name="connsiteX24" fmla="*/ 1772 w 10155"/>
              <a:gd name="connsiteY24" fmla="*/ 3742 h 10000"/>
              <a:gd name="connsiteX25" fmla="*/ 1673 w 10155"/>
              <a:gd name="connsiteY25" fmla="*/ 2790 h 10000"/>
              <a:gd name="connsiteX26" fmla="*/ 985 w 10155"/>
              <a:gd name="connsiteY26" fmla="*/ 2601 h 10000"/>
              <a:gd name="connsiteX27" fmla="*/ 2066 w 10155"/>
              <a:gd name="connsiteY27" fmla="*/ 1776 h 10000"/>
              <a:gd name="connsiteX28" fmla="*/ 3346 w 10155"/>
              <a:gd name="connsiteY28" fmla="*/ 1839 h 10000"/>
              <a:gd name="connsiteX29" fmla="*/ 3346 w 10155"/>
              <a:gd name="connsiteY29" fmla="*/ 888 h 10000"/>
              <a:gd name="connsiteX30" fmla="*/ 3838 w 10155"/>
              <a:gd name="connsiteY30" fmla="*/ 0 h 10000"/>
              <a:gd name="connsiteX31" fmla="*/ 4428 w 10155"/>
              <a:gd name="connsiteY31" fmla="*/ 0 h 10000"/>
              <a:gd name="connsiteX32" fmla="*/ 4428 w 10155"/>
              <a:gd name="connsiteY32" fmla="*/ 444 h 10000"/>
              <a:gd name="connsiteX33" fmla="*/ 8659 w 10155"/>
              <a:gd name="connsiteY33" fmla="*/ 500 h 10000"/>
              <a:gd name="connsiteX34" fmla="*/ 5115 w 10155"/>
              <a:gd name="connsiteY34" fmla="*/ 2786 h 10000"/>
              <a:gd name="connsiteX35" fmla="*/ 5215 w 10155"/>
              <a:gd name="connsiteY35" fmla="*/ 2854 h 10000"/>
              <a:gd name="connsiteX36" fmla="*/ 10155 w 10155"/>
              <a:gd name="connsiteY36" fmla="*/ 3102 h 10000"/>
              <a:gd name="connsiteX37" fmla="*/ 7971 w 10155"/>
              <a:gd name="connsiteY37" fmla="*/ 5834 h 10000"/>
              <a:gd name="connsiteX38" fmla="*/ 7839 w 10155"/>
              <a:gd name="connsiteY38" fmla="*/ 6086 h 10000"/>
              <a:gd name="connsiteX39" fmla="*/ 7747 w 10155"/>
              <a:gd name="connsiteY39" fmla="*/ 6397 h 10000"/>
              <a:gd name="connsiteX40" fmla="*/ 7475 w 10155"/>
              <a:gd name="connsiteY40" fmla="*/ 6870 h 10000"/>
              <a:gd name="connsiteX41" fmla="*/ 7160 w 10155"/>
              <a:gd name="connsiteY41" fmla="*/ 7036 h 10000"/>
              <a:gd name="connsiteX42" fmla="*/ 6138 w 10155"/>
              <a:gd name="connsiteY42" fmla="*/ 7087 h 10000"/>
              <a:gd name="connsiteX43" fmla="*/ 5460 w 10155"/>
              <a:gd name="connsiteY43" fmla="*/ 6971 h 10000"/>
              <a:gd name="connsiteX44" fmla="*/ 5554 w 10155"/>
              <a:gd name="connsiteY44" fmla="*/ 7052 h 10000"/>
              <a:gd name="connsiteX45" fmla="*/ 5401 w 10155"/>
              <a:gd name="connsiteY45" fmla="*/ 7276 h 10000"/>
              <a:gd name="connsiteX46" fmla="*/ 7381 w 10155"/>
              <a:gd name="connsiteY46" fmla="*/ 7294 h 10000"/>
              <a:gd name="connsiteX47" fmla="*/ 8070 w 10155"/>
              <a:gd name="connsiteY47" fmla="*/ 7674 h 10000"/>
              <a:gd name="connsiteX0" fmla="*/ 8070 w 10155"/>
              <a:gd name="connsiteY0" fmla="*/ 7674 h 10000"/>
              <a:gd name="connsiteX1" fmla="*/ 4822 w 10155"/>
              <a:gd name="connsiteY1" fmla="*/ 9767 h 10000"/>
              <a:gd name="connsiteX2" fmla="*/ 2559 w 10155"/>
              <a:gd name="connsiteY2" fmla="*/ 9767 h 10000"/>
              <a:gd name="connsiteX3" fmla="*/ 1968 w 10155"/>
              <a:gd name="connsiteY3" fmla="*/ 9513 h 10000"/>
              <a:gd name="connsiteX4" fmla="*/ 1139 w 10155"/>
              <a:gd name="connsiteY4" fmla="*/ 10000 h 10000"/>
              <a:gd name="connsiteX5" fmla="*/ 787 w 10155"/>
              <a:gd name="connsiteY5" fmla="*/ 9576 h 10000"/>
              <a:gd name="connsiteX6" fmla="*/ 787 w 10155"/>
              <a:gd name="connsiteY6" fmla="*/ 9006 h 10000"/>
              <a:gd name="connsiteX7" fmla="*/ 2264 w 10155"/>
              <a:gd name="connsiteY7" fmla="*/ 8117 h 10000"/>
              <a:gd name="connsiteX8" fmla="*/ 1673 w 10155"/>
              <a:gd name="connsiteY8" fmla="*/ 7610 h 10000"/>
              <a:gd name="connsiteX9" fmla="*/ 2264 w 10155"/>
              <a:gd name="connsiteY9" fmla="*/ 7166 h 10000"/>
              <a:gd name="connsiteX10" fmla="*/ 1729 w 10155"/>
              <a:gd name="connsiteY10" fmla="*/ 7400 h 10000"/>
              <a:gd name="connsiteX11" fmla="*/ 1711 w 10155"/>
              <a:gd name="connsiteY11" fmla="*/ 7448 h 10000"/>
              <a:gd name="connsiteX12" fmla="*/ 347 w 10155"/>
              <a:gd name="connsiteY12" fmla="*/ 8423 h 10000"/>
              <a:gd name="connsiteX13" fmla="*/ 69 w 10155"/>
              <a:gd name="connsiteY13" fmla="*/ 8266 h 10000"/>
              <a:gd name="connsiteX14" fmla="*/ 301 w 10155"/>
              <a:gd name="connsiteY14" fmla="*/ 7331 h 10000"/>
              <a:gd name="connsiteX15" fmla="*/ 802 w 10155"/>
              <a:gd name="connsiteY15" fmla="*/ 6701 h 10000"/>
              <a:gd name="connsiteX16" fmla="*/ 591 w 10155"/>
              <a:gd name="connsiteY16" fmla="*/ 6405 h 10000"/>
              <a:gd name="connsiteX17" fmla="*/ 0 w 10155"/>
              <a:gd name="connsiteY17" fmla="*/ 6405 h 10000"/>
              <a:gd name="connsiteX18" fmla="*/ 1496 w 10155"/>
              <a:gd name="connsiteY18" fmla="*/ 5231 h 10000"/>
              <a:gd name="connsiteX19" fmla="*/ 1116 w 10155"/>
              <a:gd name="connsiteY19" fmla="*/ 5164 h 10000"/>
              <a:gd name="connsiteX20" fmla="*/ 646 w 10155"/>
              <a:gd name="connsiteY20" fmla="*/ 5261 h 10000"/>
              <a:gd name="connsiteX21" fmla="*/ 0 w 10155"/>
              <a:gd name="connsiteY21" fmla="*/ 5011 h 10000"/>
              <a:gd name="connsiteX22" fmla="*/ 885 w 10155"/>
              <a:gd name="connsiteY22" fmla="*/ 4249 h 10000"/>
              <a:gd name="connsiteX23" fmla="*/ 885 w 10155"/>
              <a:gd name="connsiteY23" fmla="*/ 3679 h 10000"/>
              <a:gd name="connsiteX24" fmla="*/ 1772 w 10155"/>
              <a:gd name="connsiteY24" fmla="*/ 3742 h 10000"/>
              <a:gd name="connsiteX25" fmla="*/ 1673 w 10155"/>
              <a:gd name="connsiteY25" fmla="*/ 2790 h 10000"/>
              <a:gd name="connsiteX26" fmla="*/ 985 w 10155"/>
              <a:gd name="connsiteY26" fmla="*/ 2601 h 10000"/>
              <a:gd name="connsiteX27" fmla="*/ 2066 w 10155"/>
              <a:gd name="connsiteY27" fmla="*/ 1776 h 10000"/>
              <a:gd name="connsiteX28" fmla="*/ 3346 w 10155"/>
              <a:gd name="connsiteY28" fmla="*/ 1839 h 10000"/>
              <a:gd name="connsiteX29" fmla="*/ 3346 w 10155"/>
              <a:gd name="connsiteY29" fmla="*/ 888 h 10000"/>
              <a:gd name="connsiteX30" fmla="*/ 3838 w 10155"/>
              <a:gd name="connsiteY30" fmla="*/ 0 h 10000"/>
              <a:gd name="connsiteX31" fmla="*/ 4428 w 10155"/>
              <a:gd name="connsiteY31" fmla="*/ 0 h 10000"/>
              <a:gd name="connsiteX32" fmla="*/ 4428 w 10155"/>
              <a:gd name="connsiteY32" fmla="*/ 444 h 10000"/>
              <a:gd name="connsiteX33" fmla="*/ 8659 w 10155"/>
              <a:gd name="connsiteY33" fmla="*/ 500 h 10000"/>
              <a:gd name="connsiteX34" fmla="*/ 5115 w 10155"/>
              <a:gd name="connsiteY34" fmla="*/ 2786 h 10000"/>
              <a:gd name="connsiteX35" fmla="*/ 5215 w 10155"/>
              <a:gd name="connsiteY35" fmla="*/ 2854 h 10000"/>
              <a:gd name="connsiteX36" fmla="*/ 10155 w 10155"/>
              <a:gd name="connsiteY36" fmla="*/ 3102 h 10000"/>
              <a:gd name="connsiteX37" fmla="*/ 7971 w 10155"/>
              <a:gd name="connsiteY37" fmla="*/ 5834 h 10000"/>
              <a:gd name="connsiteX38" fmla="*/ 7839 w 10155"/>
              <a:gd name="connsiteY38" fmla="*/ 6086 h 10000"/>
              <a:gd name="connsiteX39" fmla="*/ 7747 w 10155"/>
              <a:gd name="connsiteY39" fmla="*/ 6397 h 10000"/>
              <a:gd name="connsiteX40" fmla="*/ 7475 w 10155"/>
              <a:gd name="connsiteY40" fmla="*/ 6870 h 10000"/>
              <a:gd name="connsiteX41" fmla="*/ 7160 w 10155"/>
              <a:gd name="connsiteY41" fmla="*/ 7036 h 10000"/>
              <a:gd name="connsiteX42" fmla="*/ 6138 w 10155"/>
              <a:gd name="connsiteY42" fmla="*/ 7087 h 10000"/>
              <a:gd name="connsiteX43" fmla="*/ 5460 w 10155"/>
              <a:gd name="connsiteY43" fmla="*/ 6971 h 10000"/>
              <a:gd name="connsiteX44" fmla="*/ 5554 w 10155"/>
              <a:gd name="connsiteY44" fmla="*/ 7052 h 10000"/>
              <a:gd name="connsiteX45" fmla="*/ 5401 w 10155"/>
              <a:gd name="connsiteY45" fmla="*/ 7276 h 10000"/>
              <a:gd name="connsiteX46" fmla="*/ 7381 w 10155"/>
              <a:gd name="connsiteY46" fmla="*/ 7294 h 10000"/>
              <a:gd name="connsiteX47" fmla="*/ 8070 w 10155"/>
              <a:gd name="connsiteY47" fmla="*/ 767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0155" h="10000">
                <a:moveTo>
                  <a:pt x="8070" y="7674"/>
                </a:moveTo>
                <a:lnTo>
                  <a:pt x="4822" y="9767"/>
                </a:lnTo>
                <a:lnTo>
                  <a:pt x="2559" y="9767"/>
                </a:lnTo>
                <a:lnTo>
                  <a:pt x="1968" y="9513"/>
                </a:lnTo>
                <a:lnTo>
                  <a:pt x="1139" y="10000"/>
                </a:lnTo>
                <a:lnTo>
                  <a:pt x="787" y="9576"/>
                </a:lnTo>
                <a:lnTo>
                  <a:pt x="787" y="9006"/>
                </a:lnTo>
                <a:lnTo>
                  <a:pt x="2264" y="8117"/>
                </a:lnTo>
                <a:lnTo>
                  <a:pt x="1673" y="7610"/>
                </a:lnTo>
                <a:lnTo>
                  <a:pt x="2264" y="7166"/>
                </a:lnTo>
                <a:lnTo>
                  <a:pt x="1729" y="7400"/>
                </a:lnTo>
                <a:cubicBezTo>
                  <a:pt x="1664" y="7231"/>
                  <a:pt x="1776" y="7617"/>
                  <a:pt x="1711" y="7448"/>
                </a:cubicBezTo>
                <a:lnTo>
                  <a:pt x="347" y="8423"/>
                </a:lnTo>
                <a:lnTo>
                  <a:pt x="69" y="8266"/>
                </a:lnTo>
                <a:cubicBezTo>
                  <a:pt x="146" y="7954"/>
                  <a:pt x="224" y="7643"/>
                  <a:pt x="301" y="7331"/>
                </a:cubicBezTo>
                <a:lnTo>
                  <a:pt x="802" y="6701"/>
                </a:lnTo>
                <a:cubicBezTo>
                  <a:pt x="732" y="6602"/>
                  <a:pt x="661" y="6504"/>
                  <a:pt x="591" y="6405"/>
                </a:cubicBezTo>
                <a:lnTo>
                  <a:pt x="0" y="6405"/>
                </a:lnTo>
                <a:lnTo>
                  <a:pt x="1496" y="5231"/>
                </a:lnTo>
                <a:cubicBezTo>
                  <a:pt x="1710" y="4979"/>
                  <a:pt x="902" y="5416"/>
                  <a:pt x="1116" y="5164"/>
                </a:cubicBezTo>
                <a:lnTo>
                  <a:pt x="646" y="5261"/>
                </a:lnTo>
                <a:lnTo>
                  <a:pt x="0" y="5011"/>
                </a:lnTo>
                <a:lnTo>
                  <a:pt x="885" y="4249"/>
                </a:lnTo>
                <a:lnTo>
                  <a:pt x="885" y="3679"/>
                </a:lnTo>
                <a:lnTo>
                  <a:pt x="1772" y="3742"/>
                </a:lnTo>
                <a:cubicBezTo>
                  <a:pt x="1739" y="3424"/>
                  <a:pt x="1706" y="3108"/>
                  <a:pt x="1673" y="2790"/>
                </a:cubicBezTo>
                <a:lnTo>
                  <a:pt x="985" y="2601"/>
                </a:lnTo>
                <a:lnTo>
                  <a:pt x="2066" y="1776"/>
                </a:lnTo>
                <a:lnTo>
                  <a:pt x="3346" y="1839"/>
                </a:lnTo>
                <a:lnTo>
                  <a:pt x="3346" y="888"/>
                </a:lnTo>
                <a:lnTo>
                  <a:pt x="3838" y="0"/>
                </a:lnTo>
                <a:lnTo>
                  <a:pt x="4428" y="0"/>
                </a:lnTo>
                <a:lnTo>
                  <a:pt x="4428" y="444"/>
                </a:lnTo>
                <a:lnTo>
                  <a:pt x="8659" y="500"/>
                </a:lnTo>
                <a:lnTo>
                  <a:pt x="5115" y="2786"/>
                </a:lnTo>
                <a:cubicBezTo>
                  <a:pt x="5148" y="2809"/>
                  <a:pt x="5182" y="2831"/>
                  <a:pt x="5215" y="2854"/>
                </a:cubicBezTo>
                <a:lnTo>
                  <a:pt x="10155" y="3102"/>
                </a:lnTo>
                <a:cubicBezTo>
                  <a:pt x="9174" y="5096"/>
                  <a:pt x="8647" y="4882"/>
                  <a:pt x="7971" y="5834"/>
                </a:cubicBezTo>
                <a:lnTo>
                  <a:pt x="7839" y="6086"/>
                </a:lnTo>
                <a:cubicBezTo>
                  <a:pt x="7808" y="6189"/>
                  <a:pt x="7778" y="6293"/>
                  <a:pt x="7747" y="6397"/>
                </a:cubicBezTo>
                <a:lnTo>
                  <a:pt x="7475" y="6870"/>
                </a:lnTo>
                <a:lnTo>
                  <a:pt x="7160" y="7036"/>
                </a:lnTo>
                <a:lnTo>
                  <a:pt x="6138" y="7087"/>
                </a:lnTo>
                <a:lnTo>
                  <a:pt x="5460" y="6971"/>
                </a:lnTo>
                <a:cubicBezTo>
                  <a:pt x="5491" y="6998"/>
                  <a:pt x="5523" y="7024"/>
                  <a:pt x="5554" y="7052"/>
                </a:cubicBezTo>
                <a:lnTo>
                  <a:pt x="5401" y="7276"/>
                </a:lnTo>
                <a:lnTo>
                  <a:pt x="7381" y="7294"/>
                </a:lnTo>
                <a:lnTo>
                  <a:pt x="8070" y="7674"/>
                </a:lnTo>
                <a:close/>
              </a:path>
            </a:pathLst>
          </a:custGeom>
          <a:solidFill>
            <a:srgbClr val="FAFAFA"/>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GB" dirty="0"/>
          </a:p>
        </p:txBody>
      </p:sp>
      <p:sp>
        <p:nvSpPr>
          <p:cNvPr id="47" name="TT"/>
          <p:cNvSpPr>
            <a:spLocks/>
          </p:cNvSpPr>
          <p:nvPr/>
        </p:nvSpPr>
        <p:spPr bwMode="auto">
          <a:xfrm rot="460133">
            <a:off x="5499100" y="3176588"/>
            <a:ext cx="739775" cy="1141412"/>
          </a:xfrm>
          <a:custGeom>
            <a:avLst/>
            <a:gdLst>
              <a:gd name="T0" fmla="*/ 2147483647 w 213"/>
              <a:gd name="T1" fmla="*/ 2147483647 h 335"/>
              <a:gd name="T2" fmla="*/ 2147483647 w 213"/>
              <a:gd name="T3" fmla="*/ 2147483647 h 335"/>
              <a:gd name="T4" fmla="*/ 2147483647 w 213"/>
              <a:gd name="T5" fmla="*/ 2147483647 h 335"/>
              <a:gd name="T6" fmla="*/ 2147483647 w 213"/>
              <a:gd name="T7" fmla="*/ 2147483647 h 335"/>
              <a:gd name="T8" fmla="*/ 2147483647 w 213"/>
              <a:gd name="T9" fmla="*/ 2147483647 h 335"/>
              <a:gd name="T10" fmla="*/ 2147483647 w 213"/>
              <a:gd name="T11" fmla="*/ 2147483647 h 335"/>
              <a:gd name="T12" fmla="*/ 2147483647 w 213"/>
              <a:gd name="T13" fmla="*/ 2147483647 h 335"/>
              <a:gd name="T14" fmla="*/ 2147483647 w 213"/>
              <a:gd name="T15" fmla="*/ 2147483647 h 335"/>
              <a:gd name="T16" fmla="*/ 2147483647 w 213"/>
              <a:gd name="T17" fmla="*/ 2147483647 h 335"/>
              <a:gd name="T18" fmla="*/ 2147483647 w 213"/>
              <a:gd name="T19" fmla="*/ 2147483647 h 335"/>
              <a:gd name="T20" fmla="*/ 2147483647 w 213"/>
              <a:gd name="T21" fmla="*/ 2147483647 h 335"/>
              <a:gd name="T22" fmla="*/ 2147483647 w 213"/>
              <a:gd name="T23" fmla="*/ 2147483647 h 335"/>
              <a:gd name="T24" fmla="*/ 2147483647 w 213"/>
              <a:gd name="T25" fmla="*/ 2147483647 h 335"/>
              <a:gd name="T26" fmla="*/ 2147483647 w 213"/>
              <a:gd name="T27" fmla="*/ 2147483647 h 335"/>
              <a:gd name="T28" fmla="*/ 2147483647 w 213"/>
              <a:gd name="T29" fmla="*/ 2147483647 h 335"/>
              <a:gd name="T30" fmla="*/ 2147483647 w 213"/>
              <a:gd name="T31" fmla="*/ 2147483647 h 335"/>
              <a:gd name="T32" fmla="*/ 2147483647 w 213"/>
              <a:gd name="T33" fmla="*/ 2147483647 h 335"/>
              <a:gd name="T34" fmla="*/ 2147483647 w 213"/>
              <a:gd name="T35" fmla="*/ 2147483647 h 335"/>
              <a:gd name="T36" fmla="*/ 2147483647 w 213"/>
              <a:gd name="T37" fmla="*/ 2147483647 h 335"/>
              <a:gd name="T38" fmla="*/ 2147483647 w 213"/>
              <a:gd name="T39" fmla="*/ 2147483647 h 335"/>
              <a:gd name="T40" fmla="*/ 2147483647 w 213"/>
              <a:gd name="T41" fmla="*/ 2147483647 h 335"/>
              <a:gd name="T42" fmla="*/ 2147483647 w 213"/>
              <a:gd name="T43" fmla="*/ 2147483647 h 335"/>
              <a:gd name="T44" fmla="*/ 2147483647 w 213"/>
              <a:gd name="T45" fmla="*/ 2147483647 h 335"/>
              <a:gd name="T46" fmla="*/ 2147483647 w 213"/>
              <a:gd name="T47" fmla="*/ 2147483647 h 335"/>
              <a:gd name="T48" fmla="*/ 2147483647 w 213"/>
              <a:gd name="T49" fmla="*/ 2147483647 h 335"/>
              <a:gd name="T50" fmla="*/ 2147483647 w 213"/>
              <a:gd name="T51" fmla="*/ 2147483647 h 335"/>
              <a:gd name="T52" fmla="*/ 2147483647 w 213"/>
              <a:gd name="T53" fmla="*/ 2147483647 h 335"/>
              <a:gd name="T54" fmla="*/ 2147483647 w 213"/>
              <a:gd name="T55" fmla="*/ 2147483647 h 335"/>
              <a:gd name="T56" fmla="*/ 2147483647 w 213"/>
              <a:gd name="T57" fmla="*/ 2147483647 h 335"/>
              <a:gd name="T58" fmla="*/ 2147483647 w 213"/>
              <a:gd name="T59" fmla="*/ 2147483647 h 335"/>
              <a:gd name="T60" fmla="*/ 2147483647 w 213"/>
              <a:gd name="T61" fmla="*/ 2147483647 h 335"/>
              <a:gd name="T62" fmla="*/ 2147483647 w 213"/>
              <a:gd name="T63" fmla="*/ 2147483647 h 335"/>
              <a:gd name="T64" fmla="*/ 2147483647 w 213"/>
              <a:gd name="T65" fmla="*/ 2147483647 h 335"/>
              <a:gd name="T66" fmla="*/ 2147483647 w 213"/>
              <a:gd name="T67" fmla="*/ 2147483647 h 335"/>
              <a:gd name="T68" fmla="*/ 2147483647 w 213"/>
              <a:gd name="T69" fmla="*/ 2147483647 h 335"/>
              <a:gd name="T70" fmla="*/ 2147483647 w 213"/>
              <a:gd name="T71" fmla="*/ 2147483647 h 335"/>
              <a:gd name="T72" fmla="*/ 2147483647 w 213"/>
              <a:gd name="T73" fmla="*/ 2147483647 h 335"/>
              <a:gd name="T74" fmla="*/ 2147483647 w 213"/>
              <a:gd name="T75" fmla="*/ 2147483647 h 335"/>
              <a:gd name="T76" fmla="*/ 2147483647 w 213"/>
              <a:gd name="T77" fmla="*/ 2147483647 h 335"/>
              <a:gd name="T78" fmla="*/ 2147483647 w 213"/>
              <a:gd name="T79" fmla="*/ 2147483647 h 335"/>
              <a:gd name="T80" fmla="*/ 2147483647 w 213"/>
              <a:gd name="T81" fmla="*/ 2147483647 h 335"/>
              <a:gd name="T82" fmla="*/ 2147483647 w 213"/>
              <a:gd name="T83" fmla="*/ 2147483647 h 335"/>
              <a:gd name="T84" fmla="*/ 2147483647 w 213"/>
              <a:gd name="T85" fmla="*/ 2147483647 h 335"/>
              <a:gd name="T86" fmla="*/ 2147483647 w 213"/>
              <a:gd name="T87" fmla="*/ 2147483647 h 335"/>
              <a:gd name="T88" fmla="*/ 2147483647 w 213"/>
              <a:gd name="T89" fmla="*/ 2147483647 h 335"/>
              <a:gd name="T90" fmla="*/ 2147483647 w 213"/>
              <a:gd name="T91" fmla="*/ 2147483647 h 33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13"/>
              <a:gd name="T139" fmla="*/ 0 h 335"/>
              <a:gd name="T140" fmla="*/ 213 w 213"/>
              <a:gd name="T141" fmla="*/ 335 h 335"/>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2629 w 10000"/>
              <a:gd name="connsiteY42" fmla="*/ 2411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474 w 10000"/>
              <a:gd name="connsiteY54" fmla="*/ 590 h 10441"/>
              <a:gd name="connsiteX55" fmla="*/ 4601 w 10000"/>
              <a:gd name="connsiteY55" fmla="*/ 769 h 10441"/>
              <a:gd name="connsiteX56" fmla="*/ 4695 w 10000"/>
              <a:gd name="connsiteY56" fmla="*/ 1068 h 10441"/>
              <a:gd name="connsiteX57" fmla="*/ 4413 w 10000"/>
              <a:gd name="connsiteY57" fmla="*/ 1307 h 10441"/>
              <a:gd name="connsiteX58" fmla="*/ 4930 w 10000"/>
              <a:gd name="connsiteY58" fmla="*/ 1187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5446 w 10000"/>
              <a:gd name="connsiteY65" fmla="*/ 2710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2629 w 10000"/>
              <a:gd name="connsiteY42" fmla="*/ 2411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4930 w 10000"/>
              <a:gd name="connsiteY58" fmla="*/ 1187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5446 w 10000"/>
              <a:gd name="connsiteY65" fmla="*/ 2710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2629 w 10000"/>
              <a:gd name="connsiteY42" fmla="*/ 2411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562 w 10000"/>
              <a:gd name="connsiteY58" fmla="*/ 1016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5446 w 10000"/>
              <a:gd name="connsiteY65" fmla="*/ 2710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2629 w 10000"/>
              <a:gd name="connsiteY42" fmla="*/ 2411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562 w 10000"/>
              <a:gd name="connsiteY58" fmla="*/ 1016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6553 w 10000"/>
              <a:gd name="connsiteY65" fmla="*/ 2835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1854 w 10000"/>
              <a:gd name="connsiteY42" fmla="*/ 1859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562 w 10000"/>
              <a:gd name="connsiteY58" fmla="*/ 1016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6553 w 10000"/>
              <a:gd name="connsiteY65" fmla="*/ 2835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1854 w 10000"/>
              <a:gd name="connsiteY42" fmla="*/ 1859 h 10441"/>
              <a:gd name="connsiteX43" fmla="*/ 2180 w 10000"/>
              <a:gd name="connsiteY43" fmla="*/ 1567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562 w 10000"/>
              <a:gd name="connsiteY58" fmla="*/ 1016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6553 w 10000"/>
              <a:gd name="connsiteY65" fmla="*/ 2835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1854 w 10000"/>
              <a:gd name="connsiteY42" fmla="*/ 1859 h 10441"/>
              <a:gd name="connsiteX43" fmla="*/ 2180 w 10000"/>
              <a:gd name="connsiteY43" fmla="*/ 1567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143 w 10000"/>
              <a:gd name="connsiteY58" fmla="*/ 981 h 10441"/>
              <a:gd name="connsiteX59" fmla="*/ 5562 w 10000"/>
              <a:gd name="connsiteY59" fmla="*/ 1016 h 10441"/>
              <a:gd name="connsiteX60" fmla="*/ 5634 w 10000"/>
              <a:gd name="connsiteY60" fmla="*/ 1426 h 10441"/>
              <a:gd name="connsiteX61" fmla="*/ 5915 w 10000"/>
              <a:gd name="connsiteY61" fmla="*/ 1277 h 10441"/>
              <a:gd name="connsiteX62" fmla="*/ 6103 w 10000"/>
              <a:gd name="connsiteY62" fmla="*/ 1605 h 10441"/>
              <a:gd name="connsiteX63" fmla="*/ 5681 w 10000"/>
              <a:gd name="connsiteY63" fmla="*/ 1844 h 10441"/>
              <a:gd name="connsiteX64" fmla="*/ 6009 w 10000"/>
              <a:gd name="connsiteY64" fmla="*/ 1963 h 10441"/>
              <a:gd name="connsiteX65" fmla="*/ 5915 w 10000"/>
              <a:gd name="connsiteY65" fmla="*/ 2381 h 10441"/>
              <a:gd name="connsiteX66" fmla="*/ 6553 w 10000"/>
              <a:gd name="connsiteY66" fmla="*/ 2835 h 10441"/>
              <a:gd name="connsiteX67" fmla="*/ 7042 w 10000"/>
              <a:gd name="connsiteY67" fmla="*/ 3247 h 10441"/>
              <a:gd name="connsiteX68" fmla="*/ 6620 w 10000"/>
              <a:gd name="connsiteY68" fmla="*/ 3486 h 10441"/>
              <a:gd name="connsiteX69" fmla="*/ 6103 w 10000"/>
              <a:gd name="connsiteY69" fmla="*/ 3396 h 10441"/>
              <a:gd name="connsiteX70" fmla="*/ 5634 w 10000"/>
              <a:gd name="connsiteY70" fmla="*/ 3486 h 10441"/>
              <a:gd name="connsiteX71" fmla="*/ 5728 w 10000"/>
              <a:gd name="connsiteY71" fmla="*/ 3754 h 10441"/>
              <a:gd name="connsiteX72" fmla="*/ 6056 w 10000"/>
              <a:gd name="connsiteY72" fmla="*/ 3874 h 10441"/>
              <a:gd name="connsiteX73" fmla="*/ 6150 w 10000"/>
              <a:gd name="connsiteY73" fmla="*/ 4590 h 10441"/>
              <a:gd name="connsiteX74" fmla="*/ 5540 w 10000"/>
              <a:gd name="connsiteY74" fmla="*/ 4620 h 10441"/>
              <a:gd name="connsiteX75" fmla="*/ 5540 w 10000"/>
              <a:gd name="connsiteY75" fmla="*/ 5038 h 10441"/>
              <a:gd name="connsiteX76" fmla="*/ 4601 w 10000"/>
              <a:gd name="connsiteY76" fmla="*/ 5456 h 10441"/>
              <a:gd name="connsiteX77" fmla="*/ 4883 w 10000"/>
              <a:gd name="connsiteY77" fmla="*/ 5844 h 10441"/>
              <a:gd name="connsiteX78" fmla="*/ 4648 w 10000"/>
              <a:gd name="connsiteY78" fmla="*/ 6202 h 10441"/>
              <a:gd name="connsiteX79" fmla="*/ 5446 w 10000"/>
              <a:gd name="connsiteY79" fmla="*/ 6889 h 10441"/>
              <a:gd name="connsiteX80" fmla="*/ 6573 w 10000"/>
              <a:gd name="connsiteY80" fmla="*/ 6889 h 10441"/>
              <a:gd name="connsiteX81" fmla="*/ 7230 w 10000"/>
              <a:gd name="connsiteY81" fmla="*/ 6769 h 10441"/>
              <a:gd name="connsiteX82" fmla="*/ 7793 w 10000"/>
              <a:gd name="connsiteY82" fmla="*/ 6919 h 10441"/>
              <a:gd name="connsiteX83" fmla="*/ 8263 w 10000"/>
              <a:gd name="connsiteY83" fmla="*/ 7307 h 10441"/>
              <a:gd name="connsiteX84" fmla="*/ 8638 w 10000"/>
              <a:gd name="connsiteY84" fmla="*/ 8053 h 10441"/>
              <a:gd name="connsiteX85" fmla="*/ 9014 w 10000"/>
              <a:gd name="connsiteY85" fmla="*/ 8023 h 10441"/>
              <a:gd name="connsiteX86" fmla="*/ 10000 w 10000"/>
              <a:gd name="connsiteY86" fmla="*/ 8769 h 10441"/>
              <a:gd name="connsiteX87" fmla="*/ 8826 w 10000"/>
              <a:gd name="connsiteY87" fmla="*/ 9575 h 10441"/>
              <a:gd name="connsiteX88" fmla="*/ 9296 w 10000"/>
              <a:gd name="connsiteY88" fmla="*/ 10172 h 10441"/>
              <a:gd name="connsiteX89" fmla="*/ 9108 w 10000"/>
              <a:gd name="connsiteY89" fmla="*/ 10411 h 10441"/>
              <a:gd name="connsiteX90" fmla="*/ 8826 w 10000"/>
              <a:gd name="connsiteY90" fmla="*/ 10172 h 10441"/>
              <a:gd name="connsiteX91" fmla="*/ 6948 w 10000"/>
              <a:gd name="connsiteY91" fmla="*/ 10142 h 10441"/>
              <a:gd name="connsiteX92" fmla="*/ 6620 w 10000"/>
              <a:gd name="connsiteY92" fmla="*/ 10441 h 10441"/>
              <a:gd name="connsiteX93" fmla="*/ 6056 w 10000"/>
              <a:gd name="connsiteY93"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1854 w 10000"/>
              <a:gd name="connsiteY42" fmla="*/ 1859 h 10441"/>
              <a:gd name="connsiteX43" fmla="*/ 2180 w 10000"/>
              <a:gd name="connsiteY43" fmla="*/ 1567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876 w 10000"/>
              <a:gd name="connsiteY54" fmla="*/ 100 h 10441"/>
              <a:gd name="connsiteX55" fmla="*/ 4601 w 10000"/>
              <a:gd name="connsiteY55" fmla="*/ 769 h 10441"/>
              <a:gd name="connsiteX56" fmla="*/ 4695 w 10000"/>
              <a:gd name="connsiteY56" fmla="*/ 1068 h 10441"/>
              <a:gd name="connsiteX57" fmla="*/ 4413 w 10000"/>
              <a:gd name="connsiteY57" fmla="*/ 1307 h 10441"/>
              <a:gd name="connsiteX58" fmla="*/ 5143 w 10000"/>
              <a:gd name="connsiteY58" fmla="*/ 981 h 10441"/>
              <a:gd name="connsiteX59" fmla="*/ 5562 w 10000"/>
              <a:gd name="connsiteY59" fmla="*/ 1016 h 10441"/>
              <a:gd name="connsiteX60" fmla="*/ 5634 w 10000"/>
              <a:gd name="connsiteY60" fmla="*/ 1426 h 10441"/>
              <a:gd name="connsiteX61" fmla="*/ 5915 w 10000"/>
              <a:gd name="connsiteY61" fmla="*/ 1277 h 10441"/>
              <a:gd name="connsiteX62" fmla="*/ 6103 w 10000"/>
              <a:gd name="connsiteY62" fmla="*/ 1605 h 10441"/>
              <a:gd name="connsiteX63" fmla="*/ 5681 w 10000"/>
              <a:gd name="connsiteY63" fmla="*/ 1844 h 10441"/>
              <a:gd name="connsiteX64" fmla="*/ 6009 w 10000"/>
              <a:gd name="connsiteY64" fmla="*/ 1963 h 10441"/>
              <a:gd name="connsiteX65" fmla="*/ 5915 w 10000"/>
              <a:gd name="connsiteY65" fmla="*/ 2381 h 10441"/>
              <a:gd name="connsiteX66" fmla="*/ 6553 w 10000"/>
              <a:gd name="connsiteY66" fmla="*/ 2835 h 10441"/>
              <a:gd name="connsiteX67" fmla="*/ 7042 w 10000"/>
              <a:gd name="connsiteY67" fmla="*/ 3247 h 10441"/>
              <a:gd name="connsiteX68" fmla="*/ 6620 w 10000"/>
              <a:gd name="connsiteY68" fmla="*/ 3486 h 10441"/>
              <a:gd name="connsiteX69" fmla="*/ 6103 w 10000"/>
              <a:gd name="connsiteY69" fmla="*/ 3396 h 10441"/>
              <a:gd name="connsiteX70" fmla="*/ 5634 w 10000"/>
              <a:gd name="connsiteY70" fmla="*/ 3486 h 10441"/>
              <a:gd name="connsiteX71" fmla="*/ 5728 w 10000"/>
              <a:gd name="connsiteY71" fmla="*/ 3754 h 10441"/>
              <a:gd name="connsiteX72" fmla="*/ 6056 w 10000"/>
              <a:gd name="connsiteY72" fmla="*/ 3874 h 10441"/>
              <a:gd name="connsiteX73" fmla="*/ 6150 w 10000"/>
              <a:gd name="connsiteY73" fmla="*/ 4590 h 10441"/>
              <a:gd name="connsiteX74" fmla="*/ 5540 w 10000"/>
              <a:gd name="connsiteY74" fmla="*/ 4620 h 10441"/>
              <a:gd name="connsiteX75" fmla="*/ 5540 w 10000"/>
              <a:gd name="connsiteY75" fmla="*/ 5038 h 10441"/>
              <a:gd name="connsiteX76" fmla="*/ 4601 w 10000"/>
              <a:gd name="connsiteY76" fmla="*/ 5456 h 10441"/>
              <a:gd name="connsiteX77" fmla="*/ 4883 w 10000"/>
              <a:gd name="connsiteY77" fmla="*/ 5844 h 10441"/>
              <a:gd name="connsiteX78" fmla="*/ 4648 w 10000"/>
              <a:gd name="connsiteY78" fmla="*/ 6202 h 10441"/>
              <a:gd name="connsiteX79" fmla="*/ 5446 w 10000"/>
              <a:gd name="connsiteY79" fmla="*/ 6889 h 10441"/>
              <a:gd name="connsiteX80" fmla="*/ 6573 w 10000"/>
              <a:gd name="connsiteY80" fmla="*/ 6889 h 10441"/>
              <a:gd name="connsiteX81" fmla="*/ 7230 w 10000"/>
              <a:gd name="connsiteY81" fmla="*/ 6769 h 10441"/>
              <a:gd name="connsiteX82" fmla="*/ 7793 w 10000"/>
              <a:gd name="connsiteY82" fmla="*/ 6919 h 10441"/>
              <a:gd name="connsiteX83" fmla="*/ 8263 w 10000"/>
              <a:gd name="connsiteY83" fmla="*/ 7307 h 10441"/>
              <a:gd name="connsiteX84" fmla="*/ 8638 w 10000"/>
              <a:gd name="connsiteY84" fmla="*/ 8053 h 10441"/>
              <a:gd name="connsiteX85" fmla="*/ 9014 w 10000"/>
              <a:gd name="connsiteY85" fmla="*/ 8023 h 10441"/>
              <a:gd name="connsiteX86" fmla="*/ 10000 w 10000"/>
              <a:gd name="connsiteY86" fmla="*/ 8769 h 10441"/>
              <a:gd name="connsiteX87" fmla="*/ 8826 w 10000"/>
              <a:gd name="connsiteY87" fmla="*/ 9575 h 10441"/>
              <a:gd name="connsiteX88" fmla="*/ 9296 w 10000"/>
              <a:gd name="connsiteY88" fmla="*/ 10172 h 10441"/>
              <a:gd name="connsiteX89" fmla="*/ 9108 w 10000"/>
              <a:gd name="connsiteY89" fmla="*/ 10411 h 10441"/>
              <a:gd name="connsiteX90" fmla="*/ 8826 w 10000"/>
              <a:gd name="connsiteY90" fmla="*/ 10172 h 10441"/>
              <a:gd name="connsiteX91" fmla="*/ 6948 w 10000"/>
              <a:gd name="connsiteY91" fmla="*/ 10142 h 10441"/>
              <a:gd name="connsiteX92" fmla="*/ 6620 w 10000"/>
              <a:gd name="connsiteY92" fmla="*/ 10441 h 10441"/>
              <a:gd name="connsiteX93" fmla="*/ 6056 w 10000"/>
              <a:gd name="connsiteY93" fmla="*/ 10411 h 10441"/>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3146 w 10000"/>
              <a:gd name="connsiteY48" fmla="*/ 1506 h 10760"/>
              <a:gd name="connsiteX49" fmla="*/ 2676 w 10000"/>
              <a:gd name="connsiteY49" fmla="*/ 999 h 10760"/>
              <a:gd name="connsiteX50" fmla="*/ 2300 w 10000"/>
              <a:gd name="connsiteY50" fmla="*/ 1059 h 10760"/>
              <a:gd name="connsiteX51" fmla="*/ 2254 w 10000"/>
              <a:gd name="connsiteY51" fmla="*/ 879 h 10760"/>
              <a:gd name="connsiteX52" fmla="*/ 2629 w 10000"/>
              <a:gd name="connsiteY52" fmla="*/ 760 h 10760"/>
              <a:gd name="connsiteX53" fmla="*/ 2267 w 10000"/>
              <a:gd name="connsiteY53" fmla="*/ 0 h 10760"/>
              <a:gd name="connsiteX54" fmla="*/ 3876 w 10000"/>
              <a:gd name="connsiteY54" fmla="*/ 419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3146 w 10000"/>
              <a:gd name="connsiteY48" fmla="*/ 1506 h 10760"/>
              <a:gd name="connsiteX49" fmla="*/ 2676 w 10000"/>
              <a:gd name="connsiteY49" fmla="*/ 999 h 10760"/>
              <a:gd name="connsiteX50" fmla="*/ 2300 w 10000"/>
              <a:gd name="connsiteY50" fmla="*/ 1059 h 10760"/>
              <a:gd name="connsiteX51" fmla="*/ 2254 w 10000"/>
              <a:gd name="connsiteY51" fmla="*/ 879 h 10760"/>
              <a:gd name="connsiteX52" fmla="*/ 2629 w 10000"/>
              <a:gd name="connsiteY52" fmla="*/ 760 h 10760"/>
              <a:gd name="connsiteX53" fmla="*/ 2267 w 10000"/>
              <a:gd name="connsiteY53" fmla="*/ 0 h 10760"/>
              <a:gd name="connsiteX54" fmla="*/ 3423 w 10000"/>
              <a:gd name="connsiteY54" fmla="*/ 234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676 w 10000"/>
              <a:gd name="connsiteY49" fmla="*/ 999 h 10760"/>
              <a:gd name="connsiteX50" fmla="*/ 2300 w 10000"/>
              <a:gd name="connsiteY50" fmla="*/ 1059 h 10760"/>
              <a:gd name="connsiteX51" fmla="*/ 2254 w 10000"/>
              <a:gd name="connsiteY51" fmla="*/ 879 h 10760"/>
              <a:gd name="connsiteX52" fmla="*/ 2629 w 10000"/>
              <a:gd name="connsiteY52" fmla="*/ 760 h 10760"/>
              <a:gd name="connsiteX53" fmla="*/ 2267 w 10000"/>
              <a:gd name="connsiteY53" fmla="*/ 0 h 10760"/>
              <a:gd name="connsiteX54" fmla="*/ 3423 w 10000"/>
              <a:gd name="connsiteY54" fmla="*/ 234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629 w 10000"/>
              <a:gd name="connsiteY52" fmla="*/ 760 h 10760"/>
              <a:gd name="connsiteX53" fmla="*/ 2267 w 10000"/>
              <a:gd name="connsiteY53" fmla="*/ 0 h 10760"/>
              <a:gd name="connsiteX54" fmla="*/ 3423 w 10000"/>
              <a:gd name="connsiteY54" fmla="*/ 234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423 w 10000"/>
              <a:gd name="connsiteY54" fmla="*/ 234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695 w 10000"/>
              <a:gd name="connsiteY56" fmla="*/ 1387 h 10760"/>
              <a:gd name="connsiteX57" fmla="*/ 4927 w 10000"/>
              <a:gd name="connsiteY57" fmla="*/ 119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695 w 10000"/>
              <a:gd name="connsiteY56" fmla="*/ 1387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728 w 10000"/>
              <a:gd name="connsiteY71" fmla="*/ 4073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986 w 10000"/>
              <a:gd name="connsiteY36" fmla="*/ 2461 h 10760"/>
              <a:gd name="connsiteX37" fmla="*/ 1784 w 10000"/>
              <a:gd name="connsiteY37" fmla="*/ 2461 h 10760"/>
              <a:gd name="connsiteX38" fmla="*/ 1033 w 10000"/>
              <a:gd name="connsiteY38" fmla="*/ 2521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986 w 10000"/>
              <a:gd name="connsiteY36" fmla="*/ 2461 h 10760"/>
              <a:gd name="connsiteX37" fmla="*/ 1784 w 10000"/>
              <a:gd name="connsiteY37" fmla="*/ 2461 h 10760"/>
              <a:gd name="connsiteX38" fmla="*/ 708 w 10000"/>
              <a:gd name="connsiteY38" fmla="*/ 2015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1007 w 10000"/>
              <a:gd name="connsiteY36" fmla="*/ 1999 h 10760"/>
              <a:gd name="connsiteX37" fmla="*/ 1784 w 10000"/>
              <a:gd name="connsiteY37" fmla="*/ 2461 h 10760"/>
              <a:gd name="connsiteX38" fmla="*/ 708 w 10000"/>
              <a:gd name="connsiteY38" fmla="*/ 2015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1007 w 10000"/>
              <a:gd name="connsiteY36" fmla="*/ 1999 h 10760"/>
              <a:gd name="connsiteX37" fmla="*/ 1784 w 10000"/>
              <a:gd name="connsiteY37" fmla="*/ 2461 h 10760"/>
              <a:gd name="connsiteX38" fmla="*/ 708 w 10000"/>
              <a:gd name="connsiteY38" fmla="*/ 2015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1007 w 10000"/>
              <a:gd name="connsiteY36" fmla="*/ 1999 h 10760"/>
              <a:gd name="connsiteX37" fmla="*/ 1784 w 10000"/>
              <a:gd name="connsiteY37" fmla="*/ 2461 h 10760"/>
              <a:gd name="connsiteX38" fmla="*/ 708 w 10000"/>
              <a:gd name="connsiteY38" fmla="*/ 2015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2305 w 10000"/>
              <a:gd name="connsiteY44" fmla="*/ 179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1007 w 10000"/>
              <a:gd name="connsiteY36" fmla="*/ 1999 h 10760"/>
              <a:gd name="connsiteX37" fmla="*/ 1784 w 10000"/>
              <a:gd name="connsiteY37" fmla="*/ 2461 h 10760"/>
              <a:gd name="connsiteX38" fmla="*/ 708 w 10000"/>
              <a:gd name="connsiteY38" fmla="*/ 2015 h 10760"/>
              <a:gd name="connsiteX39" fmla="*/ 1019 w 10000"/>
              <a:gd name="connsiteY39" fmla="*/ 2021 h 10760"/>
              <a:gd name="connsiteX40" fmla="*/ 1181 w 10000"/>
              <a:gd name="connsiteY40" fmla="*/ 2083 h 10760"/>
              <a:gd name="connsiteX41" fmla="*/ 2066 w 10000"/>
              <a:gd name="connsiteY41" fmla="*/ 2820 h 10760"/>
              <a:gd name="connsiteX42" fmla="*/ 1854 w 10000"/>
              <a:gd name="connsiteY42" fmla="*/ 2178 h 10760"/>
              <a:gd name="connsiteX43" fmla="*/ 2180 w 10000"/>
              <a:gd name="connsiteY43" fmla="*/ 1886 h 10760"/>
              <a:gd name="connsiteX44" fmla="*/ 2305 w 10000"/>
              <a:gd name="connsiteY44" fmla="*/ 179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112 w 10056"/>
              <a:gd name="connsiteY0" fmla="*/ 10730 h 10760"/>
              <a:gd name="connsiteX1" fmla="*/ 6206 w 10056"/>
              <a:gd name="connsiteY1" fmla="*/ 9894 h 10760"/>
              <a:gd name="connsiteX2" fmla="*/ 6488 w 10056"/>
              <a:gd name="connsiteY2" fmla="*/ 9088 h 10760"/>
              <a:gd name="connsiteX3" fmla="*/ 5690 w 10056"/>
              <a:gd name="connsiteY3" fmla="*/ 8909 h 10760"/>
              <a:gd name="connsiteX4" fmla="*/ 5455 w 10056"/>
              <a:gd name="connsiteY4" fmla="*/ 8730 h 10760"/>
              <a:gd name="connsiteX5" fmla="*/ 5079 w 10056"/>
              <a:gd name="connsiteY5" fmla="*/ 8820 h 10760"/>
              <a:gd name="connsiteX6" fmla="*/ 4751 w 10056"/>
              <a:gd name="connsiteY6" fmla="*/ 8253 h 10760"/>
              <a:gd name="connsiteX7" fmla="*/ 4187 w 10056"/>
              <a:gd name="connsiteY7" fmla="*/ 7894 h 10760"/>
              <a:gd name="connsiteX8" fmla="*/ 3765 w 10056"/>
              <a:gd name="connsiteY8" fmla="*/ 7924 h 10760"/>
              <a:gd name="connsiteX9" fmla="*/ 3859 w 10056"/>
              <a:gd name="connsiteY9" fmla="*/ 8103 h 10760"/>
              <a:gd name="connsiteX10" fmla="*/ 3389 w 10056"/>
              <a:gd name="connsiteY10" fmla="*/ 8133 h 10760"/>
              <a:gd name="connsiteX11" fmla="*/ 3342 w 10056"/>
              <a:gd name="connsiteY11" fmla="*/ 7447 h 10760"/>
              <a:gd name="connsiteX12" fmla="*/ 2591 w 10056"/>
              <a:gd name="connsiteY12" fmla="*/ 7417 h 10760"/>
              <a:gd name="connsiteX13" fmla="*/ 2685 w 10056"/>
              <a:gd name="connsiteY13" fmla="*/ 7118 h 10760"/>
              <a:gd name="connsiteX14" fmla="*/ 2356 w 10056"/>
              <a:gd name="connsiteY14" fmla="*/ 7029 h 10760"/>
              <a:gd name="connsiteX15" fmla="*/ 2169 w 10056"/>
              <a:gd name="connsiteY15" fmla="*/ 6521 h 10760"/>
              <a:gd name="connsiteX16" fmla="*/ 2497 w 10056"/>
              <a:gd name="connsiteY16" fmla="*/ 6372 h 10760"/>
              <a:gd name="connsiteX17" fmla="*/ 2967 w 10056"/>
              <a:gd name="connsiteY17" fmla="*/ 5984 h 10760"/>
              <a:gd name="connsiteX18" fmla="*/ 2685 w 10056"/>
              <a:gd name="connsiteY18" fmla="*/ 5775 h 10760"/>
              <a:gd name="connsiteX19" fmla="*/ 3248 w 10056"/>
              <a:gd name="connsiteY19" fmla="*/ 5447 h 10760"/>
              <a:gd name="connsiteX20" fmla="*/ 2685 w 10056"/>
              <a:gd name="connsiteY20" fmla="*/ 5447 h 10760"/>
              <a:gd name="connsiteX21" fmla="*/ 2685 w 10056"/>
              <a:gd name="connsiteY21" fmla="*/ 5088 h 10760"/>
              <a:gd name="connsiteX22" fmla="*/ 2873 w 10056"/>
              <a:gd name="connsiteY22" fmla="*/ 4521 h 10760"/>
              <a:gd name="connsiteX23" fmla="*/ 2638 w 10056"/>
              <a:gd name="connsiteY23" fmla="*/ 4044 h 10760"/>
              <a:gd name="connsiteX24" fmla="*/ 3344 w 10056"/>
              <a:gd name="connsiteY24" fmla="*/ 3532 h 10760"/>
              <a:gd name="connsiteX25" fmla="*/ 2946 w 10056"/>
              <a:gd name="connsiteY25" fmla="*/ 3342 h 10760"/>
              <a:gd name="connsiteX26" fmla="*/ 2676 w 10056"/>
              <a:gd name="connsiteY26" fmla="*/ 3260 h 10760"/>
              <a:gd name="connsiteX27" fmla="*/ 1981 w 10056"/>
              <a:gd name="connsiteY27" fmla="*/ 3357 h 10760"/>
              <a:gd name="connsiteX28" fmla="*/ 1743 w 10056"/>
              <a:gd name="connsiteY28" fmla="*/ 3336 h 10760"/>
              <a:gd name="connsiteX29" fmla="*/ 1371 w 10056"/>
              <a:gd name="connsiteY29" fmla="*/ 3118 h 10760"/>
              <a:gd name="connsiteX30" fmla="*/ 995 w 10056"/>
              <a:gd name="connsiteY30" fmla="*/ 2939 h 10760"/>
              <a:gd name="connsiteX31" fmla="*/ 225 w 10056"/>
              <a:gd name="connsiteY31" fmla="*/ 2950 h 10760"/>
              <a:gd name="connsiteX32" fmla="*/ 7 w 10056"/>
              <a:gd name="connsiteY32" fmla="*/ 2306 h 10760"/>
              <a:gd name="connsiteX33" fmla="*/ 244 w 10056"/>
              <a:gd name="connsiteY33" fmla="*/ 2820 h 10760"/>
              <a:gd name="connsiteX34" fmla="*/ 56 w 10056"/>
              <a:gd name="connsiteY34" fmla="*/ 2790 h 10760"/>
              <a:gd name="connsiteX35" fmla="*/ 414 w 10056"/>
              <a:gd name="connsiteY35" fmla="*/ 1986 h 10760"/>
              <a:gd name="connsiteX36" fmla="*/ 1063 w 10056"/>
              <a:gd name="connsiteY36" fmla="*/ 1999 h 10760"/>
              <a:gd name="connsiteX37" fmla="*/ 1840 w 10056"/>
              <a:gd name="connsiteY37" fmla="*/ 2461 h 10760"/>
              <a:gd name="connsiteX38" fmla="*/ 764 w 10056"/>
              <a:gd name="connsiteY38" fmla="*/ 2015 h 10760"/>
              <a:gd name="connsiteX39" fmla="*/ 1075 w 10056"/>
              <a:gd name="connsiteY39" fmla="*/ 2021 h 10760"/>
              <a:gd name="connsiteX40" fmla="*/ 1237 w 10056"/>
              <a:gd name="connsiteY40" fmla="*/ 2083 h 10760"/>
              <a:gd name="connsiteX41" fmla="*/ 2122 w 10056"/>
              <a:gd name="connsiteY41" fmla="*/ 2820 h 10760"/>
              <a:gd name="connsiteX42" fmla="*/ 1910 w 10056"/>
              <a:gd name="connsiteY42" fmla="*/ 2178 h 10760"/>
              <a:gd name="connsiteX43" fmla="*/ 2236 w 10056"/>
              <a:gd name="connsiteY43" fmla="*/ 1886 h 10760"/>
              <a:gd name="connsiteX44" fmla="*/ 2361 w 10056"/>
              <a:gd name="connsiteY44" fmla="*/ 1793 h 10760"/>
              <a:gd name="connsiteX45" fmla="*/ 3061 w 10056"/>
              <a:gd name="connsiteY45" fmla="*/ 1805 h 10760"/>
              <a:gd name="connsiteX46" fmla="*/ 2779 w 10056"/>
              <a:gd name="connsiteY46" fmla="*/ 1835 h 10760"/>
              <a:gd name="connsiteX47" fmla="*/ 2591 w 10056"/>
              <a:gd name="connsiteY47" fmla="*/ 1596 h 10760"/>
              <a:gd name="connsiteX48" fmla="*/ 2574 w 10056"/>
              <a:gd name="connsiteY48" fmla="*/ 1359 h 10760"/>
              <a:gd name="connsiteX49" fmla="*/ 2622 w 10056"/>
              <a:gd name="connsiteY49" fmla="*/ 1009 h 10760"/>
              <a:gd name="connsiteX50" fmla="*/ 2356 w 10056"/>
              <a:gd name="connsiteY50" fmla="*/ 1059 h 10760"/>
              <a:gd name="connsiteX51" fmla="*/ 2310 w 10056"/>
              <a:gd name="connsiteY51" fmla="*/ 879 h 10760"/>
              <a:gd name="connsiteX52" fmla="*/ 2425 w 10056"/>
              <a:gd name="connsiteY52" fmla="*/ 580 h 10760"/>
              <a:gd name="connsiteX53" fmla="*/ 2323 w 10056"/>
              <a:gd name="connsiteY53" fmla="*/ 0 h 10760"/>
              <a:gd name="connsiteX54" fmla="*/ 3621 w 10056"/>
              <a:gd name="connsiteY54" fmla="*/ 195 h 10760"/>
              <a:gd name="connsiteX55" fmla="*/ 4657 w 10056"/>
              <a:gd name="connsiteY55" fmla="*/ 1088 h 10760"/>
              <a:gd name="connsiteX56" fmla="*/ 4917 w 10056"/>
              <a:gd name="connsiteY56" fmla="*/ 1091 h 10760"/>
              <a:gd name="connsiteX57" fmla="*/ 4983 w 10056"/>
              <a:gd name="connsiteY57" fmla="*/ 1196 h 10760"/>
              <a:gd name="connsiteX58" fmla="*/ 5199 w 10056"/>
              <a:gd name="connsiteY58" fmla="*/ 1300 h 10760"/>
              <a:gd name="connsiteX59" fmla="*/ 5640 w 10056"/>
              <a:gd name="connsiteY59" fmla="*/ 1256 h 10760"/>
              <a:gd name="connsiteX60" fmla="*/ 5690 w 10056"/>
              <a:gd name="connsiteY60" fmla="*/ 1745 h 10760"/>
              <a:gd name="connsiteX61" fmla="*/ 5971 w 10056"/>
              <a:gd name="connsiteY61" fmla="*/ 1596 h 10760"/>
              <a:gd name="connsiteX62" fmla="*/ 6159 w 10056"/>
              <a:gd name="connsiteY62" fmla="*/ 1924 h 10760"/>
              <a:gd name="connsiteX63" fmla="*/ 5737 w 10056"/>
              <a:gd name="connsiteY63" fmla="*/ 2163 h 10760"/>
              <a:gd name="connsiteX64" fmla="*/ 6065 w 10056"/>
              <a:gd name="connsiteY64" fmla="*/ 2282 h 10760"/>
              <a:gd name="connsiteX65" fmla="*/ 5971 w 10056"/>
              <a:gd name="connsiteY65" fmla="*/ 2700 h 10760"/>
              <a:gd name="connsiteX66" fmla="*/ 6866 w 10056"/>
              <a:gd name="connsiteY66" fmla="*/ 3130 h 10760"/>
              <a:gd name="connsiteX67" fmla="*/ 5479 w 10056"/>
              <a:gd name="connsiteY67" fmla="*/ 3332 h 10760"/>
              <a:gd name="connsiteX68" fmla="*/ 5732 w 10056"/>
              <a:gd name="connsiteY68" fmla="*/ 3764 h 10760"/>
              <a:gd name="connsiteX69" fmla="*/ 6159 w 10056"/>
              <a:gd name="connsiteY69" fmla="*/ 3715 h 10760"/>
              <a:gd name="connsiteX70" fmla="*/ 5690 w 10056"/>
              <a:gd name="connsiteY70" fmla="*/ 3805 h 10760"/>
              <a:gd name="connsiteX71" fmla="*/ 6022 w 10056"/>
              <a:gd name="connsiteY71" fmla="*/ 3949 h 10760"/>
              <a:gd name="connsiteX72" fmla="*/ 5923 w 10056"/>
              <a:gd name="connsiteY72" fmla="*/ 4185 h 10760"/>
              <a:gd name="connsiteX73" fmla="*/ 6206 w 10056"/>
              <a:gd name="connsiteY73" fmla="*/ 4909 h 10760"/>
              <a:gd name="connsiteX74" fmla="*/ 5596 w 10056"/>
              <a:gd name="connsiteY74" fmla="*/ 4939 h 10760"/>
              <a:gd name="connsiteX75" fmla="*/ 5596 w 10056"/>
              <a:gd name="connsiteY75" fmla="*/ 5357 h 10760"/>
              <a:gd name="connsiteX76" fmla="*/ 4657 w 10056"/>
              <a:gd name="connsiteY76" fmla="*/ 5775 h 10760"/>
              <a:gd name="connsiteX77" fmla="*/ 4939 w 10056"/>
              <a:gd name="connsiteY77" fmla="*/ 6163 h 10760"/>
              <a:gd name="connsiteX78" fmla="*/ 4704 w 10056"/>
              <a:gd name="connsiteY78" fmla="*/ 6521 h 10760"/>
              <a:gd name="connsiteX79" fmla="*/ 5502 w 10056"/>
              <a:gd name="connsiteY79" fmla="*/ 7208 h 10760"/>
              <a:gd name="connsiteX80" fmla="*/ 6629 w 10056"/>
              <a:gd name="connsiteY80" fmla="*/ 7208 h 10760"/>
              <a:gd name="connsiteX81" fmla="*/ 7286 w 10056"/>
              <a:gd name="connsiteY81" fmla="*/ 7088 h 10760"/>
              <a:gd name="connsiteX82" fmla="*/ 7849 w 10056"/>
              <a:gd name="connsiteY82" fmla="*/ 7238 h 10760"/>
              <a:gd name="connsiteX83" fmla="*/ 8319 w 10056"/>
              <a:gd name="connsiteY83" fmla="*/ 7626 h 10760"/>
              <a:gd name="connsiteX84" fmla="*/ 8694 w 10056"/>
              <a:gd name="connsiteY84" fmla="*/ 8372 h 10760"/>
              <a:gd name="connsiteX85" fmla="*/ 9070 w 10056"/>
              <a:gd name="connsiteY85" fmla="*/ 8342 h 10760"/>
              <a:gd name="connsiteX86" fmla="*/ 10056 w 10056"/>
              <a:gd name="connsiteY86" fmla="*/ 9088 h 10760"/>
              <a:gd name="connsiteX87" fmla="*/ 8882 w 10056"/>
              <a:gd name="connsiteY87" fmla="*/ 9894 h 10760"/>
              <a:gd name="connsiteX88" fmla="*/ 9352 w 10056"/>
              <a:gd name="connsiteY88" fmla="*/ 10491 h 10760"/>
              <a:gd name="connsiteX89" fmla="*/ 9164 w 10056"/>
              <a:gd name="connsiteY89" fmla="*/ 10730 h 10760"/>
              <a:gd name="connsiteX90" fmla="*/ 8882 w 10056"/>
              <a:gd name="connsiteY90" fmla="*/ 10491 h 10760"/>
              <a:gd name="connsiteX91" fmla="*/ 7004 w 10056"/>
              <a:gd name="connsiteY91" fmla="*/ 10461 h 10760"/>
              <a:gd name="connsiteX92" fmla="*/ 6676 w 10056"/>
              <a:gd name="connsiteY92" fmla="*/ 10760 h 10760"/>
              <a:gd name="connsiteX93" fmla="*/ 6112 w 10056"/>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90 w 10165"/>
              <a:gd name="connsiteY27" fmla="*/ 3357 h 10760"/>
              <a:gd name="connsiteX28" fmla="*/ 1852 w 10165"/>
              <a:gd name="connsiteY28" fmla="*/ 3336 h 10760"/>
              <a:gd name="connsiteX29" fmla="*/ 1480 w 10165"/>
              <a:gd name="connsiteY29" fmla="*/ 3118 h 10760"/>
              <a:gd name="connsiteX30" fmla="*/ 1104 w 10165"/>
              <a:gd name="connsiteY30" fmla="*/ 2939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2231 w 10165"/>
              <a:gd name="connsiteY41" fmla="*/ 2820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90 w 10165"/>
              <a:gd name="connsiteY27" fmla="*/ 3357 h 10760"/>
              <a:gd name="connsiteX28" fmla="*/ 1852 w 10165"/>
              <a:gd name="connsiteY28" fmla="*/ 3336 h 10760"/>
              <a:gd name="connsiteX29" fmla="*/ 1480 w 10165"/>
              <a:gd name="connsiteY29" fmla="*/ 3118 h 10760"/>
              <a:gd name="connsiteX30" fmla="*/ 1104 w 10165"/>
              <a:gd name="connsiteY30" fmla="*/ 2939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90 w 10165"/>
              <a:gd name="connsiteY27" fmla="*/ 3357 h 10760"/>
              <a:gd name="connsiteX28" fmla="*/ 1852 w 10165"/>
              <a:gd name="connsiteY28" fmla="*/ 3336 h 10760"/>
              <a:gd name="connsiteX29" fmla="*/ 1480 w 10165"/>
              <a:gd name="connsiteY29" fmla="*/ 3118 h 10760"/>
              <a:gd name="connsiteX30" fmla="*/ 1104 w 10165"/>
              <a:gd name="connsiteY30" fmla="*/ 2939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1104 w 10165"/>
              <a:gd name="connsiteY30" fmla="*/ 2939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793 w 10165"/>
              <a:gd name="connsiteY30" fmla="*/ 3070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0165" h="10760">
                <a:moveTo>
                  <a:pt x="6221" y="10730"/>
                </a:moveTo>
                <a:cubicBezTo>
                  <a:pt x="6252" y="10451"/>
                  <a:pt x="6284" y="10173"/>
                  <a:pt x="6315" y="9894"/>
                </a:cubicBezTo>
                <a:lnTo>
                  <a:pt x="6597" y="9088"/>
                </a:lnTo>
                <a:lnTo>
                  <a:pt x="5799" y="8909"/>
                </a:lnTo>
                <a:lnTo>
                  <a:pt x="5564" y="8730"/>
                </a:lnTo>
                <a:lnTo>
                  <a:pt x="5188" y="8820"/>
                </a:lnTo>
                <a:lnTo>
                  <a:pt x="4860" y="8253"/>
                </a:lnTo>
                <a:lnTo>
                  <a:pt x="4296" y="7894"/>
                </a:lnTo>
                <a:lnTo>
                  <a:pt x="3874" y="7924"/>
                </a:lnTo>
                <a:cubicBezTo>
                  <a:pt x="3905" y="7984"/>
                  <a:pt x="3937" y="8043"/>
                  <a:pt x="3968" y="8103"/>
                </a:cubicBezTo>
                <a:lnTo>
                  <a:pt x="3498" y="8133"/>
                </a:lnTo>
                <a:cubicBezTo>
                  <a:pt x="3482" y="7904"/>
                  <a:pt x="3467" y="7676"/>
                  <a:pt x="3451" y="7447"/>
                </a:cubicBezTo>
                <a:lnTo>
                  <a:pt x="2700" y="7417"/>
                </a:lnTo>
                <a:cubicBezTo>
                  <a:pt x="2731" y="7317"/>
                  <a:pt x="2763" y="7218"/>
                  <a:pt x="2794" y="7118"/>
                </a:cubicBezTo>
                <a:lnTo>
                  <a:pt x="2465" y="7029"/>
                </a:lnTo>
                <a:lnTo>
                  <a:pt x="2278" y="6521"/>
                </a:lnTo>
                <a:lnTo>
                  <a:pt x="2606" y="6372"/>
                </a:lnTo>
                <a:lnTo>
                  <a:pt x="3076" y="5984"/>
                </a:lnTo>
                <a:lnTo>
                  <a:pt x="2794" y="5775"/>
                </a:lnTo>
                <a:lnTo>
                  <a:pt x="3357" y="5447"/>
                </a:lnTo>
                <a:lnTo>
                  <a:pt x="2794" y="5447"/>
                </a:lnTo>
                <a:lnTo>
                  <a:pt x="2794" y="5088"/>
                </a:lnTo>
                <a:cubicBezTo>
                  <a:pt x="2857" y="4899"/>
                  <a:pt x="2919" y="4710"/>
                  <a:pt x="2982" y="4521"/>
                </a:cubicBezTo>
                <a:lnTo>
                  <a:pt x="2747" y="4044"/>
                </a:lnTo>
                <a:lnTo>
                  <a:pt x="3453" y="3532"/>
                </a:lnTo>
                <a:lnTo>
                  <a:pt x="3055" y="3342"/>
                </a:lnTo>
                <a:lnTo>
                  <a:pt x="2785" y="3260"/>
                </a:lnTo>
                <a:lnTo>
                  <a:pt x="2078" y="3486"/>
                </a:lnTo>
                <a:cubicBezTo>
                  <a:pt x="2047" y="3406"/>
                  <a:pt x="1883" y="3416"/>
                  <a:pt x="1852" y="3336"/>
                </a:cubicBezTo>
                <a:lnTo>
                  <a:pt x="1480" y="3118"/>
                </a:lnTo>
                <a:lnTo>
                  <a:pt x="793" y="3070"/>
                </a:lnTo>
                <a:lnTo>
                  <a:pt x="334" y="2950"/>
                </a:lnTo>
                <a:cubicBezTo>
                  <a:pt x="397" y="2851"/>
                  <a:pt x="-57" y="2415"/>
                  <a:pt x="6" y="2316"/>
                </a:cubicBezTo>
                <a:cubicBezTo>
                  <a:pt x="24" y="2493"/>
                  <a:pt x="335" y="2643"/>
                  <a:pt x="353" y="2820"/>
                </a:cubicBezTo>
                <a:lnTo>
                  <a:pt x="165" y="2790"/>
                </a:lnTo>
                <a:lnTo>
                  <a:pt x="523" y="1986"/>
                </a:lnTo>
                <a:lnTo>
                  <a:pt x="1172" y="1999"/>
                </a:lnTo>
                <a:cubicBezTo>
                  <a:pt x="1541" y="2143"/>
                  <a:pt x="1690" y="2307"/>
                  <a:pt x="1949" y="2461"/>
                </a:cubicBezTo>
                <a:lnTo>
                  <a:pt x="873" y="2015"/>
                </a:lnTo>
                <a:cubicBezTo>
                  <a:pt x="857" y="2045"/>
                  <a:pt x="1200" y="1991"/>
                  <a:pt x="1184" y="2021"/>
                </a:cubicBezTo>
                <a:lnTo>
                  <a:pt x="1346" y="2083"/>
                </a:lnTo>
                <a:cubicBezTo>
                  <a:pt x="1504" y="2205"/>
                  <a:pt x="1508" y="2111"/>
                  <a:pt x="1821" y="2449"/>
                </a:cubicBezTo>
                <a:cubicBezTo>
                  <a:pt x="1750" y="2235"/>
                  <a:pt x="2090" y="2392"/>
                  <a:pt x="2019" y="2178"/>
                </a:cubicBezTo>
                <a:lnTo>
                  <a:pt x="2345" y="1886"/>
                </a:lnTo>
                <a:lnTo>
                  <a:pt x="2470" y="1793"/>
                </a:lnTo>
                <a:lnTo>
                  <a:pt x="3170" y="1805"/>
                </a:lnTo>
                <a:lnTo>
                  <a:pt x="2888" y="1835"/>
                </a:lnTo>
                <a:lnTo>
                  <a:pt x="2700" y="1596"/>
                </a:lnTo>
                <a:cubicBezTo>
                  <a:pt x="2694" y="1517"/>
                  <a:pt x="2689" y="1438"/>
                  <a:pt x="2683" y="1359"/>
                </a:cubicBezTo>
                <a:cubicBezTo>
                  <a:pt x="2736" y="1239"/>
                  <a:pt x="2678" y="1129"/>
                  <a:pt x="2731" y="1009"/>
                </a:cubicBezTo>
                <a:lnTo>
                  <a:pt x="2465" y="1059"/>
                </a:lnTo>
                <a:cubicBezTo>
                  <a:pt x="2450" y="999"/>
                  <a:pt x="2434" y="939"/>
                  <a:pt x="2419" y="879"/>
                </a:cubicBezTo>
                <a:cubicBezTo>
                  <a:pt x="2457" y="779"/>
                  <a:pt x="2496" y="680"/>
                  <a:pt x="2534" y="580"/>
                </a:cubicBezTo>
                <a:lnTo>
                  <a:pt x="2432" y="0"/>
                </a:lnTo>
                <a:lnTo>
                  <a:pt x="3730" y="195"/>
                </a:lnTo>
                <a:lnTo>
                  <a:pt x="4766" y="1088"/>
                </a:lnTo>
                <a:cubicBezTo>
                  <a:pt x="4797" y="1188"/>
                  <a:pt x="4995" y="991"/>
                  <a:pt x="5026" y="1091"/>
                </a:cubicBezTo>
                <a:lnTo>
                  <a:pt x="5092" y="1196"/>
                </a:lnTo>
                <a:cubicBezTo>
                  <a:pt x="5186" y="1176"/>
                  <a:pt x="5214" y="1320"/>
                  <a:pt x="5308" y="1300"/>
                </a:cubicBezTo>
                <a:lnTo>
                  <a:pt x="5749" y="1256"/>
                </a:lnTo>
                <a:cubicBezTo>
                  <a:pt x="5773" y="1393"/>
                  <a:pt x="5775" y="1608"/>
                  <a:pt x="5799" y="1745"/>
                </a:cubicBezTo>
                <a:lnTo>
                  <a:pt x="6080" y="1596"/>
                </a:lnTo>
                <a:cubicBezTo>
                  <a:pt x="6143" y="1705"/>
                  <a:pt x="6205" y="1815"/>
                  <a:pt x="6268" y="1924"/>
                </a:cubicBezTo>
                <a:lnTo>
                  <a:pt x="5846" y="2163"/>
                </a:lnTo>
                <a:lnTo>
                  <a:pt x="6174" y="2282"/>
                </a:lnTo>
                <a:cubicBezTo>
                  <a:pt x="6143" y="2421"/>
                  <a:pt x="6111" y="2561"/>
                  <a:pt x="6080" y="2700"/>
                </a:cubicBezTo>
                <a:lnTo>
                  <a:pt x="6975" y="3130"/>
                </a:lnTo>
                <a:lnTo>
                  <a:pt x="5588" y="3332"/>
                </a:lnTo>
                <a:lnTo>
                  <a:pt x="5841" y="3764"/>
                </a:lnTo>
                <a:lnTo>
                  <a:pt x="6268" y="3715"/>
                </a:lnTo>
                <a:lnTo>
                  <a:pt x="5799" y="3805"/>
                </a:lnTo>
                <a:cubicBezTo>
                  <a:pt x="5830" y="3894"/>
                  <a:pt x="6100" y="3860"/>
                  <a:pt x="6131" y="3949"/>
                </a:cubicBezTo>
                <a:cubicBezTo>
                  <a:pt x="6098" y="4028"/>
                  <a:pt x="6065" y="4106"/>
                  <a:pt x="6032" y="4185"/>
                </a:cubicBezTo>
                <a:cubicBezTo>
                  <a:pt x="6063" y="4424"/>
                  <a:pt x="6284" y="4670"/>
                  <a:pt x="6315" y="4909"/>
                </a:cubicBezTo>
                <a:lnTo>
                  <a:pt x="5705" y="4939"/>
                </a:lnTo>
                <a:lnTo>
                  <a:pt x="5705" y="5357"/>
                </a:lnTo>
                <a:lnTo>
                  <a:pt x="4766" y="5775"/>
                </a:lnTo>
                <a:lnTo>
                  <a:pt x="5048" y="6163"/>
                </a:lnTo>
                <a:lnTo>
                  <a:pt x="4813" y="6521"/>
                </a:lnTo>
                <a:lnTo>
                  <a:pt x="5611" y="7208"/>
                </a:lnTo>
                <a:lnTo>
                  <a:pt x="6738" y="7208"/>
                </a:lnTo>
                <a:lnTo>
                  <a:pt x="7395" y="7088"/>
                </a:lnTo>
                <a:lnTo>
                  <a:pt x="7958" y="7238"/>
                </a:lnTo>
                <a:lnTo>
                  <a:pt x="8428" y="7626"/>
                </a:lnTo>
                <a:lnTo>
                  <a:pt x="8803" y="8372"/>
                </a:lnTo>
                <a:lnTo>
                  <a:pt x="9179" y="8342"/>
                </a:lnTo>
                <a:lnTo>
                  <a:pt x="10165" y="9088"/>
                </a:lnTo>
                <a:lnTo>
                  <a:pt x="8991" y="9894"/>
                </a:lnTo>
                <a:lnTo>
                  <a:pt x="9461" y="10491"/>
                </a:lnTo>
                <a:lnTo>
                  <a:pt x="9273" y="10730"/>
                </a:lnTo>
                <a:lnTo>
                  <a:pt x="8991" y="10491"/>
                </a:lnTo>
                <a:lnTo>
                  <a:pt x="7113" y="10461"/>
                </a:lnTo>
                <a:lnTo>
                  <a:pt x="6785" y="10760"/>
                </a:lnTo>
                <a:lnTo>
                  <a:pt x="6221" y="10730"/>
                </a:lnTo>
                <a:close/>
              </a:path>
            </a:pathLst>
          </a:custGeom>
          <a:solidFill>
            <a:srgbClr val="FAFAFA"/>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GB" dirty="0"/>
          </a:p>
        </p:txBody>
      </p:sp>
      <p:sp>
        <p:nvSpPr>
          <p:cNvPr id="48" name="He"/>
          <p:cNvSpPr>
            <a:spLocks/>
          </p:cNvSpPr>
          <p:nvPr/>
        </p:nvSpPr>
        <p:spPr bwMode="auto">
          <a:xfrm rot="460133">
            <a:off x="5854700" y="3278188"/>
            <a:ext cx="508000" cy="701675"/>
          </a:xfrm>
          <a:custGeom>
            <a:avLst/>
            <a:gdLst>
              <a:gd name="T0" fmla="*/ 2147483647 w 139"/>
              <a:gd name="T1" fmla="*/ 2147483647 h 201"/>
              <a:gd name="T2" fmla="*/ 2147483647 w 139"/>
              <a:gd name="T3" fmla="*/ 2147483647 h 201"/>
              <a:gd name="T4" fmla="*/ 2147483647 w 139"/>
              <a:gd name="T5" fmla="*/ 2147483647 h 201"/>
              <a:gd name="T6" fmla="*/ 2147483647 w 139"/>
              <a:gd name="T7" fmla="*/ 2147483647 h 201"/>
              <a:gd name="T8" fmla="*/ 0 w 139"/>
              <a:gd name="T9" fmla="*/ 2147483647 h 201"/>
              <a:gd name="T10" fmla="*/ 2147483647 w 139"/>
              <a:gd name="T11" fmla="*/ 2147483647 h 201"/>
              <a:gd name="T12" fmla="*/ 0 w 139"/>
              <a:gd name="T13" fmla="*/ 2147483647 h 201"/>
              <a:gd name="T14" fmla="*/ 2147483647 w 139"/>
              <a:gd name="T15" fmla="*/ 2147483647 h 201"/>
              <a:gd name="T16" fmla="*/ 2147483647 w 139"/>
              <a:gd name="T17" fmla="*/ 2147483647 h 201"/>
              <a:gd name="T18" fmla="*/ 2147483647 w 139"/>
              <a:gd name="T19" fmla="*/ 2147483647 h 201"/>
              <a:gd name="T20" fmla="*/ 2147483647 w 139"/>
              <a:gd name="T21" fmla="*/ 2147483647 h 201"/>
              <a:gd name="T22" fmla="*/ 2147483647 w 139"/>
              <a:gd name="T23" fmla="*/ 2147483647 h 201"/>
              <a:gd name="T24" fmla="*/ 2147483647 w 139"/>
              <a:gd name="T25" fmla="*/ 2147483647 h 201"/>
              <a:gd name="T26" fmla="*/ 2147483647 w 139"/>
              <a:gd name="T27" fmla="*/ 2147483647 h 201"/>
              <a:gd name="T28" fmla="*/ 2147483647 w 139"/>
              <a:gd name="T29" fmla="*/ 2147483647 h 201"/>
              <a:gd name="T30" fmla="*/ 2147483647 w 139"/>
              <a:gd name="T31" fmla="*/ 2147483647 h 201"/>
              <a:gd name="T32" fmla="*/ 2147483647 w 139"/>
              <a:gd name="T33" fmla="*/ 2147483647 h 201"/>
              <a:gd name="T34" fmla="*/ 2147483647 w 139"/>
              <a:gd name="T35" fmla="*/ 2147483647 h 201"/>
              <a:gd name="T36" fmla="*/ 2147483647 w 139"/>
              <a:gd name="T37" fmla="*/ 2147483647 h 201"/>
              <a:gd name="T38" fmla="*/ 2147483647 w 139"/>
              <a:gd name="T39" fmla="*/ 2147483647 h 201"/>
              <a:gd name="T40" fmla="*/ 2147483647 w 139"/>
              <a:gd name="T41" fmla="*/ 2147483647 h 201"/>
              <a:gd name="T42" fmla="*/ 2147483647 w 139"/>
              <a:gd name="T43" fmla="*/ 2147483647 h 201"/>
              <a:gd name="T44" fmla="*/ 2147483647 w 139"/>
              <a:gd name="T45" fmla="*/ 2147483647 h 201"/>
              <a:gd name="T46" fmla="*/ 2147483647 w 139"/>
              <a:gd name="T47" fmla="*/ 2147483647 h 201"/>
              <a:gd name="T48" fmla="*/ 2147483647 w 139"/>
              <a:gd name="T49" fmla="*/ 2147483647 h 201"/>
              <a:gd name="T50" fmla="*/ 2147483647 w 139"/>
              <a:gd name="T51" fmla="*/ 2147483647 h 201"/>
              <a:gd name="T52" fmla="*/ 2147483647 w 139"/>
              <a:gd name="T53" fmla="*/ 2147483647 h 201"/>
              <a:gd name="T54" fmla="*/ 2147483647 w 139"/>
              <a:gd name="T55" fmla="*/ 2147483647 h 201"/>
              <a:gd name="T56" fmla="*/ 2147483647 w 139"/>
              <a:gd name="T57" fmla="*/ 2147483647 h 201"/>
              <a:gd name="T58" fmla="*/ 2147483647 w 139"/>
              <a:gd name="T59" fmla="*/ 0 h 201"/>
              <a:gd name="T60" fmla="*/ 2147483647 w 139"/>
              <a:gd name="T61" fmla="*/ 2147483647 h 201"/>
              <a:gd name="T62" fmla="*/ 2147483647 w 139"/>
              <a:gd name="T63" fmla="*/ 2147483647 h 201"/>
              <a:gd name="T64" fmla="*/ 2147483647 w 139"/>
              <a:gd name="T65" fmla="*/ 2147483647 h 201"/>
              <a:gd name="T66" fmla="*/ 2147483647 w 139"/>
              <a:gd name="T67" fmla="*/ 2147483647 h 201"/>
              <a:gd name="T68" fmla="*/ 2147483647 w 139"/>
              <a:gd name="T69" fmla="*/ 2147483647 h 201"/>
              <a:gd name="T70" fmla="*/ 2147483647 w 139"/>
              <a:gd name="T71" fmla="*/ 2147483647 h 201"/>
              <a:gd name="T72" fmla="*/ 2147483647 w 139"/>
              <a:gd name="T73" fmla="*/ 2147483647 h 201"/>
              <a:gd name="T74" fmla="*/ 2147483647 w 139"/>
              <a:gd name="T75" fmla="*/ 2147483647 h 201"/>
              <a:gd name="T76" fmla="*/ 2147483647 w 139"/>
              <a:gd name="T77" fmla="*/ 2147483647 h 201"/>
              <a:gd name="T78" fmla="*/ 2147483647 w 139"/>
              <a:gd name="T79" fmla="*/ 2147483647 h 201"/>
              <a:gd name="T80" fmla="*/ 2147483647 w 139"/>
              <a:gd name="T81" fmla="*/ 2147483647 h 201"/>
              <a:gd name="T82" fmla="*/ 2147483647 w 139"/>
              <a:gd name="T83" fmla="*/ 2147483647 h 201"/>
              <a:gd name="T84" fmla="*/ 2147483647 w 139"/>
              <a:gd name="T85" fmla="*/ 2147483647 h 201"/>
              <a:gd name="T86" fmla="*/ 2147483647 w 139"/>
              <a:gd name="T87" fmla="*/ 2147483647 h 201"/>
              <a:gd name="T88" fmla="*/ 2147483647 w 139"/>
              <a:gd name="T89" fmla="*/ 2147483647 h 201"/>
              <a:gd name="T90" fmla="*/ 2147483647 w 139"/>
              <a:gd name="T91" fmla="*/ 2147483647 h 201"/>
              <a:gd name="T92" fmla="*/ 2147483647 w 139"/>
              <a:gd name="T93" fmla="*/ 2147483647 h 201"/>
              <a:gd name="T94" fmla="*/ 2147483647 w 139"/>
              <a:gd name="T95" fmla="*/ 2147483647 h 20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39"/>
              <a:gd name="T145" fmla="*/ 0 h 201"/>
              <a:gd name="T146" fmla="*/ 139 w 139"/>
              <a:gd name="T147" fmla="*/ 201 h 201"/>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3094 w 10000"/>
              <a:gd name="connsiteY14" fmla="*/ 4279 h 10000"/>
              <a:gd name="connsiteX15" fmla="*/ 3741 w 10000"/>
              <a:gd name="connsiteY15" fmla="*/ 3881 h 10000"/>
              <a:gd name="connsiteX16" fmla="*/ 1295 w 10000"/>
              <a:gd name="connsiteY16" fmla="*/ 2985 h 10000"/>
              <a:gd name="connsiteX17" fmla="*/ 2014 w 10000"/>
              <a:gd name="connsiteY17" fmla="*/ 2388 h 10000"/>
              <a:gd name="connsiteX18" fmla="*/ 2086 w 10000"/>
              <a:gd name="connsiteY18" fmla="*/ 1741 h 10000"/>
              <a:gd name="connsiteX19" fmla="*/ 2446 w 10000"/>
              <a:gd name="connsiteY19" fmla="*/ 1542 h 10000"/>
              <a:gd name="connsiteX20" fmla="*/ 2734 w 10000"/>
              <a:gd name="connsiteY20" fmla="*/ 1542 h 10000"/>
              <a:gd name="connsiteX21" fmla="*/ 2878 w 10000"/>
              <a:gd name="connsiteY21" fmla="*/ 1741 h 10000"/>
              <a:gd name="connsiteX22" fmla="*/ 3525 w 10000"/>
              <a:gd name="connsiteY22" fmla="*/ 1642 h 10000"/>
              <a:gd name="connsiteX23" fmla="*/ 3957 w 10000"/>
              <a:gd name="connsiteY23" fmla="*/ 1294 h 10000"/>
              <a:gd name="connsiteX24" fmla="*/ 4427 w 10000"/>
              <a:gd name="connsiteY24" fmla="*/ 656 h 10000"/>
              <a:gd name="connsiteX25" fmla="*/ 5540 w 10000"/>
              <a:gd name="connsiteY25" fmla="*/ 547 h 10000"/>
              <a:gd name="connsiteX26" fmla="*/ 6475 w 10000"/>
              <a:gd name="connsiteY26" fmla="*/ 597 h 10000"/>
              <a:gd name="connsiteX27" fmla="*/ 6763 w 10000"/>
              <a:gd name="connsiteY27" fmla="*/ 746 h 10000"/>
              <a:gd name="connsiteX28" fmla="*/ 6978 w 10000"/>
              <a:gd name="connsiteY28" fmla="*/ 348 h 10000"/>
              <a:gd name="connsiteX29" fmla="*/ 7410 w 10000"/>
              <a:gd name="connsiteY29" fmla="*/ 0 h 10000"/>
              <a:gd name="connsiteX30" fmla="*/ 7554 w 10000"/>
              <a:gd name="connsiteY30" fmla="*/ 249 h 10000"/>
              <a:gd name="connsiteX31" fmla="*/ 7986 w 10000"/>
              <a:gd name="connsiteY31" fmla="*/ 299 h 10000"/>
              <a:gd name="connsiteX32" fmla="*/ 8129 w 10000"/>
              <a:gd name="connsiteY32" fmla="*/ 746 h 10000"/>
              <a:gd name="connsiteX33" fmla="*/ 7626 w 10000"/>
              <a:gd name="connsiteY33" fmla="*/ 896 h 10000"/>
              <a:gd name="connsiteX34" fmla="*/ 7338 w 10000"/>
              <a:gd name="connsiteY34" fmla="*/ 1194 h 10000"/>
              <a:gd name="connsiteX35" fmla="*/ 7482 w 10000"/>
              <a:gd name="connsiteY35" fmla="*/ 1393 h 10000"/>
              <a:gd name="connsiteX36" fmla="*/ 8273 w 10000"/>
              <a:gd name="connsiteY36" fmla="*/ 1194 h 10000"/>
              <a:gd name="connsiteX37" fmla="*/ 9209 w 10000"/>
              <a:gd name="connsiteY37" fmla="*/ 1791 h 10000"/>
              <a:gd name="connsiteX38" fmla="*/ 9209 w 10000"/>
              <a:gd name="connsiteY38" fmla="*/ 2139 h 10000"/>
              <a:gd name="connsiteX39" fmla="*/ 9353 w 10000"/>
              <a:gd name="connsiteY39" fmla="*/ 3980 h 10000"/>
              <a:gd name="connsiteX40" fmla="*/ 8921 w 10000"/>
              <a:gd name="connsiteY40" fmla="*/ 4229 h 10000"/>
              <a:gd name="connsiteX41" fmla="*/ 9856 w 10000"/>
              <a:gd name="connsiteY41" fmla="*/ 4975 h 10000"/>
              <a:gd name="connsiteX42" fmla="*/ 9496 w 10000"/>
              <a:gd name="connsiteY42" fmla="*/ 5423 h 10000"/>
              <a:gd name="connsiteX43" fmla="*/ 10000 w 10000"/>
              <a:gd name="connsiteY43" fmla="*/ 8557 h 10000"/>
              <a:gd name="connsiteX44" fmla="*/ 8705 w 10000"/>
              <a:gd name="connsiteY44" fmla="*/ 8259 h 10000"/>
              <a:gd name="connsiteX45" fmla="*/ 7770 w 10000"/>
              <a:gd name="connsiteY45" fmla="*/ 8955 h 10000"/>
              <a:gd name="connsiteX46" fmla="*/ 5252 w 10000"/>
              <a:gd name="connsiteY46" fmla="*/ 9552 h 10000"/>
              <a:gd name="connsiteX47" fmla="*/ 4748 w 10000"/>
              <a:gd name="connsiteY47"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3094 w 10000"/>
              <a:gd name="connsiteY14" fmla="*/ 4279 h 10000"/>
              <a:gd name="connsiteX15" fmla="*/ 3741 w 10000"/>
              <a:gd name="connsiteY15" fmla="*/ 3881 h 10000"/>
              <a:gd name="connsiteX16" fmla="*/ 1295 w 10000"/>
              <a:gd name="connsiteY16" fmla="*/ 2985 h 10000"/>
              <a:gd name="connsiteX17" fmla="*/ 2014 w 10000"/>
              <a:gd name="connsiteY17" fmla="*/ 2388 h 10000"/>
              <a:gd name="connsiteX18" fmla="*/ 2086 w 10000"/>
              <a:gd name="connsiteY18" fmla="*/ 1741 h 10000"/>
              <a:gd name="connsiteX19" fmla="*/ 2446 w 10000"/>
              <a:gd name="connsiteY19" fmla="*/ 1542 h 10000"/>
              <a:gd name="connsiteX20" fmla="*/ 2734 w 10000"/>
              <a:gd name="connsiteY20" fmla="*/ 1542 h 10000"/>
              <a:gd name="connsiteX21" fmla="*/ 2878 w 10000"/>
              <a:gd name="connsiteY21" fmla="*/ 1741 h 10000"/>
              <a:gd name="connsiteX22" fmla="*/ 3525 w 10000"/>
              <a:gd name="connsiteY22" fmla="*/ 1642 h 10000"/>
              <a:gd name="connsiteX23" fmla="*/ 3618 w 10000"/>
              <a:gd name="connsiteY23" fmla="*/ 1038 h 10000"/>
              <a:gd name="connsiteX24" fmla="*/ 4427 w 10000"/>
              <a:gd name="connsiteY24" fmla="*/ 656 h 10000"/>
              <a:gd name="connsiteX25" fmla="*/ 5540 w 10000"/>
              <a:gd name="connsiteY25" fmla="*/ 547 h 10000"/>
              <a:gd name="connsiteX26" fmla="*/ 6475 w 10000"/>
              <a:gd name="connsiteY26" fmla="*/ 597 h 10000"/>
              <a:gd name="connsiteX27" fmla="*/ 6763 w 10000"/>
              <a:gd name="connsiteY27" fmla="*/ 746 h 10000"/>
              <a:gd name="connsiteX28" fmla="*/ 6978 w 10000"/>
              <a:gd name="connsiteY28" fmla="*/ 348 h 10000"/>
              <a:gd name="connsiteX29" fmla="*/ 7410 w 10000"/>
              <a:gd name="connsiteY29" fmla="*/ 0 h 10000"/>
              <a:gd name="connsiteX30" fmla="*/ 7554 w 10000"/>
              <a:gd name="connsiteY30" fmla="*/ 249 h 10000"/>
              <a:gd name="connsiteX31" fmla="*/ 7986 w 10000"/>
              <a:gd name="connsiteY31" fmla="*/ 299 h 10000"/>
              <a:gd name="connsiteX32" fmla="*/ 8129 w 10000"/>
              <a:gd name="connsiteY32" fmla="*/ 746 h 10000"/>
              <a:gd name="connsiteX33" fmla="*/ 7626 w 10000"/>
              <a:gd name="connsiteY33" fmla="*/ 896 h 10000"/>
              <a:gd name="connsiteX34" fmla="*/ 7338 w 10000"/>
              <a:gd name="connsiteY34" fmla="*/ 1194 h 10000"/>
              <a:gd name="connsiteX35" fmla="*/ 7482 w 10000"/>
              <a:gd name="connsiteY35" fmla="*/ 1393 h 10000"/>
              <a:gd name="connsiteX36" fmla="*/ 8273 w 10000"/>
              <a:gd name="connsiteY36" fmla="*/ 1194 h 10000"/>
              <a:gd name="connsiteX37" fmla="*/ 9209 w 10000"/>
              <a:gd name="connsiteY37" fmla="*/ 1791 h 10000"/>
              <a:gd name="connsiteX38" fmla="*/ 9209 w 10000"/>
              <a:gd name="connsiteY38" fmla="*/ 2139 h 10000"/>
              <a:gd name="connsiteX39" fmla="*/ 9353 w 10000"/>
              <a:gd name="connsiteY39" fmla="*/ 3980 h 10000"/>
              <a:gd name="connsiteX40" fmla="*/ 8921 w 10000"/>
              <a:gd name="connsiteY40" fmla="*/ 4229 h 10000"/>
              <a:gd name="connsiteX41" fmla="*/ 9856 w 10000"/>
              <a:gd name="connsiteY41" fmla="*/ 4975 h 10000"/>
              <a:gd name="connsiteX42" fmla="*/ 9496 w 10000"/>
              <a:gd name="connsiteY42" fmla="*/ 5423 h 10000"/>
              <a:gd name="connsiteX43" fmla="*/ 10000 w 10000"/>
              <a:gd name="connsiteY43" fmla="*/ 8557 h 10000"/>
              <a:gd name="connsiteX44" fmla="*/ 8705 w 10000"/>
              <a:gd name="connsiteY44" fmla="*/ 8259 h 10000"/>
              <a:gd name="connsiteX45" fmla="*/ 7770 w 10000"/>
              <a:gd name="connsiteY45" fmla="*/ 8955 h 10000"/>
              <a:gd name="connsiteX46" fmla="*/ 5252 w 10000"/>
              <a:gd name="connsiteY46" fmla="*/ 9552 h 10000"/>
              <a:gd name="connsiteX47" fmla="*/ 4748 w 10000"/>
              <a:gd name="connsiteY47"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3094 w 10000"/>
              <a:gd name="connsiteY14" fmla="*/ 4279 h 10000"/>
              <a:gd name="connsiteX15" fmla="*/ 3741 w 10000"/>
              <a:gd name="connsiteY15" fmla="*/ 3881 h 10000"/>
              <a:gd name="connsiteX16" fmla="*/ 1295 w 10000"/>
              <a:gd name="connsiteY16" fmla="*/ 2985 h 10000"/>
              <a:gd name="connsiteX17" fmla="*/ 2014 w 10000"/>
              <a:gd name="connsiteY17" fmla="*/ 2388 h 10000"/>
              <a:gd name="connsiteX18" fmla="*/ 2086 w 10000"/>
              <a:gd name="connsiteY18" fmla="*/ 1741 h 10000"/>
              <a:gd name="connsiteX19" fmla="*/ 2446 w 10000"/>
              <a:gd name="connsiteY19" fmla="*/ 1542 h 10000"/>
              <a:gd name="connsiteX20" fmla="*/ 2734 w 10000"/>
              <a:gd name="connsiteY20" fmla="*/ 1542 h 10000"/>
              <a:gd name="connsiteX21" fmla="*/ 2878 w 10000"/>
              <a:gd name="connsiteY21" fmla="*/ 1741 h 10000"/>
              <a:gd name="connsiteX22" fmla="*/ 3201 w 10000"/>
              <a:gd name="connsiteY22" fmla="*/ 1467 h 10000"/>
              <a:gd name="connsiteX23" fmla="*/ 3618 w 10000"/>
              <a:gd name="connsiteY23" fmla="*/ 1038 h 10000"/>
              <a:gd name="connsiteX24" fmla="*/ 4427 w 10000"/>
              <a:gd name="connsiteY24" fmla="*/ 656 h 10000"/>
              <a:gd name="connsiteX25" fmla="*/ 5540 w 10000"/>
              <a:gd name="connsiteY25" fmla="*/ 547 h 10000"/>
              <a:gd name="connsiteX26" fmla="*/ 6475 w 10000"/>
              <a:gd name="connsiteY26" fmla="*/ 597 h 10000"/>
              <a:gd name="connsiteX27" fmla="*/ 6763 w 10000"/>
              <a:gd name="connsiteY27" fmla="*/ 746 h 10000"/>
              <a:gd name="connsiteX28" fmla="*/ 6978 w 10000"/>
              <a:gd name="connsiteY28" fmla="*/ 348 h 10000"/>
              <a:gd name="connsiteX29" fmla="*/ 7410 w 10000"/>
              <a:gd name="connsiteY29" fmla="*/ 0 h 10000"/>
              <a:gd name="connsiteX30" fmla="*/ 7554 w 10000"/>
              <a:gd name="connsiteY30" fmla="*/ 249 h 10000"/>
              <a:gd name="connsiteX31" fmla="*/ 7986 w 10000"/>
              <a:gd name="connsiteY31" fmla="*/ 299 h 10000"/>
              <a:gd name="connsiteX32" fmla="*/ 8129 w 10000"/>
              <a:gd name="connsiteY32" fmla="*/ 746 h 10000"/>
              <a:gd name="connsiteX33" fmla="*/ 7626 w 10000"/>
              <a:gd name="connsiteY33" fmla="*/ 896 h 10000"/>
              <a:gd name="connsiteX34" fmla="*/ 7338 w 10000"/>
              <a:gd name="connsiteY34" fmla="*/ 1194 h 10000"/>
              <a:gd name="connsiteX35" fmla="*/ 7482 w 10000"/>
              <a:gd name="connsiteY35" fmla="*/ 1393 h 10000"/>
              <a:gd name="connsiteX36" fmla="*/ 8273 w 10000"/>
              <a:gd name="connsiteY36" fmla="*/ 1194 h 10000"/>
              <a:gd name="connsiteX37" fmla="*/ 9209 w 10000"/>
              <a:gd name="connsiteY37" fmla="*/ 1791 h 10000"/>
              <a:gd name="connsiteX38" fmla="*/ 9209 w 10000"/>
              <a:gd name="connsiteY38" fmla="*/ 2139 h 10000"/>
              <a:gd name="connsiteX39" fmla="*/ 9353 w 10000"/>
              <a:gd name="connsiteY39" fmla="*/ 3980 h 10000"/>
              <a:gd name="connsiteX40" fmla="*/ 8921 w 10000"/>
              <a:gd name="connsiteY40" fmla="*/ 4229 h 10000"/>
              <a:gd name="connsiteX41" fmla="*/ 9856 w 10000"/>
              <a:gd name="connsiteY41" fmla="*/ 4975 h 10000"/>
              <a:gd name="connsiteX42" fmla="*/ 9496 w 10000"/>
              <a:gd name="connsiteY42" fmla="*/ 5423 h 10000"/>
              <a:gd name="connsiteX43" fmla="*/ 10000 w 10000"/>
              <a:gd name="connsiteY43" fmla="*/ 8557 h 10000"/>
              <a:gd name="connsiteX44" fmla="*/ 8705 w 10000"/>
              <a:gd name="connsiteY44" fmla="*/ 8259 h 10000"/>
              <a:gd name="connsiteX45" fmla="*/ 7770 w 10000"/>
              <a:gd name="connsiteY45" fmla="*/ 8955 h 10000"/>
              <a:gd name="connsiteX46" fmla="*/ 5252 w 10000"/>
              <a:gd name="connsiteY46" fmla="*/ 9552 h 10000"/>
              <a:gd name="connsiteX47" fmla="*/ 4748 w 10000"/>
              <a:gd name="connsiteY47"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3094 w 10000"/>
              <a:gd name="connsiteY14" fmla="*/ 4279 h 10000"/>
              <a:gd name="connsiteX15" fmla="*/ 3741 w 10000"/>
              <a:gd name="connsiteY15" fmla="*/ 3881 h 10000"/>
              <a:gd name="connsiteX16" fmla="*/ 1295 w 10000"/>
              <a:gd name="connsiteY16" fmla="*/ 2985 h 10000"/>
              <a:gd name="connsiteX17" fmla="*/ 2014 w 10000"/>
              <a:gd name="connsiteY17" fmla="*/ 2388 h 10000"/>
              <a:gd name="connsiteX18" fmla="*/ 1599 w 10000"/>
              <a:gd name="connsiteY18" fmla="*/ 2202 h 10000"/>
              <a:gd name="connsiteX19" fmla="*/ 2086 w 10000"/>
              <a:gd name="connsiteY19" fmla="*/ 1741 h 10000"/>
              <a:gd name="connsiteX20" fmla="*/ 2446 w 10000"/>
              <a:gd name="connsiteY20" fmla="*/ 1542 h 10000"/>
              <a:gd name="connsiteX21" fmla="*/ 2734 w 10000"/>
              <a:gd name="connsiteY21" fmla="*/ 1542 h 10000"/>
              <a:gd name="connsiteX22" fmla="*/ 2878 w 10000"/>
              <a:gd name="connsiteY22" fmla="*/ 1741 h 10000"/>
              <a:gd name="connsiteX23" fmla="*/ 3201 w 10000"/>
              <a:gd name="connsiteY23" fmla="*/ 1467 h 10000"/>
              <a:gd name="connsiteX24" fmla="*/ 3618 w 10000"/>
              <a:gd name="connsiteY24" fmla="*/ 1038 h 10000"/>
              <a:gd name="connsiteX25" fmla="*/ 4427 w 10000"/>
              <a:gd name="connsiteY25" fmla="*/ 656 h 10000"/>
              <a:gd name="connsiteX26" fmla="*/ 5540 w 10000"/>
              <a:gd name="connsiteY26" fmla="*/ 547 h 10000"/>
              <a:gd name="connsiteX27" fmla="*/ 6475 w 10000"/>
              <a:gd name="connsiteY27" fmla="*/ 597 h 10000"/>
              <a:gd name="connsiteX28" fmla="*/ 6763 w 10000"/>
              <a:gd name="connsiteY28" fmla="*/ 746 h 10000"/>
              <a:gd name="connsiteX29" fmla="*/ 6978 w 10000"/>
              <a:gd name="connsiteY29" fmla="*/ 348 h 10000"/>
              <a:gd name="connsiteX30" fmla="*/ 7410 w 10000"/>
              <a:gd name="connsiteY30" fmla="*/ 0 h 10000"/>
              <a:gd name="connsiteX31" fmla="*/ 7554 w 10000"/>
              <a:gd name="connsiteY31" fmla="*/ 249 h 10000"/>
              <a:gd name="connsiteX32" fmla="*/ 7986 w 10000"/>
              <a:gd name="connsiteY32" fmla="*/ 299 h 10000"/>
              <a:gd name="connsiteX33" fmla="*/ 8129 w 10000"/>
              <a:gd name="connsiteY33" fmla="*/ 746 h 10000"/>
              <a:gd name="connsiteX34" fmla="*/ 7626 w 10000"/>
              <a:gd name="connsiteY34" fmla="*/ 896 h 10000"/>
              <a:gd name="connsiteX35" fmla="*/ 7338 w 10000"/>
              <a:gd name="connsiteY35" fmla="*/ 1194 h 10000"/>
              <a:gd name="connsiteX36" fmla="*/ 7482 w 10000"/>
              <a:gd name="connsiteY36" fmla="*/ 1393 h 10000"/>
              <a:gd name="connsiteX37" fmla="*/ 8273 w 10000"/>
              <a:gd name="connsiteY37" fmla="*/ 1194 h 10000"/>
              <a:gd name="connsiteX38" fmla="*/ 9209 w 10000"/>
              <a:gd name="connsiteY38" fmla="*/ 1791 h 10000"/>
              <a:gd name="connsiteX39" fmla="*/ 9209 w 10000"/>
              <a:gd name="connsiteY39" fmla="*/ 2139 h 10000"/>
              <a:gd name="connsiteX40" fmla="*/ 9353 w 10000"/>
              <a:gd name="connsiteY40" fmla="*/ 3980 h 10000"/>
              <a:gd name="connsiteX41" fmla="*/ 8921 w 10000"/>
              <a:gd name="connsiteY41" fmla="*/ 4229 h 10000"/>
              <a:gd name="connsiteX42" fmla="*/ 9856 w 10000"/>
              <a:gd name="connsiteY42" fmla="*/ 4975 h 10000"/>
              <a:gd name="connsiteX43" fmla="*/ 9496 w 10000"/>
              <a:gd name="connsiteY43" fmla="*/ 5423 h 10000"/>
              <a:gd name="connsiteX44" fmla="*/ 10000 w 10000"/>
              <a:gd name="connsiteY44" fmla="*/ 8557 h 10000"/>
              <a:gd name="connsiteX45" fmla="*/ 8705 w 10000"/>
              <a:gd name="connsiteY45" fmla="*/ 8259 h 10000"/>
              <a:gd name="connsiteX46" fmla="*/ 7770 w 10000"/>
              <a:gd name="connsiteY46" fmla="*/ 8955 h 10000"/>
              <a:gd name="connsiteX47" fmla="*/ 5252 w 10000"/>
              <a:gd name="connsiteY47" fmla="*/ 9552 h 10000"/>
              <a:gd name="connsiteX48" fmla="*/ 4748 w 10000"/>
              <a:gd name="connsiteY48"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3094 w 10000"/>
              <a:gd name="connsiteY14" fmla="*/ 4279 h 10000"/>
              <a:gd name="connsiteX15" fmla="*/ 3741 w 10000"/>
              <a:gd name="connsiteY15" fmla="*/ 3881 h 10000"/>
              <a:gd name="connsiteX16" fmla="*/ 1002 w 10000"/>
              <a:gd name="connsiteY16" fmla="*/ 2972 h 10000"/>
              <a:gd name="connsiteX17" fmla="*/ 2014 w 10000"/>
              <a:gd name="connsiteY17" fmla="*/ 2388 h 10000"/>
              <a:gd name="connsiteX18" fmla="*/ 1599 w 10000"/>
              <a:gd name="connsiteY18" fmla="*/ 2202 h 10000"/>
              <a:gd name="connsiteX19" fmla="*/ 2086 w 10000"/>
              <a:gd name="connsiteY19" fmla="*/ 1741 h 10000"/>
              <a:gd name="connsiteX20" fmla="*/ 2446 w 10000"/>
              <a:gd name="connsiteY20" fmla="*/ 1542 h 10000"/>
              <a:gd name="connsiteX21" fmla="*/ 2734 w 10000"/>
              <a:gd name="connsiteY21" fmla="*/ 1542 h 10000"/>
              <a:gd name="connsiteX22" fmla="*/ 2878 w 10000"/>
              <a:gd name="connsiteY22" fmla="*/ 1741 h 10000"/>
              <a:gd name="connsiteX23" fmla="*/ 3201 w 10000"/>
              <a:gd name="connsiteY23" fmla="*/ 1467 h 10000"/>
              <a:gd name="connsiteX24" fmla="*/ 3618 w 10000"/>
              <a:gd name="connsiteY24" fmla="*/ 1038 h 10000"/>
              <a:gd name="connsiteX25" fmla="*/ 4427 w 10000"/>
              <a:gd name="connsiteY25" fmla="*/ 656 h 10000"/>
              <a:gd name="connsiteX26" fmla="*/ 5540 w 10000"/>
              <a:gd name="connsiteY26" fmla="*/ 547 h 10000"/>
              <a:gd name="connsiteX27" fmla="*/ 6475 w 10000"/>
              <a:gd name="connsiteY27" fmla="*/ 597 h 10000"/>
              <a:gd name="connsiteX28" fmla="*/ 6763 w 10000"/>
              <a:gd name="connsiteY28" fmla="*/ 746 h 10000"/>
              <a:gd name="connsiteX29" fmla="*/ 6978 w 10000"/>
              <a:gd name="connsiteY29" fmla="*/ 348 h 10000"/>
              <a:gd name="connsiteX30" fmla="*/ 7410 w 10000"/>
              <a:gd name="connsiteY30" fmla="*/ 0 h 10000"/>
              <a:gd name="connsiteX31" fmla="*/ 7554 w 10000"/>
              <a:gd name="connsiteY31" fmla="*/ 249 h 10000"/>
              <a:gd name="connsiteX32" fmla="*/ 7986 w 10000"/>
              <a:gd name="connsiteY32" fmla="*/ 299 h 10000"/>
              <a:gd name="connsiteX33" fmla="*/ 8129 w 10000"/>
              <a:gd name="connsiteY33" fmla="*/ 746 h 10000"/>
              <a:gd name="connsiteX34" fmla="*/ 7626 w 10000"/>
              <a:gd name="connsiteY34" fmla="*/ 896 h 10000"/>
              <a:gd name="connsiteX35" fmla="*/ 7338 w 10000"/>
              <a:gd name="connsiteY35" fmla="*/ 1194 h 10000"/>
              <a:gd name="connsiteX36" fmla="*/ 7482 w 10000"/>
              <a:gd name="connsiteY36" fmla="*/ 1393 h 10000"/>
              <a:gd name="connsiteX37" fmla="*/ 8273 w 10000"/>
              <a:gd name="connsiteY37" fmla="*/ 1194 h 10000"/>
              <a:gd name="connsiteX38" fmla="*/ 9209 w 10000"/>
              <a:gd name="connsiteY38" fmla="*/ 1791 h 10000"/>
              <a:gd name="connsiteX39" fmla="*/ 9209 w 10000"/>
              <a:gd name="connsiteY39" fmla="*/ 2139 h 10000"/>
              <a:gd name="connsiteX40" fmla="*/ 9353 w 10000"/>
              <a:gd name="connsiteY40" fmla="*/ 3980 h 10000"/>
              <a:gd name="connsiteX41" fmla="*/ 8921 w 10000"/>
              <a:gd name="connsiteY41" fmla="*/ 4229 h 10000"/>
              <a:gd name="connsiteX42" fmla="*/ 9856 w 10000"/>
              <a:gd name="connsiteY42" fmla="*/ 4975 h 10000"/>
              <a:gd name="connsiteX43" fmla="*/ 9496 w 10000"/>
              <a:gd name="connsiteY43" fmla="*/ 5423 h 10000"/>
              <a:gd name="connsiteX44" fmla="*/ 10000 w 10000"/>
              <a:gd name="connsiteY44" fmla="*/ 8557 h 10000"/>
              <a:gd name="connsiteX45" fmla="*/ 8705 w 10000"/>
              <a:gd name="connsiteY45" fmla="*/ 8259 h 10000"/>
              <a:gd name="connsiteX46" fmla="*/ 7770 w 10000"/>
              <a:gd name="connsiteY46" fmla="*/ 8955 h 10000"/>
              <a:gd name="connsiteX47" fmla="*/ 5252 w 10000"/>
              <a:gd name="connsiteY47" fmla="*/ 9552 h 10000"/>
              <a:gd name="connsiteX48" fmla="*/ 4748 w 10000"/>
              <a:gd name="connsiteY48"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3094 w 10000"/>
              <a:gd name="connsiteY14" fmla="*/ 4279 h 10000"/>
              <a:gd name="connsiteX15" fmla="*/ 3251 w 10000"/>
              <a:gd name="connsiteY15" fmla="*/ 4051 h 10000"/>
              <a:gd name="connsiteX16" fmla="*/ 1002 w 10000"/>
              <a:gd name="connsiteY16" fmla="*/ 2972 h 10000"/>
              <a:gd name="connsiteX17" fmla="*/ 2014 w 10000"/>
              <a:gd name="connsiteY17" fmla="*/ 2388 h 10000"/>
              <a:gd name="connsiteX18" fmla="*/ 1599 w 10000"/>
              <a:gd name="connsiteY18" fmla="*/ 2202 h 10000"/>
              <a:gd name="connsiteX19" fmla="*/ 2086 w 10000"/>
              <a:gd name="connsiteY19" fmla="*/ 1741 h 10000"/>
              <a:gd name="connsiteX20" fmla="*/ 2446 w 10000"/>
              <a:gd name="connsiteY20" fmla="*/ 1542 h 10000"/>
              <a:gd name="connsiteX21" fmla="*/ 2734 w 10000"/>
              <a:gd name="connsiteY21" fmla="*/ 1542 h 10000"/>
              <a:gd name="connsiteX22" fmla="*/ 2878 w 10000"/>
              <a:gd name="connsiteY22" fmla="*/ 1741 h 10000"/>
              <a:gd name="connsiteX23" fmla="*/ 3201 w 10000"/>
              <a:gd name="connsiteY23" fmla="*/ 1467 h 10000"/>
              <a:gd name="connsiteX24" fmla="*/ 3618 w 10000"/>
              <a:gd name="connsiteY24" fmla="*/ 1038 h 10000"/>
              <a:gd name="connsiteX25" fmla="*/ 4427 w 10000"/>
              <a:gd name="connsiteY25" fmla="*/ 656 h 10000"/>
              <a:gd name="connsiteX26" fmla="*/ 5540 w 10000"/>
              <a:gd name="connsiteY26" fmla="*/ 547 h 10000"/>
              <a:gd name="connsiteX27" fmla="*/ 6475 w 10000"/>
              <a:gd name="connsiteY27" fmla="*/ 597 h 10000"/>
              <a:gd name="connsiteX28" fmla="*/ 6763 w 10000"/>
              <a:gd name="connsiteY28" fmla="*/ 746 h 10000"/>
              <a:gd name="connsiteX29" fmla="*/ 6978 w 10000"/>
              <a:gd name="connsiteY29" fmla="*/ 348 h 10000"/>
              <a:gd name="connsiteX30" fmla="*/ 7410 w 10000"/>
              <a:gd name="connsiteY30" fmla="*/ 0 h 10000"/>
              <a:gd name="connsiteX31" fmla="*/ 7554 w 10000"/>
              <a:gd name="connsiteY31" fmla="*/ 249 h 10000"/>
              <a:gd name="connsiteX32" fmla="*/ 7986 w 10000"/>
              <a:gd name="connsiteY32" fmla="*/ 299 h 10000"/>
              <a:gd name="connsiteX33" fmla="*/ 8129 w 10000"/>
              <a:gd name="connsiteY33" fmla="*/ 746 h 10000"/>
              <a:gd name="connsiteX34" fmla="*/ 7626 w 10000"/>
              <a:gd name="connsiteY34" fmla="*/ 896 h 10000"/>
              <a:gd name="connsiteX35" fmla="*/ 7338 w 10000"/>
              <a:gd name="connsiteY35" fmla="*/ 1194 h 10000"/>
              <a:gd name="connsiteX36" fmla="*/ 7482 w 10000"/>
              <a:gd name="connsiteY36" fmla="*/ 1393 h 10000"/>
              <a:gd name="connsiteX37" fmla="*/ 8273 w 10000"/>
              <a:gd name="connsiteY37" fmla="*/ 1194 h 10000"/>
              <a:gd name="connsiteX38" fmla="*/ 9209 w 10000"/>
              <a:gd name="connsiteY38" fmla="*/ 1791 h 10000"/>
              <a:gd name="connsiteX39" fmla="*/ 9209 w 10000"/>
              <a:gd name="connsiteY39" fmla="*/ 2139 h 10000"/>
              <a:gd name="connsiteX40" fmla="*/ 9353 w 10000"/>
              <a:gd name="connsiteY40" fmla="*/ 3980 h 10000"/>
              <a:gd name="connsiteX41" fmla="*/ 8921 w 10000"/>
              <a:gd name="connsiteY41" fmla="*/ 4229 h 10000"/>
              <a:gd name="connsiteX42" fmla="*/ 9856 w 10000"/>
              <a:gd name="connsiteY42" fmla="*/ 4975 h 10000"/>
              <a:gd name="connsiteX43" fmla="*/ 9496 w 10000"/>
              <a:gd name="connsiteY43" fmla="*/ 5423 h 10000"/>
              <a:gd name="connsiteX44" fmla="*/ 10000 w 10000"/>
              <a:gd name="connsiteY44" fmla="*/ 8557 h 10000"/>
              <a:gd name="connsiteX45" fmla="*/ 8705 w 10000"/>
              <a:gd name="connsiteY45" fmla="*/ 8259 h 10000"/>
              <a:gd name="connsiteX46" fmla="*/ 7770 w 10000"/>
              <a:gd name="connsiteY46" fmla="*/ 8955 h 10000"/>
              <a:gd name="connsiteX47" fmla="*/ 5252 w 10000"/>
              <a:gd name="connsiteY47" fmla="*/ 9552 h 10000"/>
              <a:gd name="connsiteX48" fmla="*/ 4748 w 10000"/>
              <a:gd name="connsiteY48"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2158 w 10000"/>
              <a:gd name="connsiteY10" fmla="*/ 4876 h 10000"/>
              <a:gd name="connsiteX11" fmla="*/ 1727 w 10000"/>
              <a:gd name="connsiteY11" fmla="*/ 4726 h 10000"/>
              <a:gd name="connsiteX12" fmla="*/ 1583 w 10000"/>
              <a:gd name="connsiteY12" fmla="*/ 4279 h 10000"/>
              <a:gd name="connsiteX13" fmla="*/ 2374 w 10000"/>
              <a:gd name="connsiteY13" fmla="*/ 4080 h 10000"/>
              <a:gd name="connsiteX14" fmla="*/ 2854 w 10000"/>
              <a:gd name="connsiteY14" fmla="*/ 3932 h 10000"/>
              <a:gd name="connsiteX15" fmla="*/ 3251 w 10000"/>
              <a:gd name="connsiteY15" fmla="*/ 4051 h 10000"/>
              <a:gd name="connsiteX16" fmla="*/ 1002 w 10000"/>
              <a:gd name="connsiteY16" fmla="*/ 2972 h 10000"/>
              <a:gd name="connsiteX17" fmla="*/ 2014 w 10000"/>
              <a:gd name="connsiteY17" fmla="*/ 2388 h 10000"/>
              <a:gd name="connsiteX18" fmla="*/ 1599 w 10000"/>
              <a:gd name="connsiteY18" fmla="*/ 2202 h 10000"/>
              <a:gd name="connsiteX19" fmla="*/ 2086 w 10000"/>
              <a:gd name="connsiteY19" fmla="*/ 1741 h 10000"/>
              <a:gd name="connsiteX20" fmla="*/ 2446 w 10000"/>
              <a:gd name="connsiteY20" fmla="*/ 1542 h 10000"/>
              <a:gd name="connsiteX21" fmla="*/ 2734 w 10000"/>
              <a:gd name="connsiteY21" fmla="*/ 1542 h 10000"/>
              <a:gd name="connsiteX22" fmla="*/ 2878 w 10000"/>
              <a:gd name="connsiteY22" fmla="*/ 1741 h 10000"/>
              <a:gd name="connsiteX23" fmla="*/ 3201 w 10000"/>
              <a:gd name="connsiteY23" fmla="*/ 1467 h 10000"/>
              <a:gd name="connsiteX24" fmla="*/ 3618 w 10000"/>
              <a:gd name="connsiteY24" fmla="*/ 1038 h 10000"/>
              <a:gd name="connsiteX25" fmla="*/ 4427 w 10000"/>
              <a:gd name="connsiteY25" fmla="*/ 656 h 10000"/>
              <a:gd name="connsiteX26" fmla="*/ 5540 w 10000"/>
              <a:gd name="connsiteY26" fmla="*/ 547 h 10000"/>
              <a:gd name="connsiteX27" fmla="*/ 6475 w 10000"/>
              <a:gd name="connsiteY27" fmla="*/ 597 h 10000"/>
              <a:gd name="connsiteX28" fmla="*/ 6763 w 10000"/>
              <a:gd name="connsiteY28" fmla="*/ 746 h 10000"/>
              <a:gd name="connsiteX29" fmla="*/ 6978 w 10000"/>
              <a:gd name="connsiteY29" fmla="*/ 348 h 10000"/>
              <a:gd name="connsiteX30" fmla="*/ 7410 w 10000"/>
              <a:gd name="connsiteY30" fmla="*/ 0 h 10000"/>
              <a:gd name="connsiteX31" fmla="*/ 7554 w 10000"/>
              <a:gd name="connsiteY31" fmla="*/ 249 h 10000"/>
              <a:gd name="connsiteX32" fmla="*/ 7986 w 10000"/>
              <a:gd name="connsiteY32" fmla="*/ 299 h 10000"/>
              <a:gd name="connsiteX33" fmla="*/ 8129 w 10000"/>
              <a:gd name="connsiteY33" fmla="*/ 746 h 10000"/>
              <a:gd name="connsiteX34" fmla="*/ 7626 w 10000"/>
              <a:gd name="connsiteY34" fmla="*/ 896 h 10000"/>
              <a:gd name="connsiteX35" fmla="*/ 7338 w 10000"/>
              <a:gd name="connsiteY35" fmla="*/ 1194 h 10000"/>
              <a:gd name="connsiteX36" fmla="*/ 7482 w 10000"/>
              <a:gd name="connsiteY36" fmla="*/ 1393 h 10000"/>
              <a:gd name="connsiteX37" fmla="*/ 8273 w 10000"/>
              <a:gd name="connsiteY37" fmla="*/ 1194 h 10000"/>
              <a:gd name="connsiteX38" fmla="*/ 9209 w 10000"/>
              <a:gd name="connsiteY38" fmla="*/ 1791 h 10000"/>
              <a:gd name="connsiteX39" fmla="*/ 9209 w 10000"/>
              <a:gd name="connsiteY39" fmla="*/ 2139 h 10000"/>
              <a:gd name="connsiteX40" fmla="*/ 9353 w 10000"/>
              <a:gd name="connsiteY40" fmla="*/ 3980 h 10000"/>
              <a:gd name="connsiteX41" fmla="*/ 8921 w 10000"/>
              <a:gd name="connsiteY41" fmla="*/ 4229 h 10000"/>
              <a:gd name="connsiteX42" fmla="*/ 9856 w 10000"/>
              <a:gd name="connsiteY42" fmla="*/ 4975 h 10000"/>
              <a:gd name="connsiteX43" fmla="*/ 9496 w 10000"/>
              <a:gd name="connsiteY43" fmla="*/ 5423 h 10000"/>
              <a:gd name="connsiteX44" fmla="*/ 10000 w 10000"/>
              <a:gd name="connsiteY44" fmla="*/ 8557 h 10000"/>
              <a:gd name="connsiteX45" fmla="*/ 8705 w 10000"/>
              <a:gd name="connsiteY45" fmla="*/ 8259 h 10000"/>
              <a:gd name="connsiteX46" fmla="*/ 7770 w 10000"/>
              <a:gd name="connsiteY46" fmla="*/ 8955 h 10000"/>
              <a:gd name="connsiteX47" fmla="*/ 5252 w 10000"/>
              <a:gd name="connsiteY47" fmla="*/ 9552 h 10000"/>
              <a:gd name="connsiteX48" fmla="*/ 4748 w 10000"/>
              <a:gd name="connsiteY48"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2374 w 10000"/>
              <a:gd name="connsiteY9" fmla="*/ 6119 h 10000"/>
              <a:gd name="connsiteX10" fmla="*/ 1816 w 10000"/>
              <a:gd name="connsiteY10" fmla="*/ 4909 h 10000"/>
              <a:gd name="connsiteX11" fmla="*/ 1727 w 10000"/>
              <a:gd name="connsiteY11" fmla="*/ 4726 h 10000"/>
              <a:gd name="connsiteX12" fmla="*/ 1583 w 10000"/>
              <a:gd name="connsiteY12" fmla="*/ 4279 h 10000"/>
              <a:gd name="connsiteX13" fmla="*/ 2374 w 10000"/>
              <a:gd name="connsiteY13" fmla="*/ 4080 h 10000"/>
              <a:gd name="connsiteX14" fmla="*/ 2854 w 10000"/>
              <a:gd name="connsiteY14" fmla="*/ 3932 h 10000"/>
              <a:gd name="connsiteX15" fmla="*/ 3251 w 10000"/>
              <a:gd name="connsiteY15" fmla="*/ 4051 h 10000"/>
              <a:gd name="connsiteX16" fmla="*/ 1002 w 10000"/>
              <a:gd name="connsiteY16" fmla="*/ 2972 h 10000"/>
              <a:gd name="connsiteX17" fmla="*/ 2014 w 10000"/>
              <a:gd name="connsiteY17" fmla="*/ 2388 h 10000"/>
              <a:gd name="connsiteX18" fmla="*/ 1599 w 10000"/>
              <a:gd name="connsiteY18" fmla="*/ 2202 h 10000"/>
              <a:gd name="connsiteX19" fmla="*/ 2086 w 10000"/>
              <a:gd name="connsiteY19" fmla="*/ 1741 h 10000"/>
              <a:gd name="connsiteX20" fmla="*/ 2446 w 10000"/>
              <a:gd name="connsiteY20" fmla="*/ 1542 h 10000"/>
              <a:gd name="connsiteX21" fmla="*/ 2734 w 10000"/>
              <a:gd name="connsiteY21" fmla="*/ 1542 h 10000"/>
              <a:gd name="connsiteX22" fmla="*/ 2878 w 10000"/>
              <a:gd name="connsiteY22" fmla="*/ 1741 h 10000"/>
              <a:gd name="connsiteX23" fmla="*/ 3201 w 10000"/>
              <a:gd name="connsiteY23" fmla="*/ 1467 h 10000"/>
              <a:gd name="connsiteX24" fmla="*/ 3618 w 10000"/>
              <a:gd name="connsiteY24" fmla="*/ 1038 h 10000"/>
              <a:gd name="connsiteX25" fmla="*/ 4427 w 10000"/>
              <a:gd name="connsiteY25" fmla="*/ 656 h 10000"/>
              <a:gd name="connsiteX26" fmla="*/ 5540 w 10000"/>
              <a:gd name="connsiteY26" fmla="*/ 547 h 10000"/>
              <a:gd name="connsiteX27" fmla="*/ 6475 w 10000"/>
              <a:gd name="connsiteY27" fmla="*/ 597 h 10000"/>
              <a:gd name="connsiteX28" fmla="*/ 6763 w 10000"/>
              <a:gd name="connsiteY28" fmla="*/ 746 h 10000"/>
              <a:gd name="connsiteX29" fmla="*/ 6978 w 10000"/>
              <a:gd name="connsiteY29" fmla="*/ 348 h 10000"/>
              <a:gd name="connsiteX30" fmla="*/ 7410 w 10000"/>
              <a:gd name="connsiteY30" fmla="*/ 0 h 10000"/>
              <a:gd name="connsiteX31" fmla="*/ 7554 w 10000"/>
              <a:gd name="connsiteY31" fmla="*/ 249 h 10000"/>
              <a:gd name="connsiteX32" fmla="*/ 7986 w 10000"/>
              <a:gd name="connsiteY32" fmla="*/ 299 h 10000"/>
              <a:gd name="connsiteX33" fmla="*/ 8129 w 10000"/>
              <a:gd name="connsiteY33" fmla="*/ 746 h 10000"/>
              <a:gd name="connsiteX34" fmla="*/ 7626 w 10000"/>
              <a:gd name="connsiteY34" fmla="*/ 896 h 10000"/>
              <a:gd name="connsiteX35" fmla="*/ 7338 w 10000"/>
              <a:gd name="connsiteY35" fmla="*/ 1194 h 10000"/>
              <a:gd name="connsiteX36" fmla="*/ 7482 w 10000"/>
              <a:gd name="connsiteY36" fmla="*/ 1393 h 10000"/>
              <a:gd name="connsiteX37" fmla="*/ 8273 w 10000"/>
              <a:gd name="connsiteY37" fmla="*/ 1194 h 10000"/>
              <a:gd name="connsiteX38" fmla="*/ 9209 w 10000"/>
              <a:gd name="connsiteY38" fmla="*/ 1791 h 10000"/>
              <a:gd name="connsiteX39" fmla="*/ 9209 w 10000"/>
              <a:gd name="connsiteY39" fmla="*/ 2139 h 10000"/>
              <a:gd name="connsiteX40" fmla="*/ 9353 w 10000"/>
              <a:gd name="connsiteY40" fmla="*/ 3980 h 10000"/>
              <a:gd name="connsiteX41" fmla="*/ 8921 w 10000"/>
              <a:gd name="connsiteY41" fmla="*/ 4229 h 10000"/>
              <a:gd name="connsiteX42" fmla="*/ 9856 w 10000"/>
              <a:gd name="connsiteY42" fmla="*/ 4975 h 10000"/>
              <a:gd name="connsiteX43" fmla="*/ 9496 w 10000"/>
              <a:gd name="connsiteY43" fmla="*/ 5423 h 10000"/>
              <a:gd name="connsiteX44" fmla="*/ 10000 w 10000"/>
              <a:gd name="connsiteY44" fmla="*/ 8557 h 10000"/>
              <a:gd name="connsiteX45" fmla="*/ 8705 w 10000"/>
              <a:gd name="connsiteY45" fmla="*/ 8259 h 10000"/>
              <a:gd name="connsiteX46" fmla="*/ 7770 w 10000"/>
              <a:gd name="connsiteY46" fmla="*/ 8955 h 10000"/>
              <a:gd name="connsiteX47" fmla="*/ 5252 w 10000"/>
              <a:gd name="connsiteY47" fmla="*/ 9552 h 10000"/>
              <a:gd name="connsiteX48" fmla="*/ 4748 w 10000"/>
              <a:gd name="connsiteY48"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439 w 10000"/>
              <a:gd name="connsiteY7" fmla="*/ 6866 h 10000"/>
              <a:gd name="connsiteX8" fmla="*/ 1367 w 10000"/>
              <a:gd name="connsiteY8" fmla="*/ 6169 h 10000"/>
              <a:gd name="connsiteX9" fmla="*/ 1921 w 10000"/>
              <a:gd name="connsiteY9" fmla="*/ 5874 h 10000"/>
              <a:gd name="connsiteX10" fmla="*/ 1816 w 10000"/>
              <a:gd name="connsiteY10" fmla="*/ 4909 h 10000"/>
              <a:gd name="connsiteX11" fmla="*/ 1727 w 10000"/>
              <a:gd name="connsiteY11" fmla="*/ 4726 h 10000"/>
              <a:gd name="connsiteX12" fmla="*/ 1583 w 10000"/>
              <a:gd name="connsiteY12" fmla="*/ 4279 h 10000"/>
              <a:gd name="connsiteX13" fmla="*/ 2374 w 10000"/>
              <a:gd name="connsiteY13" fmla="*/ 4080 h 10000"/>
              <a:gd name="connsiteX14" fmla="*/ 2854 w 10000"/>
              <a:gd name="connsiteY14" fmla="*/ 3932 h 10000"/>
              <a:gd name="connsiteX15" fmla="*/ 3251 w 10000"/>
              <a:gd name="connsiteY15" fmla="*/ 4051 h 10000"/>
              <a:gd name="connsiteX16" fmla="*/ 1002 w 10000"/>
              <a:gd name="connsiteY16" fmla="*/ 2972 h 10000"/>
              <a:gd name="connsiteX17" fmla="*/ 2014 w 10000"/>
              <a:gd name="connsiteY17" fmla="*/ 2388 h 10000"/>
              <a:gd name="connsiteX18" fmla="*/ 1599 w 10000"/>
              <a:gd name="connsiteY18" fmla="*/ 2202 h 10000"/>
              <a:gd name="connsiteX19" fmla="*/ 2086 w 10000"/>
              <a:gd name="connsiteY19" fmla="*/ 1741 h 10000"/>
              <a:gd name="connsiteX20" fmla="*/ 2446 w 10000"/>
              <a:gd name="connsiteY20" fmla="*/ 1542 h 10000"/>
              <a:gd name="connsiteX21" fmla="*/ 2734 w 10000"/>
              <a:gd name="connsiteY21" fmla="*/ 1542 h 10000"/>
              <a:gd name="connsiteX22" fmla="*/ 2878 w 10000"/>
              <a:gd name="connsiteY22" fmla="*/ 1741 h 10000"/>
              <a:gd name="connsiteX23" fmla="*/ 3201 w 10000"/>
              <a:gd name="connsiteY23" fmla="*/ 1467 h 10000"/>
              <a:gd name="connsiteX24" fmla="*/ 3618 w 10000"/>
              <a:gd name="connsiteY24" fmla="*/ 1038 h 10000"/>
              <a:gd name="connsiteX25" fmla="*/ 4427 w 10000"/>
              <a:gd name="connsiteY25" fmla="*/ 656 h 10000"/>
              <a:gd name="connsiteX26" fmla="*/ 5540 w 10000"/>
              <a:gd name="connsiteY26" fmla="*/ 547 h 10000"/>
              <a:gd name="connsiteX27" fmla="*/ 6475 w 10000"/>
              <a:gd name="connsiteY27" fmla="*/ 597 h 10000"/>
              <a:gd name="connsiteX28" fmla="*/ 6763 w 10000"/>
              <a:gd name="connsiteY28" fmla="*/ 746 h 10000"/>
              <a:gd name="connsiteX29" fmla="*/ 6978 w 10000"/>
              <a:gd name="connsiteY29" fmla="*/ 348 h 10000"/>
              <a:gd name="connsiteX30" fmla="*/ 7410 w 10000"/>
              <a:gd name="connsiteY30" fmla="*/ 0 h 10000"/>
              <a:gd name="connsiteX31" fmla="*/ 7554 w 10000"/>
              <a:gd name="connsiteY31" fmla="*/ 249 h 10000"/>
              <a:gd name="connsiteX32" fmla="*/ 7986 w 10000"/>
              <a:gd name="connsiteY32" fmla="*/ 299 h 10000"/>
              <a:gd name="connsiteX33" fmla="*/ 8129 w 10000"/>
              <a:gd name="connsiteY33" fmla="*/ 746 h 10000"/>
              <a:gd name="connsiteX34" fmla="*/ 7626 w 10000"/>
              <a:gd name="connsiteY34" fmla="*/ 896 h 10000"/>
              <a:gd name="connsiteX35" fmla="*/ 7338 w 10000"/>
              <a:gd name="connsiteY35" fmla="*/ 1194 h 10000"/>
              <a:gd name="connsiteX36" fmla="*/ 7482 w 10000"/>
              <a:gd name="connsiteY36" fmla="*/ 1393 h 10000"/>
              <a:gd name="connsiteX37" fmla="*/ 8273 w 10000"/>
              <a:gd name="connsiteY37" fmla="*/ 1194 h 10000"/>
              <a:gd name="connsiteX38" fmla="*/ 9209 w 10000"/>
              <a:gd name="connsiteY38" fmla="*/ 1791 h 10000"/>
              <a:gd name="connsiteX39" fmla="*/ 9209 w 10000"/>
              <a:gd name="connsiteY39" fmla="*/ 2139 h 10000"/>
              <a:gd name="connsiteX40" fmla="*/ 9353 w 10000"/>
              <a:gd name="connsiteY40" fmla="*/ 3980 h 10000"/>
              <a:gd name="connsiteX41" fmla="*/ 8921 w 10000"/>
              <a:gd name="connsiteY41" fmla="*/ 4229 h 10000"/>
              <a:gd name="connsiteX42" fmla="*/ 9856 w 10000"/>
              <a:gd name="connsiteY42" fmla="*/ 4975 h 10000"/>
              <a:gd name="connsiteX43" fmla="*/ 9496 w 10000"/>
              <a:gd name="connsiteY43" fmla="*/ 5423 h 10000"/>
              <a:gd name="connsiteX44" fmla="*/ 10000 w 10000"/>
              <a:gd name="connsiteY44" fmla="*/ 8557 h 10000"/>
              <a:gd name="connsiteX45" fmla="*/ 8705 w 10000"/>
              <a:gd name="connsiteY45" fmla="*/ 8259 h 10000"/>
              <a:gd name="connsiteX46" fmla="*/ 7770 w 10000"/>
              <a:gd name="connsiteY46" fmla="*/ 8955 h 10000"/>
              <a:gd name="connsiteX47" fmla="*/ 5252 w 10000"/>
              <a:gd name="connsiteY47" fmla="*/ 9552 h 10000"/>
              <a:gd name="connsiteX48" fmla="*/ 4748 w 10000"/>
              <a:gd name="connsiteY48" fmla="*/ 10000 h 10000"/>
              <a:gd name="connsiteX0" fmla="*/ 4748 w 10000"/>
              <a:gd name="connsiteY0" fmla="*/ 10000 h 10000"/>
              <a:gd name="connsiteX1" fmla="*/ 4029 w 10000"/>
              <a:gd name="connsiteY1" fmla="*/ 9801 h 10000"/>
              <a:gd name="connsiteX2" fmla="*/ 3094 w 10000"/>
              <a:gd name="connsiteY2" fmla="*/ 9950 h 10000"/>
              <a:gd name="connsiteX3" fmla="*/ 1295 w 10000"/>
              <a:gd name="connsiteY3" fmla="*/ 10000 h 10000"/>
              <a:gd name="connsiteX4" fmla="*/ 0 w 10000"/>
              <a:gd name="connsiteY4" fmla="*/ 8856 h 10000"/>
              <a:gd name="connsiteX5" fmla="*/ 432 w 10000"/>
              <a:gd name="connsiteY5" fmla="*/ 8209 h 10000"/>
              <a:gd name="connsiteX6" fmla="*/ 0 w 10000"/>
              <a:gd name="connsiteY6" fmla="*/ 7512 h 10000"/>
              <a:gd name="connsiteX7" fmla="*/ 1163 w 10000"/>
              <a:gd name="connsiteY7" fmla="*/ 6932 h 10000"/>
              <a:gd name="connsiteX8" fmla="*/ 1439 w 10000"/>
              <a:gd name="connsiteY8" fmla="*/ 6866 h 10000"/>
              <a:gd name="connsiteX9" fmla="*/ 1367 w 10000"/>
              <a:gd name="connsiteY9" fmla="*/ 6169 h 10000"/>
              <a:gd name="connsiteX10" fmla="*/ 1921 w 10000"/>
              <a:gd name="connsiteY10" fmla="*/ 5874 h 10000"/>
              <a:gd name="connsiteX11" fmla="*/ 1816 w 10000"/>
              <a:gd name="connsiteY11" fmla="*/ 4909 h 10000"/>
              <a:gd name="connsiteX12" fmla="*/ 1727 w 10000"/>
              <a:gd name="connsiteY12" fmla="*/ 4726 h 10000"/>
              <a:gd name="connsiteX13" fmla="*/ 1583 w 10000"/>
              <a:gd name="connsiteY13" fmla="*/ 4279 h 10000"/>
              <a:gd name="connsiteX14" fmla="*/ 2374 w 10000"/>
              <a:gd name="connsiteY14" fmla="*/ 4080 h 10000"/>
              <a:gd name="connsiteX15" fmla="*/ 2854 w 10000"/>
              <a:gd name="connsiteY15" fmla="*/ 3932 h 10000"/>
              <a:gd name="connsiteX16" fmla="*/ 3251 w 10000"/>
              <a:gd name="connsiteY16" fmla="*/ 4051 h 10000"/>
              <a:gd name="connsiteX17" fmla="*/ 1002 w 10000"/>
              <a:gd name="connsiteY17" fmla="*/ 2972 h 10000"/>
              <a:gd name="connsiteX18" fmla="*/ 2014 w 10000"/>
              <a:gd name="connsiteY18" fmla="*/ 2388 h 10000"/>
              <a:gd name="connsiteX19" fmla="*/ 1599 w 10000"/>
              <a:gd name="connsiteY19" fmla="*/ 2202 h 10000"/>
              <a:gd name="connsiteX20" fmla="*/ 2086 w 10000"/>
              <a:gd name="connsiteY20" fmla="*/ 1741 h 10000"/>
              <a:gd name="connsiteX21" fmla="*/ 2446 w 10000"/>
              <a:gd name="connsiteY21" fmla="*/ 1542 h 10000"/>
              <a:gd name="connsiteX22" fmla="*/ 2734 w 10000"/>
              <a:gd name="connsiteY22" fmla="*/ 1542 h 10000"/>
              <a:gd name="connsiteX23" fmla="*/ 2878 w 10000"/>
              <a:gd name="connsiteY23" fmla="*/ 1741 h 10000"/>
              <a:gd name="connsiteX24" fmla="*/ 3201 w 10000"/>
              <a:gd name="connsiteY24" fmla="*/ 1467 h 10000"/>
              <a:gd name="connsiteX25" fmla="*/ 3618 w 10000"/>
              <a:gd name="connsiteY25" fmla="*/ 1038 h 10000"/>
              <a:gd name="connsiteX26" fmla="*/ 4427 w 10000"/>
              <a:gd name="connsiteY26" fmla="*/ 656 h 10000"/>
              <a:gd name="connsiteX27" fmla="*/ 5540 w 10000"/>
              <a:gd name="connsiteY27" fmla="*/ 547 h 10000"/>
              <a:gd name="connsiteX28" fmla="*/ 6475 w 10000"/>
              <a:gd name="connsiteY28" fmla="*/ 597 h 10000"/>
              <a:gd name="connsiteX29" fmla="*/ 6763 w 10000"/>
              <a:gd name="connsiteY29" fmla="*/ 746 h 10000"/>
              <a:gd name="connsiteX30" fmla="*/ 6978 w 10000"/>
              <a:gd name="connsiteY30" fmla="*/ 348 h 10000"/>
              <a:gd name="connsiteX31" fmla="*/ 7410 w 10000"/>
              <a:gd name="connsiteY31" fmla="*/ 0 h 10000"/>
              <a:gd name="connsiteX32" fmla="*/ 7554 w 10000"/>
              <a:gd name="connsiteY32" fmla="*/ 249 h 10000"/>
              <a:gd name="connsiteX33" fmla="*/ 7986 w 10000"/>
              <a:gd name="connsiteY33" fmla="*/ 299 h 10000"/>
              <a:gd name="connsiteX34" fmla="*/ 8129 w 10000"/>
              <a:gd name="connsiteY34" fmla="*/ 746 h 10000"/>
              <a:gd name="connsiteX35" fmla="*/ 7626 w 10000"/>
              <a:gd name="connsiteY35" fmla="*/ 896 h 10000"/>
              <a:gd name="connsiteX36" fmla="*/ 7338 w 10000"/>
              <a:gd name="connsiteY36" fmla="*/ 1194 h 10000"/>
              <a:gd name="connsiteX37" fmla="*/ 7482 w 10000"/>
              <a:gd name="connsiteY37" fmla="*/ 1393 h 10000"/>
              <a:gd name="connsiteX38" fmla="*/ 8273 w 10000"/>
              <a:gd name="connsiteY38" fmla="*/ 1194 h 10000"/>
              <a:gd name="connsiteX39" fmla="*/ 9209 w 10000"/>
              <a:gd name="connsiteY39" fmla="*/ 1791 h 10000"/>
              <a:gd name="connsiteX40" fmla="*/ 9209 w 10000"/>
              <a:gd name="connsiteY40" fmla="*/ 2139 h 10000"/>
              <a:gd name="connsiteX41" fmla="*/ 9353 w 10000"/>
              <a:gd name="connsiteY41" fmla="*/ 3980 h 10000"/>
              <a:gd name="connsiteX42" fmla="*/ 8921 w 10000"/>
              <a:gd name="connsiteY42" fmla="*/ 4229 h 10000"/>
              <a:gd name="connsiteX43" fmla="*/ 9856 w 10000"/>
              <a:gd name="connsiteY43" fmla="*/ 4975 h 10000"/>
              <a:gd name="connsiteX44" fmla="*/ 9496 w 10000"/>
              <a:gd name="connsiteY44" fmla="*/ 5423 h 10000"/>
              <a:gd name="connsiteX45" fmla="*/ 10000 w 10000"/>
              <a:gd name="connsiteY45" fmla="*/ 8557 h 10000"/>
              <a:gd name="connsiteX46" fmla="*/ 8705 w 10000"/>
              <a:gd name="connsiteY46" fmla="*/ 8259 h 10000"/>
              <a:gd name="connsiteX47" fmla="*/ 7770 w 10000"/>
              <a:gd name="connsiteY47" fmla="*/ 8955 h 10000"/>
              <a:gd name="connsiteX48" fmla="*/ 5252 w 10000"/>
              <a:gd name="connsiteY48" fmla="*/ 9552 h 10000"/>
              <a:gd name="connsiteX49" fmla="*/ 4748 w 10000"/>
              <a:gd name="connsiteY49" fmla="*/ 10000 h 10000"/>
              <a:gd name="connsiteX0" fmla="*/ 4748 w 10000"/>
              <a:gd name="connsiteY0" fmla="*/ 10000 h 10426"/>
              <a:gd name="connsiteX1" fmla="*/ 4029 w 10000"/>
              <a:gd name="connsiteY1" fmla="*/ 9801 h 10426"/>
              <a:gd name="connsiteX2" fmla="*/ 3094 w 10000"/>
              <a:gd name="connsiteY2" fmla="*/ 9950 h 10426"/>
              <a:gd name="connsiteX3" fmla="*/ 1144 w 10000"/>
              <a:gd name="connsiteY3" fmla="*/ 10426 h 10426"/>
              <a:gd name="connsiteX4" fmla="*/ 0 w 10000"/>
              <a:gd name="connsiteY4" fmla="*/ 8856 h 10426"/>
              <a:gd name="connsiteX5" fmla="*/ 432 w 10000"/>
              <a:gd name="connsiteY5" fmla="*/ 8209 h 10426"/>
              <a:gd name="connsiteX6" fmla="*/ 0 w 10000"/>
              <a:gd name="connsiteY6" fmla="*/ 7512 h 10426"/>
              <a:gd name="connsiteX7" fmla="*/ 1163 w 10000"/>
              <a:gd name="connsiteY7" fmla="*/ 6932 h 10426"/>
              <a:gd name="connsiteX8" fmla="*/ 1439 w 10000"/>
              <a:gd name="connsiteY8" fmla="*/ 6866 h 10426"/>
              <a:gd name="connsiteX9" fmla="*/ 1367 w 10000"/>
              <a:gd name="connsiteY9" fmla="*/ 6169 h 10426"/>
              <a:gd name="connsiteX10" fmla="*/ 1921 w 10000"/>
              <a:gd name="connsiteY10" fmla="*/ 5874 h 10426"/>
              <a:gd name="connsiteX11" fmla="*/ 1816 w 10000"/>
              <a:gd name="connsiteY11" fmla="*/ 4909 h 10426"/>
              <a:gd name="connsiteX12" fmla="*/ 1727 w 10000"/>
              <a:gd name="connsiteY12" fmla="*/ 4726 h 10426"/>
              <a:gd name="connsiteX13" fmla="*/ 1583 w 10000"/>
              <a:gd name="connsiteY13" fmla="*/ 4279 h 10426"/>
              <a:gd name="connsiteX14" fmla="*/ 2374 w 10000"/>
              <a:gd name="connsiteY14" fmla="*/ 4080 h 10426"/>
              <a:gd name="connsiteX15" fmla="*/ 2854 w 10000"/>
              <a:gd name="connsiteY15" fmla="*/ 3932 h 10426"/>
              <a:gd name="connsiteX16" fmla="*/ 3251 w 10000"/>
              <a:gd name="connsiteY16" fmla="*/ 4051 h 10426"/>
              <a:gd name="connsiteX17" fmla="*/ 1002 w 10000"/>
              <a:gd name="connsiteY17" fmla="*/ 2972 h 10426"/>
              <a:gd name="connsiteX18" fmla="*/ 2014 w 10000"/>
              <a:gd name="connsiteY18" fmla="*/ 2388 h 10426"/>
              <a:gd name="connsiteX19" fmla="*/ 1599 w 10000"/>
              <a:gd name="connsiteY19" fmla="*/ 2202 h 10426"/>
              <a:gd name="connsiteX20" fmla="*/ 2086 w 10000"/>
              <a:gd name="connsiteY20" fmla="*/ 1741 h 10426"/>
              <a:gd name="connsiteX21" fmla="*/ 2446 w 10000"/>
              <a:gd name="connsiteY21" fmla="*/ 1542 h 10426"/>
              <a:gd name="connsiteX22" fmla="*/ 2734 w 10000"/>
              <a:gd name="connsiteY22" fmla="*/ 1542 h 10426"/>
              <a:gd name="connsiteX23" fmla="*/ 2878 w 10000"/>
              <a:gd name="connsiteY23" fmla="*/ 1741 h 10426"/>
              <a:gd name="connsiteX24" fmla="*/ 3201 w 10000"/>
              <a:gd name="connsiteY24" fmla="*/ 1467 h 10426"/>
              <a:gd name="connsiteX25" fmla="*/ 3618 w 10000"/>
              <a:gd name="connsiteY25" fmla="*/ 1038 h 10426"/>
              <a:gd name="connsiteX26" fmla="*/ 4427 w 10000"/>
              <a:gd name="connsiteY26" fmla="*/ 656 h 10426"/>
              <a:gd name="connsiteX27" fmla="*/ 5540 w 10000"/>
              <a:gd name="connsiteY27" fmla="*/ 547 h 10426"/>
              <a:gd name="connsiteX28" fmla="*/ 6475 w 10000"/>
              <a:gd name="connsiteY28" fmla="*/ 597 h 10426"/>
              <a:gd name="connsiteX29" fmla="*/ 6763 w 10000"/>
              <a:gd name="connsiteY29" fmla="*/ 746 h 10426"/>
              <a:gd name="connsiteX30" fmla="*/ 6978 w 10000"/>
              <a:gd name="connsiteY30" fmla="*/ 348 h 10426"/>
              <a:gd name="connsiteX31" fmla="*/ 7410 w 10000"/>
              <a:gd name="connsiteY31" fmla="*/ 0 h 10426"/>
              <a:gd name="connsiteX32" fmla="*/ 7554 w 10000"/>
              <a:gd name="connsiteY32" fmla="*/ 249 h 10426"/>
              <a:gd name="connsiteX33" fmla="*/ 7986 w 10000"/>
              <a:gd name="connsiteY33" fmla="*/ 299 h 10426"/>
              <a:gd name="connsiteX34" fmla="*/ 8129 w 10000"/>
              <a:gd name="connsiteY34" fmla="*/ 746 h 10426"/>
              <a:gd name="connsiteX35" fmla="*/ 7626 w 10000"/>
              <a:gd name="connsiteY35" fmla="*/ 896 h 10426"/>
              <a:gd name="connsiteX36" fmla="*/ 7338 w 10000"/>
              <a:gd name="connsiteY36" fmla="*/ 1194 h 10426"/>
              <a:gd name="connsiteX37" fmla="*/ 7482 w 10000"/>
              <a:gd name="connsiteY37" fmla="*/ 1393 h 10426"/>
              <a:gd name="connsiteX38" fmla="*/ 8273 w 10000"/>
              <a:gd name="connsiteY38" fmla="*/ 1194 h 10426"/>
              <a:gd name="connsiteX39" fmla="*/ 9209 w 10000"/>
              <a:gd name="connsiteY39" fmla="*/ 1791 h 10426"/>
              <a:gd name="connsiteX40" fmla="*/ 9209 w 10000"/>
              <a:gd name="connsiteY40" fmla="*/ 2139 h 10426"/>
              <a:gd name="connsiteX41" fmla="*/ 9353 w 10000"/>
              <a:gd name="connsiteY41" fmla="*/ 3980 h 10426"/>
              <a:gd name="connsiteX42" fmla="*/ 8921 w 10000"/>
              <a:gd name="connsiteY42" fmla="*/ 4229 h 10426"/>
              <a:gd name="connsiteX43" fmla="*/ 9856 w 10000"/>
              <a:gd name="connsiteY43" fmla="*/ 4975 h 10426"/>
              <a:gd name="connsiteX44" fmla="*/ 9496 w 10000"/>
              <a:gd name="connsiteY44" fmla="*/ 5423 h 10426"/>
              <a:gd name="connsiteX45" fmla="*/ 10000 w 10000"/>
              <a:gd name="connsiteY45" fmla="*/ 8557 h 10426"/>
              <a:gd name="connsiteX46" fmla="*/ 8705 w 10000"/>
              <a:gd name="connsiteY46" fmla="*/ 8259 h 10426"/>
              <a:gd name="connsiteX47" fmla="*/ 7770 w 10000"/>
              <a:gd name="connsiteY47" fmla="*/ 8955 h 10426"/>
              <a:gd name="connsiteX48" fmla="*/ 5252 w 10000"/>
              <a:gd name="connsiteY48" fmla="*/ 9552 h 10426"/>
              <a:gd name="connsiteX49" fmla="*/ 4748 w 10000"/>
              <a:gd name="connsiteY49" fmla="*/ 10000 h 10426"/>
              <a:gd name="connsiteX0" fmla="*/ 4748 w 10000"/>
              <a:gd name="connsiteY0" fmla="*/ 10000 h 10672"/>
              <a:gd name="connsiteX1" fmla="*/ 4029 w 10000"/>
              <a:gd name="connsiteY1" fmla="*/ 9801 h 10672"/>
              <a:gd name="connsiteX2" fmla="*/ 3289 w 10000"/>
              <a:gd name="connsiteY2" fmla="*/ 10672 h 10672"/>
              <a:gd name="connsiteX3" fmla="*/ 1144 w 10000"/>
              <a:gd name="connsiteY3" fmla="*/ 10426 h 10672"/>
              <a:gd name="connsiteX4" fmla="*/ 0 w 10000"/>
              <a:gd name="connsiteY4" fmla="*/ 8856 h 10672"/>
              <a:gd name="connsiteX5" fmla="*/ 432 w 10000"/>
              <a:gd name="connsiteY5" fmla="*/ 8209 h 10672"/>
              <a:gd name="connsiteX6" fmla="*/ 0 w 10000"/>
              <a:gd name="connsiteY6" fmla="*/ 7512 h 10672"/>
              <a:gd name="connsiteX7" fmla="*/ 1163 w 10000"/>
              <a:gd name="connsiteY7" fmla="*/ 6932 h 10672"/>
              <a:gd name="connsiteX8" fmla="*/ 1439 w 10000"/>
              <a:gd name="connsiteY8" fmla="*/ 6866 h 10672"/>
              <a:gd name="connsiteX9" fmla="*/ 1367 w 10000"/>
              <a:gd name="connsiteY9" fmla="*/ 6169 h 10672"/>
              <a:gd name="connsiteX10" fmla="*/ 1921 w 10000"/>
              <a:gd name="connsiteY10" fmla="*/ 5874 h 10672"/>
              <a:gd name="connsiteX11" fmla="*/ 1816 w 10000"/>
              <a:gd name="connsiteY11" fmla="*/ 4909 h 10672"/>
              <a:gd name="connsiteX12" fmla="*/ 1727 w 10000"/>
              <a:gd name="connsiteY12" fmla="*/ 4726 h 10672"/>
              <a:gd name="connsiteX13" fmla="*/ 1583 w 10000"/>
              <a:gd name="connsiteY13" fmla="*/ 4279 h 10672"/>
              <a:gd name="connsiteX14" fmla="*/ 2374 w 10000"/>
              <a:gd name="connsiteY14" fmla="*/ 4080 h 10672"/>
              <a:gd name="connsiteX15" fmla="*/ 2854 w 10000"/>
              <a:gd name="connsiteY15" fmla="*/ 3932 h 10672"/>
              <a:gd name="connsiteX16" fmla="*/ 3251 w 10000"/>
              <a:gd name="connsiteY16" fmla="*/ 4051 h 10672"/>
              <a:gd name="connsiteX17" fmla="*/ 1002 w 10000"/>
              <a:gd name="connsiteY17" fmla="*/ 2972 h 10672"/>
              <a:gd name="connsiteX18" fmla="*/ 2014 w 10000"/>
              <a:gd name="connsiteY18" fmla="*/ 2388 h 10672"/>
              <a:gd name="connsiteX19" fmla="*/ 1599 w 10000"/>
              <a:gd name="connsiteY19" fmla="*/ 2202 h 10672"/>
              <a:gd name="connsiteX20" fmla="*/ 2086 w 10000"/>
              <a:gd name="connsiteY20" fmla="*/ 1741 h 10672"/>
              <a:gd name="connsiteX21" fmla="*/ 2446 w 10000"/>
              <a:gd name="connsiteY21" fmla="*/ 1542 h 10672"/>
              <a:gd name="connsiteX22" fmla="*/ 2734 w 10000"/>
              <a:gd name="connsiteY22" fmla="*/ 1542 h 10672"/>
              <a:gd name="connsiteX23" fmla="*/ 2878 w 10000"/>
              <a:gd name="connsiteY23" fmla="*/ 1741 h 10672"/>
              <a:gd name="connsiteX24" fmla="*/ 3201 w 10000"/>
              <a:gd name="connsiteY24" fmla="*/ 1467 h 10672"/>
              <a:gd name="connsiteX25" fmla="*/ 3618 w 10000"/>
              <a:gd name="connsiteY25" fmla="*/ 1038 h 10672"/>
              <a:gd name="connsiteX26" fmla="*/ 4427 w 10000"/>
              <a:gd name="connsiteY26" fmla="*/ 656 h 10672"/>
              <a:gd name="connsiteX27" fmla="*/ 5540 w 10000"/>
              <a:gd name="connsiteY27" fmla="*/ 547 h 10672"/>
              <a:gd name="connsiteX28" fmla="*/ 6475 w 10000"/>
              <a:gd name="connsiteY28" fmla="*/ 597 h 10672"/>
              <a:gd name="connsiteX29" fmla="*/ 6763 w 10000"/>
              <a:gd name="connsiteY29" fmla="*/ 746 h 10672"/>
              <a:gd name="connsiteX30" fmla="*/ 6978 w 10000"/>
              <a:gd name="connsiteY30" fmla="*/ 348 h 10672"/>
              <a:gd name="connsiteX31" fmla="*/ 7410 w 10000"/>
              <a:gd name="connsiteY31" fmla="*/ 0 h 10672"/>
              <a:gd name="connsiteX32" fmla="*/ 7554 w 10000"/>
              <a:gd name="connsiteY32" fmla="*/ 249 h 10672"/>
              <a:gd name="connsiteX33" fmla="*/ 7986 w 10000"/>
              <a:gd name="connsiteY33" fmla="*/ 299 h 10672"/>
              <a:gd name="connsiteX34" fmla="*/ 8129 w 10000"/>
              <a:gd name="connsiteY34" fmla="*/ 746 h 10672"/>
              <a:gd name="connsiteX35" fmla="*/ 7626 w 10000"/>
              <a:gd name="connsiteY35" fmla="*/ 896 h 10672"/>
              <a:gd name="connsiteX36" fmla="*/ 7338 w 10000"/>
              <a:gd name="connsiteY36" fmla="*/ 1194 h 10672"/>
              <a:gd name="connsiteX37" fmla="*/ 7482 w 10000"/>
              <a:gd name="connsiteY37" fmla="*/ 1393 h 10672"/>
              <a:gd name="connsiteX38" fmla="*/ 8273 w 10000"/>
              <a:gd name="connsiteY38" fmla="*/ 1194 h 10672"/>
              <a:gd name="connsiteX39" fmla="*/ 9209 w 10000"/>
              <a:gd name="connsiteY39" fmla="*/ 1791 h 10672"/>
              <a:gd name="connsiteX40" fmla="*/ 9209 w 10000"/>
              <a:gd name="connsiteY40" fmla="*/ 2139 h 10672"/>
              <a:gd name="connsiteX41" fmla="*/ 9353 w 10000"/>
              <a:gd name="connsiteY41" fmla="*/ 3980 h 10672"/>
              <a:gd name="connsiteX42" fmla="*/ 8921 w 10000"/>
              <a:gd name="connsiteY42" fmla="*/ 4229 h 10672"/>
              <a:gd name="connsiteX43" fmla="*/ 9856 w 10000"/>
              <a:gd name="connsiteY43" fmla="*/ 4975 h 10672"/>
              <a:gd name="connsiteX44" fmla="*/ 9496 w 10000"/>
              <a:gd name="connsiteY44" fmla="*/ 5423 h 10672"/>
              <a:gd name="connsiteX45" fmla="*/ 10000 w 10000"/>
              <a:gd name="connsiteY45" fmla="*/ 8557 h 10672"/>
              <a:gd name="connsiteX46" fmla="*/ 8705 w 10000"/>
              <a:gd name="connsiteY46" fmla="*/ 8259 h 10672"/>
              <a:gd name="connsiteX47" fmla="*/ 7770 w 10000"/>
              <a:gd name="connsiteY47" fmla="*/ 8955 h 10672"/>
              <a:gd name="connsiteX48" fmla="*/ 5252 w 10000"/>
              <a:gd name="connsiteY48" fmla="*/ 9552 h 10672"/>
              <a:gd name="connsiteX49" fmla="*/ 4748 w 10000"/>
              <a:gd name="connsiteY49" fmla="*/ 10000 h 10672"/>
              <a:gd name="connsiteX0" fmla="*/ 4748 w 10000"/>
              <a:gd name="connsiteY0" fmla="*/ 10000 h 10672"/>
              <a:gd name="connsiteX1" fmla="*/ 4627 w 10000"/>
              <a:gd name="connsiteY1" fmla="*/ 10196 h 10672"/>
              <a:gd name="connsiteX2" fmla="*/ 3289 w 10000"/>
              <a:gd name="connsiteY2" fmla="*/ 10672 h 10672"/>
              <a:gd name="connsiteX3" fmla="*/ 1144 w 10000"/>
              <a:gd name="connsiteY3" fmla="*/ 10426 h 10672"/>
              <a:gd name="connsiteX4" fmla="*/ 0 w 10000"/>
              <a:gd name="connsiteY4" fmla="*/ 8856 h 10672"/>
              <a:gd name="connsiteX5" fmla="*/ 432 w 10000"/>
              <a:gd name="connsiteY5" fmla="*/ 8209 h 10672"/>
              <a:gd name="connsiteX6" fmla="*/ 0 w 10000"/>
              <a:gd name="connsiteY6" fmla="*/ 7512 h 10672"/>
              <a:gd name="connsiteX7" fmla="*/ 1163 w 10000"/>
              <a:gd name="connsiteY7" fmla="*/ 6932 h 10672"/>
              <a:gd name="connsiteX8" fmla="*/ 1439 w 10000"/>
              <a:gd name="connsiteY8" fmla="*/ 6866 h 10672"/>
              <a:gd name="connsiteX9" fmla="*/ 1367 w 10000"/>
              <a:gd name="connsiteY9" fmla="*/ 6169 h 10672"/>
              <a:gd name="connsiteX10" fmla="*/ 1921 w 10000"/>
              <a:gd name="connsiteY10" fmla="*/ 5874 h 10672"/>
              <a:gd name="connsiteX11" fmla="*/ 1816 w 10000"/>
              <a:gd name="connsiteY11" fmla="*/ 4909 h 10672"/>
              <a:gd name="connsiteX12" fmla="*/ 1727 w 10000"/>
              <a:gd name="connsiteY12" fmla="*/ 4726 h 10672"/>
              <a:gd name="connsiteX13" fmla="*/ 1583 w 10000"/>
              <a:gd name="connsiteY13" fmla="*/ 4279 h 10672"/>
              <a:gd name="connsiteX14" fmla="*/ 2374 w 10000"/>
              <a:gd name="connsiteY14" fmla="*/ 4080 h 10672"/>
              <a:gd name="connsiteX15" fmla="*/ 2854 w 10000"/>
              <a:gd name="connsiteY15" fmla="*/ 3932 h 10672"/>
              <a:gd name="connsiteX16" fmla="*/ 3251 w 10000"/>
              <a:gd name="connsiteY16" fmla="*/ 4051 h 10672"/>
              <a:gd name="connsiteX17" fmla="*/ 1002 w 10000"/>
              <a:gd name="connsiteY17" fmla="*/ 2972 h 10672"/>
              <a:gd name="connsiteX18" fmla="*/ 2014 w 10000"/>
              <a:gd name="connsiteY18" fmla="*/ 2388 h 10672"/>
              <a:gd name="connsiteX19" fmla="*/ 1599 w 10000"/>
              <a:gd name="connsiteY19" fmla="*/ 2202 h 10672"/>
              <a:gd name="connsiteX20" fmla="*/ 2086 w 10000"/>
              <a:gd name="connsiteY20" fmla="*/ 1741 h 10672"/>
              <a:gd name="connsiteX21" fmla="*/ 2446 w 10000"/>
              <a:gd name="connsiteY21" fmla="*/ 1542 h 10672"/>
              <a:gd name="connsiteX22" fmla="*/ 2734 w 10000"/>
              <a:gd name="connsiteY22" fmla="*/ 1542 h 10672"/>
              <a:gd name="connsiteX23" fmla="*/ 2878 w 10000"/>
              <a:gd name="connsiteY23" fmla="*/ 1741 h 10672"/>
              <a:gd name="connsiteX24" fmla="*/ 3201 w 10000"/>
              <a:gd name="connsiteY24" fmla="*/ 1467 h 10672"/>
              <a:gd name="connsiteX25" fmla="*/ 3618 w 10000"/>
              <a:gd name="connsiteY25" fmla="*/ 1038 h 10672"/>
              <a:gd name="connsiteX26" fmla="*/ 4427 w 10000"/>
              <a:gd name="connsiteY26" fmla="*/ 656 h 10672"/>
              <a:gd name="connsiteX27" fmla="*/ 5540 w 10000"/>
              <a:gd name="connsiteY27" fmla="*/ 547 h 10672"/>
              <a:gd name="connsiteX28" fmla="*/ 6475 w 10000"/>
              <a:gd name="connsiteY28" fmla="*/ 597 h 10672"/>
              <a:gd name="connsiteX29" fmla="*/ 6763 w 10000"/>
              <a:gd name="connsiteY29" fmla="*/ 746 h 10672"/>
              <a:gd name="connsiteX30" fmla="*/ 6978 w 10000"/>
              <a:gd name="connsiteY30" fmla="*/ 348 h 10672"/>
              <a:gd name="connsiteX31" fmla="*/ 7410 w 10000"/>
              <a:gd name="connsiteY31" fmla="*/ 0 h 10672"/>
              <a:gd name="connsiteX32" fmla="*/ 7554 w 10000"/>
              <a:gd name="connsiteY32" fmla="*/ 249 h 10672"/>
              <a:gd name="connsiteX33" fmla="*/ 7986 w 10000"/>
              <a:gd name="connsiteY33" fmla="*/ 299 h 10672"/>
              <a:gd name="connsiteX34" fmla="*/ 8129 w 10000"/>
              <a:gd name="connsiteY34" fmla="*/ 746 h 10672"/>
              <a:gd name="connsiteX35" fmla="*/ 7626 w 10000"/>
              <a:gd name="connsiteY35" fmla="*/ 896 h 10672"/>
              <a:gd name="connsiteX36" fmla="*/ 7338 w 10000"/>
              <a:gd name="connsiteY36" fmla="*/ 1194 h 10672"/>
              <a:gd name="connsiteX37" fmla="*/ 7482 w 10000"/>
              <a:gd name="connsiteY37" fmla="*/ 1393 h 10672"/>
              <a:gd name="connsiteX38" fmla="*/ 8273 w 10000"/>
              <a:gd name="connsiteY38" fmla="*/ 1194 h 10672"/>
              <a:gd name="connsiteX39" fmla="*/ 9209 w 10000"/>
              <a:gd name="connsiteY39" fmla="*/ 1791 h 10672"/>
              <a:gd name="connsiteX40" fmla="*/ 9209 w 10000"/>
              <a:gd name="connsiteY40" fmla="*/ 2139 h 10672"/>
              <a:gd name="connsiteX41" fmla="*/ 9353 w 10000"/>
              <a:gd name="connsiteY41" fmla="*/ 3980 h 10672"/>
              <a:gd name="connsiteX42" fmla="*/ 8921 w 10000"/>
              <a:gd name="connsiteY42" fmla="*/ 4229 h 10672"/>
              <a:gd name="connsiteX43" fmla="*/ 9856 w 10000"/>
              <a:gd name="connsiteY43" fmla="*/ 4975 h 10672"/>
              <a:gd name="connsiteX44" fmla="*/ 9496 w 10000"/>
              <a:gd name="connsiteY44" fmla="*/ 5423 h 10672"/>
              <a:gd name="connsiteX45" fmla="*/ 10000 w 10000"/>
              <a:gd name="connsiteY45" fmla="*/ 8557 h 10672"/>
              <a:gd name="connsiteX46" fmla="*/ 8705 w 10000"/>
              <a:gd name="connsiteY46" fmla="*/ 8259 h 10672"/>
              <a:gd name="connsiteX47" fmla="*/ 7770 w 10000"/>
              <a:gd name="connsiteY47" fmla="*/ 8955 h 10672"/>
              <a:gd name="connsiteX48" fmla="*/ 5252 w 10000"/>
              <a:gd name="connsiteY48" fmla="*/ 9552 h 10672"/>
              <a:gd name="connsiteX49" fmla="*/ 4748 w 10000"/>
              <a:gd name="connsiteY49" fmla="*/ 10000 h 10672"/>
              <a:gd name="connsiteX0" fmla="*/ 4748 w 10000"/>
              <a:gd name="connsiteY0" fmla="*/ 10000 h 10672"/>
              <a:gd name="connsiteX1" fmla="*/ 4627 w 10000"/>
              <a:gd name="connsiteY1" fmla="*/ 10196 h 10672"/>
              <a:gd name="connsiteX2" fmla="*/ 3289 w 10000"/>
              <a:gd name="connsiteY2" fmla="*/ 10672 h 10672"/>
              <a:gd name="connsiteX3" fmla="*/ 1144 w 10000"/>
              <a:gd name="connsiteY3" fmla="*/ 10426 h 10672"/>
              <a:gd name="connsiteX4" fmla="*/ 0 w 10000"/>
              <a:gd name="connsiteY4" fmla="*/ 8856 h 10672"/>
              <a:gd name="connsiteX5" fmla="*/ 432 w 10000"/>
              <a:gd name="connsiteY5" fmla="*/ 8209 h 10672"/>
              <a:gd name="connsiteX6" fmla="*/ 0 w 10000"/>
              <a:gd name="connsiteY6" fmla="*/ 7512 h 10672"/>
              <a:gd name="connsiteX7" fmla="*/ 1163 w 10000"/>
              <a:gd name="connsiteY7" fmla="*/ 6932 h 10672"/>
              <a:gd name="connsiteX8" fmla="*/ 1439 w 10000"/>
              <a:gd name="connsiteY8" fmla="*/ 6866 h 10672"/>
              <a:gd name="connsiteX9" fmla="*/ 1367 w 10000"/>
              <a:gd name="connsiteY9" fmla="*/ 6169 h 10672"/>
              <a:gd name="connsiteX10" fmla="*/ 1921 w 10000"/>
              <a:gd name="connsiteY10" fmla="*/ 5874 h 10672"/>
              <a:gd name="connsiteX11" fmla="*/ 1816 w 10000"/>
              <a:gd name="connsiteY11" fmla="*/ 4909 h 10672"/>
              <a:gd name="connsiteX12" fmla="*/ 1727 w 10000"/>
              <a:gd name="connsiteY12" fmla="*/ 4726 h 10672"/>
              <a:gd name="connsiteX13" fmla="*/ 1583 w 10000"/>
              <a:gd name="connsiteY13" fmla="*/ 4279 h 10672"/>
              <a:gd name="connsiteX14" fmla="*/ 2374 w 10000"/>
              <a:gd name="connsiteY14" fmla="*/ 4080 h 10672"/>
              <a:gd name="connsiteX15" fmla="*/ 2854 w 10000"/>
              <a:gd name="connsiteY15" fmla="*/ 3932 h 10672"/>
              <a:gd name="connsiteX16" fmla="*/ 3251 w 10000"/>
              <a:gd name="connsiteY16" fmla="*/ 4051 h 10672"/>
              <a:gd name="connsiteX17" fmla="*/ 1002 w 10000"/>
              <a:gd name="connsiteY17" fmla="*/ 2972 h 10672"/>
              <a:gd name="connsiteX18" fmla="*/ 2014 w 10000"/>
              <a:gd name="connsiteY18" fmla="*/ 2388 h 10672"/>
              <a:gd name="connsiteX19" fmla="*/ 1599 w 10000"/>
              <a:gd name="connsiteY19" fmla="*/ 2202 h 10672"/>
              <a:gd name="connsiteX20" fmla="*/ 2086 w 10000"/>
              <a:gd name="connsiteY20" fmla="*/ 1741 h 10672"/>
              <a:gd name="connsiteX21" fmla="*/ 2446 w 10000"/>
              <a:gd name="connsiteY21" fmla="*/ 1542 h 10672"/>
              <a:gd name="connsiteX22" fmla="*/ 2734 w 10000"/>
              <a:gd name="connsiteY22" fmla="*/ 1542 h 10672"/>
              <a:gd name="connsiteX23" fmla="*/ 2878 w 10000"/>
              <a:gd name="connsiteY23" fmla="*/ 1741 h 10672"/>
              <a:gd name="connsiteX24" fmla="*/ 3201 w 10000"/>
              <a:gd name="connsiteY24" fmla="*/ 1467 h 10672"/>
              <a:gd name="connsiteX25" fmla="*/ 3618 w 10000"/>
              <a:gd name="connsiteY25" fmla="*/ 1038 h 10672"/>
              <a:gd name="connsiteX26" fmla="*/ 4427 w 10000"/>
              <a:gd name="connsiteY26" fmla="*/ 656 h 10672"/>
              <a:gd name="connsiteX27" fmla="*/ 5540 w 10000"/>
              <a:gd name="connsiteY27" fmla="*/ 547 h 10672"/>
              <a:gd name="connsiteX28" fmla="*/ 6475 w 10000"/>
              <a:gd name="connsiteY28" fmla="*/ 597 h 10672"/>
              <a:gd name="connsiteX29" fmla="*/ 6763 w 10000"/>
              <a:gd name="connsiteY29" fmla="*/ 746 h 10672"/>
              <a:gd name="connsiteX30" fmla="*/ 6978 w 10000"/>
              <a:gd name="connsiteY30" fmla="*/ 348 h 10672"/>
              <a:gd name="connsiteX31" fmla="*/ 7410 w 10000"/>
              <a:gd name="connsiteY31" fmla="*/ 0 h 10672"/>
              <a:gd name="connsiteX32" fmla="*/ 7554 w 10000"/>
              <a:gd name="connsiteY32" fmla="*/ 249 h 10672"/>
              <a:gd name="connsiteX33" fmla="*/ 7986 w 10000"/>
              <a:gd name="connsiteY33" fmla="*/ 299 h 10672"/>
              <a:gd name="connsiteX34" fmla="*/ 8129 w 10000"/>
              <a:gd name="connsiteY34" fmla="*/ 746 h 10672"/>
              <a:gd name="connsiteX35" fmla="*/ 7626 w 10000"/>
              <a:gd name="connsiteY35" fmla="*/ 896 h 10672"/>
              <a:gd name="connsiteX36" fmla="*/ 7338 w 10000"/>
              <a:gd name="connsiteY36" fmla="*/ 1194 h 10672"/>
              <a:gd name="connsiteX37" fmla="*/ 7482 w 10000"/>
              <a:gd name="connsiteY37" fmla="*/ 1393 h 10672"/>
              <a:gd name="connsiteX38" fmla="*/ 8273 w 10000"/>
              <a:gd name="connsiteY38" fmla="*/ 1194 h 10672"/>
              <a:gd name="connsiteX39" fmla="*/ 9209 w 10000"/>
              <a:gd name="connsiteY39" fmla="*/ 1791 h 10672"/>
              <a:gd name="connsiteX40" fmla="*/ 9209 w 10000"/>
              <a:gd name="connsiteY40" fmla="*/ 2139 h 10672"/>
              <a:gd name="connsiteX41" fmla="*/ 9353 w 10000"/>
              <a:gd name="connsiteY41" fmla="*/ 3980 h 10672"/>
              <a:gd name="connsiteX42" fmla="*/ 8921 w 10000"/>
              <a:gd name="connsiteY42" fmla="*/ 4229 h 10672"/>
              <a:gd name="connsiteX43" fmla="*/ 9856 w 10000"/>
              <a:gd name="connsiteY43" fmla="*/ 4975 h 10672"/>
              <a:gd name="connsiteX44" fmla="*/ 9496 w 10000"/>
              <a:gd name="connsiteY44" fmla="*/ 5423 h 10672"/>
              <a:gd name="connsiteX45" fmla="*/ 10000 w 10000"/>
              <a:gd name="connsiteY45" fmla="*/ 8557 h 10672"/>
              <a:gd name="connsiteX46" fmla="*/ 8705 w 10000"/>
              <a:gd name="connsiteY46" fmla="*/ 8259 h 10672"/>
              <a:gd name="connsiteX47" fmla="*/ 7770 w 10000"/>
              <a:gd name="connsiteY47" fmla="*/ 8955 h 10672"/>
              <a:gd name="connsiteX48" fmla="*/ 6006 w 10000"/>
              <a:gd name="connsiteY48" fmla="*/ 9850 h 10672"/>
              <a:gd name="connsiteX49" fmla="*/ 4748 w 10000"/>
              <a:gd name="connsiteY49" fmla="*/ 10000 h 10672"/>
              <a:gd name="connsiteX0" fmla="*/ 4748 w 10000"/>
              <a:gd name="connsiteY0" fmla="*/ 10000 h 10672"/>
              <a:gd name="connsiteX1" fmla="*/ 4627 w 10000"/>
              <a:gd name="connsiteY1" fmla="*/ 10196 h 10672"/>
              <a:gd name="connsiteX2" fmla="*/ 3289 w 10000"/>
              <a:gd name="connsiteY2" fmla="*/ 10672 h 10672"/>
              <a:gd name="connsiteX3" fmla="*/ 1144 w 10000"/>
              <a:gd name="connsiteY3" fmla="*/ 10426 h 10672"/>
              <a:gd name="connsiteX4" fmla="*/ 0 w 10000"/>
              <a:gd name="connsiteY4" fmla="*/ 8856 h 10672"/>
              <a:gd name="connsiteX5" fmla="*/ 432 w 10000"/>
              <a:gd name="connsiteY5" fmla="*/ 8209 h 10672"/>
              <a:gd name="connsiteX6" fmla="*/ 0 w 10000"/>
              <a:gd name="connsiteY6" fmla="*/ 7512 h 10672"/>
              <a:gd name="connsiteX7" fmla="*/ 1163 w 10000"/>
              <a:gd name="connsiteY7" fmla="*/ 6932 h 10672"/>
              <a:gd name="connsiteX8" fmla="*/ 1439 w 10000"/>
              <a:gd name="connsiteY8" fmla="*/ 6866 h 10672"/>
              <a:gd name="connsiteX9" fmla="*/ 1367 w 10000"/>
              <a:gd name="connsiteY9" fmla="*/ 6169 h 10672"/>
              <a:gd name="connsiteX10" fmla="*/ 1921 w 10000"/>
              <a:gd name="connsiteY10" fmla="*/ 5874 h 10672"/>
              <a:gd name="connsiteX11" fmla="*/ 1816 w 10000"/>
              <a:gd name="connsiteY11" fmla="*/ 4909 h 10672"/>
              <a:gd name="connsiteX12" fmla="*/ 1727 w 10000"/>
              <a:gd name="connsiteY12" fmla="*/ 4726 h 10672"/>
              <a:gd name="connsiteX13" fmla="*/ 1583 w 10000"/>
              <a:gd name="connsiteY13" fmla="*/ 4279 h 10672"/>
              <a:gd name="connsiteX14" fmla="*/ 2374 w 10000"/>
              <a:gd name="connsiteY14" fmla="*/ 4080 h 10672"/>
              <a:gd name="connsiteX15" fmla="*/ 2854 w 10000"/>
              <a:gd name="connsiteY15" fmla="*/ 3932 h 10672"/>
              <a:gd name="connsiteX16" fmla="*/ 3251 w 10000"/>
              <a:gd name="connsiteY16" fmla="*/ 4051 h 10672"/>
              <a:gd name="connsiteX17" fmla="*/ 1002 w 10000"/>
              <a:gd name="connsiteY17" fmla="*/ 2972 h 10672"/>
              <a:gd name="connsiteX18" fmla="*/ 2014 w 10000"/>
              <a:gd name="connsiteY18" fmla="*/ 2388 h 10672"/>
              <a:gd name="connsiteX19" fmla="*/ 1599 w 10000"/>
              <a:gd name="connsiteY19" fmla="*/ 2202 h 10672"/>
              <a:gd name="connsiteX20" fmla="*/ 2086 w 10000"/>
              <a:gd name="connsiteY20" fmla="*/ 1741 h 10672"/>
              <a:gd name="connsiteX21" fmla="*/ 2446 w 10000"/>
              <a:gd name="connsiteY21" fmla="*/ 1542 h 10672"/>
              <a:gd name="connsiteX22" fmla="*/ 2734 w 10000"/>
              <a:gd name="connsiteY22" fmla="*/ 1542 h 10672"/>
              <a:gd name="connsiteX23" fmla="*/ 2878 w 10000"/>
              <a:gd name="connsiteY23" fmla="*/ 1741 h 10672"/>
              <a:gd name="connsiteX24" fmla="*/ 3201 w 10000"/>
              <a:gd name="connsiteY24" fmla="*/ 1467 h 10672"/>
              <a:gd name="connsiteX25" fmla="*/ 3618 w 10000"/>
              <a:gd name="connsiteY25" fmla="*/ 1038 h 10672"/>
              <a:gd name="connsiteX26" fmla="*/ 4427 w 10000"/>
              <a:gd name="connsiteY26" fmla="*/ 656 h 10672"/>
              <a:gd name="connsiteX27" fmla="*/ 5540 w 10000"/>
              <a:gd name="connsiteY27" fmla="*/ 547 h 10672"/>
              <a:gd name="connsiteX28" fmla="*/ 6475 w 10000"/>
              <a:gd name="connsiteY28" fmla="*/ 597 h 10672"/>
              <a:gd name="connsiteX29" fmla="*/ 6763 w 10000"/>
              <a:gd name="connsiteY29" fmla="*/ 746 h 10672"/>
              <a:gd name="connsiteX30" fmla="*/ 6978 w 10000"/>
              <a:gd name="connsiteY30" fmla="*/ 348 h 10672"/>
              <a:gd name="connsiteX31" fmla="*/ 7410 w 10000"/>
              <a:gd name="connsiteY31" fmla="*/ 0 h 10672"/>
              <a:gd name="connsiteX32" fmla="*/ 7554 w 10000"/>
              <a:gd name="connsiteY32" fmla="*/ 249 h 10672"/>
              <a:gd name="connsiteX33" fmla="*/ 7986 w 10000"/>
              <a:gd name="connsiteY33" fmla="*/ 299 h 10672"/>
              <a:gd name="connsiteX34" fmla="*/ 8129 w 10000"/>
              <a:gd name="connsiteY34" fmla="*/ 746 h 10672"/>
              <a:gd name="connsiteX35" fmla="*/ 7626 w 10000"/>
              <a:gd name="connsiteY35" fmla="*/ 896 h 10672"/>
              <a:gd name="connsiteX36" fmla="*/ 7338 w 10000"/>
              <a:gd name="connsiteY36" fmla="*/ 1194 h 10672"/>
              <a:gd name="connsiteX37" fmla="*/ 7482 w 10000"/>
              <a:gd name="connsiteY37" fmla="*/ 1393 h 10672"/>
              <a:gd name="connsiteX38" fmla="*/ 8273 w 10000"/>
              <a:gd name="connsiteY38" fmla="*/ 1194 h 10672"/>
              <a:gd name="connsiteX39" fmla="*/ 9209 w 10000"/>
              <a:gd name="connsiteY39" fmla="*/ 1791 h 10672"/>
              <a:gd name="connsiteX40" fmla="*/ 9209 w 10000"/>
              <a:gd name="connsiteY40" fmla="*/ 2139 h 10672"/>
              <a:gd name="connsiteX41" fmla="*/ 9353 w 10000"/>
              <a:gd name="connsiteY41" fmla="*/ 3980 h 10672"/>
              <a:gd name="connsiteX42" fmla="*/ 8921 w 10000"/>
              <a:gd name="connsiteY42" fmla="*/ 4229 h 10672"/>
              <a:gd name="connsiteX43" fmla="*/ 9856 w 10000"/>
              <a:gd name="connsiteY43" fmla="*/ 4975 h 10672"/>
              <a:gd name="connsiteX44" fmla="*/ 9496 w 10000"/>
              <a:gd name="connsiteY44" fmla="*/ 5423 h 10672"/>
              <a:gd name="connsiteX45" fmla="*/ 10000 w 10000"/>
              <a:gd name="connsiteY45" fmla="*/ 8557 h 10672"/>
              <a:gd name="connsiteX46" fmla="*/ 9409 w 10000"/>
              <a:gd name="connsiteY46" fmla="*/ 8603 h 10672"/>
              <a:gd name="connsiteX47" fmla="*/ 7770 w 10000"/>
              <a:gd name="connsiteY47" fmla="*/ 8955 h 10672"/>
              <a:gd name="connsiteX48" fmla="*/ 6006 w 10000"/>
              <a:gd name="connsiteY48" fmla="*/ 9850 h 10672"/>
              <a:gd name="connsiteX49" fmla="*/ 4748 w 10000"/>
              <a:gd name="connsiteY49" fmla="*/ 10000 h 10672"/>
              <a:gd name="connsiteX0" fmla="*/ 4748 w 10416"/>
              <a:gd name="connsiteY0" fmla="*/ 10000 h 10672"/>
              <a:gd name="connsiteX1" fmla="*/ 4627 w 10416"/>
              <a:gd name="connsiteY1" fmla="*/ 10196 h 10672"/>
              <a:gd name="connsiteX2" fmla="*/ 3289 w 10416"/>
              <a:gd name="connsiteY2" fmla="*/ 10672 h 10672"/>
              <a:gd name="connsiteX3" fmla="*/ 1144 w 10416"/>
              <a:gd name="connsiteY3" fmla="*/ 10426 h 10672"/>
              <a:gd name="connsiteX4" fmla="*/ 0 w 10416"/>
              <a:gd name="connsiteY4" fmla="*/ 8856 h 10672"/>
              <a:gd name="connsiteX5" fmla="*/ 432 w 10416"/>
              <a:gd name="connsiteY5" fmla="*/ 8209 h 10672"/>
              <a:gd name="connsiteX6" fmla="*/ 0 w 10416"/>
              <a:gd name="connsiteY6" fmla="*/ 7512 h 10672"/>
              <a:gd name="connsiteX7" fmla="*/ 1163 w 10416"/>
              <a:gd name="connsiteY7" fmla="*/ 6932 h 10672"/>
              <a:gd name="connsiteX8" fmla="*/ 1439 w 10416"/>
              <a:gd name="connsiteY8" fmla="*/ 6866 h 10672"/>
              <a:gd name="connsiteX9" fmla="*/ 1367 w 10416"/>
              <a:gd name="connsiteY9" fmla="*/ 6169 h 10672"/>
              <a:gd name="connsiteX10" fmla="*/ 1921 w 10416"/>
              <a:gd name="connsiteY10" fmla="*/ 5874 h 10672"/>
              <a:gd name="connsiteX11" fmla="*/ 1816 w 10416"/>
              <a:gd name="connsiteY11" fmla="*/ 4909 h 10672"/>
              <a:gd name="connsiteX12" fmla="*/ 1727 w 10416"/>
              <a:gd name="connsiteY12" fmla="*/ 4726 h 10672"/>
              <a:gd name="connsiteX13" fmla="*/ 1583 w 10416"/>
              <a:gd name="connsiteY13" fmla="*/ 4279 h 10672"/>
              <a:gd name="connsiteX14" fmla="*/ 2374 w 10416"/>
              <a:gd name="connsiteY14" fmla="*/ 4080 h 10672"/>
              <a:gd name="connsiteX15" fmla="*/ 2854 w 10416"/>
              <a:gd name="connsiteY15" fmla="*/ 3932 h 10672"/>
              <a:gd name="connsiteX16" fmla="*/ 3251 w 10416"/>
              <a:gd name="connsiteY16" fmla="*/ 4051 h 10672"/>
              <a:gd name="connsiteX17" fmla="*/ 1002 w 10416"/>
              <a:gd name="connsiteY17" fmla="*/ 2972 h 10672"/>
              <a:gd name="connsiteX18" fmla="*/ 2014 w 10416"/>
              <a:gd name="connsiteY18" fmla="*/ 2388 h 10672"/>
              <a:gd name="connsiteX19" fmla="*/ 1599 w 10416"/>
              <a:gd name="connsiteY19" fmla="*/ 2202 h 10672"/>
              <a:gd name="connsiteX20" fmla="*/ 2086 w 10416"/>
              <a:gd name="connsiteY20" fmla="*/ 1741 h 10672"/>
              <a:gd name="connsiteX21" fmla="*/ 2446 w 10416"/>
              <a:gd name="connsiteY21" fmla="*/ 1542 h 10672"/>
              <a:gd name="connsiteX22" fmla="*/ 2734 w 10416"/>
              <a:gd name="connsiteY22" fmla="*/ 1542 h 10672"/>
              <a:gd name="connsiteX23" fmla="*/ 2878 w 10416"/>
              <a:gd name="connsiteY23" fmla="*/ 1741 h 10672"/>
              <a:gd name="connsiteX24" fmla="*/ 3201 w 10416"/>
              <a:gd name="connsiteY24" fmla="*/ 1467 h 10672"/>
              <a:gd name="connsiteX25" fmla="*/ 3618 w 10416"/>
              <a:gd name="connsiteY25" fmla="*/ 1038 h 10672"/>
              <a:gd name="connsiteX26" fmla="*/ 4427 w 10416"/>
              <a:gd name="connsiteY26" fmla="*/ 656 h 10672"/>
              <a:gd name="connsiteX27" fmla="*/ 5540 w 10416"/>
              <a:gd name="connsiteY27" fmla="*/ 547 h 10672"/>
              <a:gd name="connsiteX28" fmla="*/ 6475 w 10416"/>
              <a:gd name="connsiteY28" fmla="*/ 597 h 10672"/>
              <a:gd name="connsiteX29" fmla="*/ 6763 w 10416"/>
              <a:gd name="connsiteY29" fmla="*/ 746 h 10672"/>
              <a:gd name="connsiteX30" fmla="*/ 6978 w 10416"/>
              <a:gd name="connsiteY30" fmla="*/ 348 h 10672"/>
              <a:gd name="connsiteX31" fmla="*/ 7410 w 10416"/>
              <a:gd name="connsiteY31" fmla="*/ 0 h 10672"/>
              <a:gd name="connsiteX32" fmla="*/ 7554 w 10416"/>
              <a:gd name="connsiteY32" fmla="*/ 249 h 10672"/>
              <a:gd name="connsiteX33" fmla="*/ 7986 w 10416"/>
              <a:gd name="connsiteY33" fmla="*/ 299 h 10672"/>
              <a:gd name="connsiteX34" fmla="*/ 8129 w 10416"/>
              <a:gd name="connsiteY34" fmla="*/ 746 h 10672"/>
              <a:gd name="connsiteX35" fmla="*/ 7626 w 10416"/>
              <a:gd name="connsiteY35" fmla="*/ 896 h 10672"/>
              <a:gd name="connsiteX36" fmla="*/ 7338 w 10416"/>
              <a:gd name="connsiteY36" fmla="*/ 1194 h 10672"/>
              <a:gd name="connsiteX37" fmla="*/ 7482 w 10416"/>
              <a:gd name="connsiteY37" fmla="*/ 1393 h 10672"/>
              <a:gd name="connsiteX38" fmla="*/ 8273 w 10416"/>
              <a:gd name="connsiteY38" fmla="*/ 1194 h 10672"/>
              <a:gd name="connsiteX39" fmla="*/ 9209 w 10416"/>
              <a:gd name="connsiteY39" fmla="*/ 1791 h 10672"/>
              <a:gd name="connsiteX40" fmla="*/ 9209 w 10416"/>
              <a:gd name="connsiteY40" fmla="*/ 2139 h 10672"/>
              <a:gd name="connsiteX41" fmla="*/ 9353 w 10416"/>
              <a:gd name="connsiteY41" fmla="*/ 3980 h 10672"/>
              <a:gd name="connsiteX42" fmla="*/ 8921 w 10416"/>
              <a:gd name="connsiteY42" fmla="*/ 4229 h 10672"/>
              <a:gd name="connsiteX43" fmla="*/ 9856 w 10416"/>
              <a:gd name="connsiteY43" fmla="*/ 4975 h 10672"/>
              <a:gd name="connsiteX44" fmla="*/ 10416 w 10416"/>
              <a:gd name="connsiteY44" fmla="*/ 7515 h 10672"/>
              <a:gd name="connsiteX45" fmla="*/ 10000 w 10416"/>
              <a:gd name="connsiteY45" fmla="*/ 8557 h 10672"/>
              <a:gd name="connsiteX46" fmla="*/ 9409 w 10416"/>
              <a:gd name="connsiteY46" fmla="*/ 8603 h 10672"/>
              <a:gd name="connsiteX47" fmla="*/ 7770 w 10416"/>
              <a:gd name="connsiteY47" fmla="*/ 8955 h 10672"/>
              <a:gd name="connsiteX48" fmla="*/ 6006 w 10416"/>
              <a:gd name="connsiteY48" fmla="*/ 9850 h 10672"/>
              <a:gd name="connsiteX49" fmla="*/ 4748 w 10416"/>
              <a:gd name="connsiteY49" fmla="*/ 10000 h 10672"/>
              <a:gd name="connsiteX0" fmla="*/ 4748 w 10416"/>
              <a:gd name="connsiteY0" fmla="*/ 10000 h 10672"/>
              <a:gd name="connsiteX1" fmla="*/ 4627 w 10416"/>
              <a:gd name="connsiteY1" fmla="*/ 10196 h 10672"/>
              <a:gd name="connsiteX2" fmla="*/ 3289 w 10416"/>
              <a:gd name="connsiteY2" fmla="*/ 10672 h 10672"/>
              <a:gd name="connsiteX3" fmla="*/ 1144 w 10416"/>
              <a:gd name="connsiteY3" fmla="*/ 10426 h 10672"/>
              <a:gd name="connsiteX4" fmla="*/ 0 w 10416"/>
              <a:gd name="connsiteY4" fmla="*/ 8856 h 10672"/>
              <a:gd name="connsiteX5" fmla="*/ 432 w 10416"/>
              <a:gd name="connsiteY5" fmla="*/ 8209 h 10672"/>
              <a:gd name="connsiteX6" fmla="*/ 0 w 10416"/>
              <a:gd name="connsiteY6" fmla="*/ 7512 h 10672"/>
              <a:gd name="connsiteX7" fmla="*/ 1163 w 10416"/>
              <a:gd name="connsiteY7" fmla="*/ 6932 h 10672"/>
              <a:gd name="connsiteX8" fmla="*/ 1439 w 10416"/>
              <a:gd name="connsiteY8" fmla="*/ 6866 h 10672"/>
              <a:gd name="connsiteX9" fmla="*/ 1367 w 10416"/>
              <a:gd name="connsiteY9" fmla="*/ 6169 h 10672"/>
              <a:gd name="connsiteX10" fmla="*/ 1921 w 10416"/>
              <a:gd name="connsiteY10" fmla="*/ 5874 h 10672"/>
              <a:gd name="connsiteX11" fmla="*/ 1816 w 10416"/>
              <a:gd name="connsiteY11" fmla="*/ 4909 h 10672"/>
              <a:gd name="connsiteX12" fmla="*/ 1727 w 10416"/>
              <a:gd name="connsiteY12" fmla="*/ 4726 h 10672"/>
              <a:gd name="connsiteX13" fmla="*/ 1583 w 10416"/>
              <a:gd name="connsiteY13" fmla="*/ 4279 h 10672"/>
              <a:gd name="connsiteX14" fmla="*/ 2374 w 10416"/>
              <a:gd name="connsiteY14" fmla="*/ 4080 h 10672"/>
              <a:gd name="connsiteX15" fmla="*/ 2854 w 10416"/>
              <a:gd name="connsiteY15" fmla="*/ 3932 h 10672"/>
              <a:gd name="connsiteX16" fmla="*/ 3251 w 10416"/>
              <a:gd name="connsiteY16" fmla="*/ 4051 h 10672"/>
              <a:gd name="connsiteX17" fmla="*/ 1002 w 10416"/>
              <a:gd name="connsiteY17" fmla="*/ 2972 h 10672"/>
              <a:gd name="connsiteX18" fmla="*/ 2014 w 10416"/>
              <a:gd name="connsiteY18" fmla="*/ 2388 h 10672"/>
              <a:gd name="connsiteX19" fmla="*/ 1599 w 10416"/>
              <a:gd name="connsiteY19" fmla="*/ 2202 h 10672"/>
              <a:gd name="connsiteX20" fmla="*/ 2086 w 10416"/>
              <a:gd name="connsiteY20" fmla="*/ 1741 h 10672"/>
              <a:gd name="connsiteX21" fmla="*/ 2446 w 10416"/>
              <a:gd name="connsiteY21" fmla="*/ 1542 h 10672"/>
              <a:gd name="connsiteX22" fmla="*/ 2734 w 10416"/>
              <a:gd name="connsiteY22" fmla="*/ 1542 h 10672"/>
              <a:gd name="connsiteX23" fmla="*/ 2878 w 10416"/>
              <a:gd name="connsiteY23" fmla="*/ 1741 h 10672"/>
              <a:gd name="connsiteX24" fmla="*/ 3201 w 10416"/>
              <a:gd name="connsiteY24" fmla="*/ 1467 h 10672"/>
              <a:gd name="connsiteX25" fmla="*/ 3618 w 10416"/>
              <a:gd name="connsiteY25" fmla="*/ 1038 h 10672"/>
              <a:gd name="connsiteX26" fmla="*/ 4427 w 10416"/>
              <a:gd name="connsiteY26" fmla="*/ 656 h 10672"/>
              <a:gd name="connsiteX27" fmla="*/ 5540 w 10416"/>
              <a:gd name="connsiteY27" fmla="*/ 547 h 10672"/>
              <a:gd name="connsiteX28" fmla="*/ 6475 w 10416"/>
              <a:gd name="connsiteY28" fmla="*/ 597 h 10672"/>
              <a:gd name="connsiteX29" fmla="*/ 6763 w 10416"/>
              <a:gd name="connsiteY29" fmla="*/ 746 h 10672"/>
              <a:gd name="connsiteX30" fmla="*/ 6978 w 10416"/>
              <a:gd name="connsiteY30" fmla="*/ 348 h 10672"/>
              <a:gd name="connsiteX31" fmla="*/ 7410 w 10416"/>
              <a:gd name="connsiteY31" fmla="*/ 0 h 10672"/>
              <a:gd name="connsiteX32" fmla="*/ 7554 w 10416"/>
              <a:gd name="connsiteY32" fmla="*/ 249 h 10672"/>
              <a:gd name="connsiteX33" fmla="*/ 7986 w 10416"/>
              <a:gd name="connsiteY33" fmla="*/ 299 h 10672"/>
              <a:gd name="connsiteX34" fmla="*/ 8129 w 10416"/>
              <a:gd name="connsiteY34" fmla="*/ 746 h 10672"/>
              <a:gd name="connsiteX35" fmla="*/ 7626 w 10416"/>
              <a:gd name="connsiteY35" fmla="*/ 896 h 10672"/>
              <a:gd name="connsiteX36" fmla="*/ 7338 w 10416"/>
              <a:gd name="connsiteY36" fmla="*/ 1194 h 10672"/>
              <a:gd name="connsiteX37" fmla="*/ 7482 w 10416"/>
              <a:gd name="connsiteY37" fmla="*/ 1393 h 10672"/>
              <a:gd name="connsiteX38" fmla="*/ 8273 w 10416"/>
              <a:gd name="connsiteY38" fmla="*/ 1194 h 10672"/>
              <a:gd name="connsiteX39" fmla="*/ 9209 w 10416"/>
              <a:gd name="connsiteY39" fmla="*/ 1791 h 10672"/>
              <a:gd name="connsiteX40" fmla="*/ 9209 w 10416"/>
              <a:gd name="connsiteY40" fmla="*/ 2139 h 10672"/>
              <a:gd name="connsiteX41" fmla="*/ 9353 w 10416"/>
              <a:gd name="connsiteY41" fmla="*/ 3980 h 10672"/>
              <a:gd name="connsiteX42" fmla="*/ 8921 w 10416"/>
              <a:gd name="connsiteY42" fmla="*/ 4229 h 10672"/>
              <a:gd name="connsiteX43" fmla="*/ 9740 w 10416"/>
              <a:gd name="connsiteY43" fmla="*/ 5891 h 10672"/>
              <a:gd name="connsiteX44" fmla="*/ 10416 w 10416"/>
              <a:gd name="connsiteY44" fmla="*/ 7515 h 10672"/>
              <a:gd name="connsiteX45" fmla="*/ 10000 w 10416"/>
              <a:gd name="connsiteY45" fmla="*/ 8557 h 10672"/>
              <a:gd name="connsiteX46" fmla="*/ 9409 w 10416"/>
              <a:gd name="connsiteY46" fmla="*/ 8603 h 10672"/>
              <a:gd name="connsiteX47" fmla="*/ 7770 w 10416"/>
              <a:gd name="connsiteY47" fmla="*/ 8955 h 10672"/>
              <a:gd name="connsiteX48" fmla="*/ 6006 w 10416"/>
              <a:gd name="connsiteY48" fmla="*/ 9850 h 10672"/>
              <a:gd name="connsiteX49" fmla="*/ 4748 w 10416"/>
              <a:gd name="connsiteY49" fmla="*/ 10000 h 10672"/>
              <a:gd name="connsiteX0" fmla="*/ 4748 w 10815"/>
              <a:gd name="connsiteY0" fmla="*/ 10000 h 10672"/>
              <a:gd name="connsiteX1" fmla="*/ 4627 w 10815"/>
              <a:gd name="connsiteY1" fmla="*/ 10196 h 10672"/>
              <a:gd name="connsiteX2" fmla="*/ 3289 w 10815"/>
              <a:gd name="connsiteY2" fmla="*/ 10672 h 10672"/>
              <a:gd name="connsiteX3" fmla="*/ 1144 w 10815"/>
              <a:gd name="connsiteY3" fmla="*/ 10426 h 10672"/>
              <a:gd name="connsiteX4" fmla="*/ 0 w 10815"/>
              <a:gd name="connsiteY4" fmla="*/ 8856 h 10672"/>
              <a:gd name="connsiteX5" fmla="*/ 432 w 10815"/>
              <a:gd name="connsiteY5" fmla="*/ 8209 h 10672"/>
              <a:gd name="connsiteX6" fmla="*/ 0 w 10815"/>
              <a:gd name="connsiteY6" fmla="*/ 7512 h 10672"/>
              <a:gd name="connsiteX7" fmla="*/ 1163 w 10815"/>
              <a:gd name="connsiteY7" fmla="*/ 6932 h 10672"/>
              <a:gd name="connsiteX8" fmla="*/ 1439 w 10815"/>
              <a:gd name="connsiteY8" fmla="*/ 6866 h 10672"/>
              <a:gd name="connsiteX9" fmla="*/ 1367 w 10815"/>
              <a:gd name="connsiteY9" fmla="*/ 6169 h 10672"/>
              <a:gd name="connsiteX10" fmla="*/ 1921 w 10815"/>
              <a:gd name="connsiteY10" fmla="*/ 5874 h 10672"/>
              <a:gd name="connsiteX11" fmla="*/ 1816 w 10815"/>
              <a:gd name="connsiteY11" fmla="*/ 4909 h 10672"/>
              <a:gd name="connsiteX12" fmla="*/ 1727 w 10815"/>
              <a:gd name="connsiteY12" fmla="*/ 4726 h 10672"/>
              <a:gd name="connsiteX13" fmla="*/ 1583 w 10815"/>
              <a:gd name="connsiteY13" fmla="*/ 4279 h 10672"/>
              <a:gd name="connsiteX14" fmla="*/ 2374 w 10815"/>
              <a:gd name="connsiteY14" fmla="*/ 4080 h 10672"/>
              <a:gd name="connsiteX15" fmla="*/ 2854 w 10815"/>
              <a:gd name="connsiteY15" fmla="*/ 3932 h 10672"/>
              <a:gd name="connsiteX16" fmla="*/ 3251 w 10815"/>
              <a:gd name="connsiteY16" fmla="*/ 4051 h 10672"/>
              <a:gd name="connsiteX17" fmla="*/ 1002 w 10815"/>
              <a:gd name="connsiteY17" fmla="*/ 2972 h 10672"/>
              <a:gd name="connsiteX18" fmla="*/ 2014 w 10815"/>
              <a:gd name="connsiteY18" fmla="*/ 2388 h 10672"/>
              <a:gd name="connsiteX19" fmla="*/ 1599 w 10815"/>
              <a:gd name="connsiteY19" fmla="*/ 2202 h 10672"/>
              <a:gd name="connsiteX20" fmla="*/ 2086 w 10815"/>
              <a:gd name="connsiteY20" fmla="*/ 1741 h 10672"/>
              <a:gd name="connsiteX21" fmla="*/ 2446 w 10815"/>
              <a:gd name="connsiteY21" fmla="*/ 1542 h 10672"/>
              <a:gd name="connsiteX22" fmla="*/ 2734 w 10815"/>
              <a:gd name="connsiteY22" fmla="*/ 1542 h 10672"/>
              <a:gd name="connsiteX23" fmla="*/ 2878 w 10815"/>
              <a:gd name="connsiteY23" fmla="*/ 1741 h 10672"/>
              <a:gd name="connsiteX24" fmla="*/ 3201 w 10815"/>
              <a:gd name="connsiteY24" fmla="*/ 1467 h 10672"/>
              <a:gd name="connsiteX25" fmla="*/ 3618 w 10815"/>
              <a:gd name="connsiteY25" fmla="*/ 1038 h 10672"/>
              <a:gd name="connsiteX26" fmla="*/ 4427 w 10815"/>
              <a:gd name="connsiteY26" fmla="*/ 656 h 10672"/>
              <a:gd name="connsiteX27" fmla="*/ 5540 w 10815"/>
              <a:gd name="connsiteY27" fmla="*/ 547 h 10672"/>
              <a:gd name="connsiteX28" fmla="*/ 6475 w 10815"/>
              <a:gd name="connsiteY28" fmla="*/ 597 h 10672"/>
              <a:gd name="connsiteX29" fmla="*/ 6763 w 10815"/>
              <a:gd name="connsiteY29" fmla="*/ 746 h 10672"/>
              <a:gd name="connsiteX30" fmla="*/ 6978 w 10815"/>
              <a:gd name="connsiteY30" fmla="*/ 348 h 10672"/>
              <a:gd name="connsiteX31" fmla="*/ 7410 w 10815"/>
              <a:gd name="connsiteY31" fmla="*/ 0 h 10672"/>
              <a:gd name="connsiteX32" fmla="*/ 7554 w 10815"/>
              <a:gd name="connsiteY32" fmla="*/ 249 h 10672"/>
              <a:gd name="connsiteX33" fmla="*/ 7986 w 10815"/>
              <a:gd name="connsiteY33" fmla="*/ 299 h 10672"/>
              <a:gd name="connsiteX34" fmla="*/ 8129 w 10815"/>
              <a:gd name="connsiteY34" fmla="*/ 746 h 10672"/>
              <a:gd name="connsiteX35" fmla="*/ 7626 w 10815"/>
              <a:gd name="connsiteY35" fmla="*/ 896 h 10672"/>
              <a:gd name="connsiteX36" fmla="*/ 7338 w 10815"/>
              <a:gd name="connsiteY36" fmla="*/ 1194 h 10672"/>
              <a:gd name="connsiteX37" fmla="*/ 7482 w 10815"/>
              <a:gd name="connsiteY37" fmla="*/ 1393 h 10672"/>
              <a:gd name="connsiteX38" fmla="*/ 8273 w 10815"/>
              <a:gd name="connsiteY38" fmla="*/ 1194 h 10672"/>
              <a:gd name="connsiteX39" fmla="*/ 9209 w 10815"/>
              <a:gd name="connsiteY39" fmla="*/ 1791 h 10672"/>
              <a:gd name="connsiteX40" fmla="*/ 9209 w 10815"/>
              <a:gd name="connsiteY40" fmla="*/ 2139 h 10672"/>
              <a:gd name="connsiteX41" fmla="*/ 9353 w 10815"/>
              <a:gd name="connsiteY41" fmla="*/ 3980 h 10672"/>
              <a:gd name="connsiteX42" fmla="*/ 8921 w 10815"/>
              <a:gd name="connsiteY42" fmla="*/ 4229 h 10672"/>
              <a:gd name="connsiteX43" fmla="*/ 9740 w 10815"/>
              <a:gd name="connsiteY43" fmla="*/ 5891 h 10672"/>
              <a:gd name="connsiteX44" fmla="*/ 10815 w 10815"/>
              <a:gd name="connsiteY44" fmla="*/ 7477 h 10672"/>
              <a:gd name="connsiteX45" fmla="*/ 10000 w 10815"/>
              <a:gd name="connsiteY45" fmla="*/ 8557 h 10672"/>
              <a:gd name="connsiteX46" fmla="*/ 9409 w 10815"/>
              <a:gd name="connsiteY46" fmla="*/ 8603 h 10672"/>
              <a:gd name="connsiteX47" fmla="*/ 7770 w 10815"/>
              <a:gd name="connsiteY47" fmla="*/ 8955 h 10672"/>
              <a:gd name="connsiteX48" fmla="*/ 6006 w 10815"/>
              <a:gd name="connsiteY48" fmla="*/ 9850 h 10672"/>
              <a:gd name="connsiteX49" fmla="*/ 4748 w 10815"/>
              <a:gd name="connsiteY49" fmla="*/ 10000 h 10672"/>
              <a:gd name="connsiteX0" fmla="*/ 4748 w 10815"/>
              <a:gd name="connsiteY0" fmla="*/ 10000 h 10672"/>
              <a:gd name="connsiteX1" fmla="*/ 4627 w 10815"/>
              <a:gd name="connsiteY1" fmla="*/ 10196 h 10672"/>
              <a:gd name="connsiteX2" fmla="*/ 3289 w 10815"/>
              <a:gd name="connsiteY2" fmla="*/ 10672 h 10672"/>
              <a:gd name="connsiteX3" fmla="*/ 1144 w 10815"/>
              <a:gd name="connsiteY3" fmla="*/ 10426 h 10672"/>
              <a:gd name="connsiteX4" fmla="*/ 0 w 10815"/>
              <a:gd name="connsiteY4" fmla="*/ 8856 h 10672"/>
              <a:gd name="connsiteX5" fmla="*/ 432 w 10815"/>
              <a:gd name="connsiteY5" fmla="*/ 8209 h 10672"/>
              <a:gd name="connsiteX6" fmla="*/ 0 w 10815"/>
              <a:gd name="connsiteY6" fmla="*/ 7512 h 10672"/>
              <a:gd name="connsiteX7" fmla="*/ 1163 w 10815"/>
              <a:gd name="connsiteY7" fmla="*/ 6932 h 10672"/>
              <a:gd name="connsiteX8" fmla="*/ 1439 w 10815"/>
              <a:gd name="connsiteY8" fmla="*/ 6866 h 10672"/>
              <a:gd name="connsiteX9" fmla="*/ 1367 w 10815"/>
              <a:gd name="connsiteY9" fmla="*/ 6169 h 10672"/>
              <a:gd name="connsiteX10" fmla="*/ 1921 w 10815"/>
              <a:gd name="connsiteY10" fmla="*/ 5874 h 10672"/>
              <a:gd name="connsiteX11" fmla="*/ 1816 w 10815"/>
              <a:gd name="connsiteY11" fmla="*/ 4909 h 10672"/>
              <a:gd name="connsiteX12" fmla="*/ 1727 w 10815"/>
              <a:gd name="connsiteY12" fmla="*/ 4726 h 10672"/>
              <a:gd name="connsiteX13" fmla="*/ 1583 w 10815"/>
              <a:gd name="connsiteY13" fmla="*/ 4279 h 10672"/>
              <a:gd name="connsiteX14" fmla="*/ 2374 w 10815"/>
              <a:gd name="connsiteY14" fmla="*/ 4080 h 10672"/>
              <a:gd name="connsiteX15" fmla="*/ 2854 w 10815"/>
              <a:gd name="connsiteY15" fmla="*/ 3932 h 10672"/>
              <a:gd name="connsiteX16" fmla="*/ 3251 w 10815"/>
              <a:gd name="connsiteY16" fmla="*/ 4051 h 10672"/>
              <a:gd name="connsiteX17" fmla="*/ 1002 w 10815"/>
              <a:gd name="connsiteY17" fmla="*/ 2972 h 10672"/>
              <a:gd name="connsiteX18" fmla="*/ 2014 w 10815"/>
              <a:gd name="connsiteY18" fmla="*/ 2388 h 10672"/>
              <a:gd name="connsiteX19" fmla="*/ 1599 w 10815"/>
              <a:gd name="connsiteY19" fmla="*/ 2202 h 10672"/>
              <a:gd name="connsiteX20" fmla="*/ 2086 w 10815"/>
              <a:gd name="connsiteY20" fmla="*/ 1741 h 10672"/>
              <a:gd name="connsiteX21" fmla="*/ 2446 w 10815"/>
              <a:gd name="connsiteY21" fmla="*/ 1542 h 10672"/>
              <a:gd name="connsiteX22" fmla="*/ 2734 w 10815"/>
              <a:gd name="connsiteY22" fmla="*/ 1542 h 10672"/>
              <a:gd name="connsiteX23" fmla="*/ 2878 w 10815"/>
              <a:gd name="connsiteY23" fmla="*/ 1741 h 10672"/>
              <a:gd name="connsiteX24" fmla="*/ 3201 w 10815"/>
              <a:gd name="connsiteY24" fmla="*/ 1467 h 10672"/>
              <a:gd name="connsiteX25" fmla="*/ 3618 w 10815"/>
              <a:gd name="connsiteY25" fmla="*/ 1038 h 10672"/>
              <a:gd name="connsiteX26" fmla="*/ 4427 w 10815"/>
              <a:gd name="connsiteY26" fmla="*/ 656 h 10672"/>
              <a:gd name="connsiteX27" fmla="*/ 5540 w 10815"/>
              <a:gd name="connsiteY27" fmla="*/ 547 h 10672"/>
              <a:gd name="connsiteX28" fmla="*/ 6475 w 10815"/>
              <a:gd name="connsiteY28" fmla="*/ 597 h 10672"/>
              <a:gd name="connsiteX29" fmla="*/ 6763 w 10815"/>
              <a:gd name="connsiteY29" fmla="*/ 746 h 10672"/>
              <a:gd name="connsiteX30" fmla="*/ 6978 w 10815"/>
              <a:gd name="connsiteY30" fmla="*/ 348 h 10672"/>
              <a:gd name="connsiteX31" fmla="*/ 7410 w 10815"/>
              <a:gd name="connsiteY31" fmla="*/ 0 h 10672"/>
              <a:gd name="connsiteX32" fmla="*/ 7554 w 10815"/>
              <a:gd name="connsiteY32" fmla="*/ 249 h 10672"/>
              <a:gd name="connsiteX33" fmla="*/ 7986 w 10815"/>
              <a:gd name="connsiteY33" fmla="*/ 299 h 10672"/>
              <a:gd name="connsiteX34" fmla="*/ 8129 w 10815"/>
              <a:gd name="connsiteY34" fmla="*/ 746 h 10672"/>
              <a:gd name="connsiteX35" fmla="*/ 7626 w 10815"/>
              <a:gd name="connsiteY35" fmla="*/ 896 h 10672"/>
              <a:gd name="connsiteX36" fmla="*/ 7338 w 10815"/>
              <a:gd name="connsiteY36" fmla="*/ 1194 h 10672"/>
              <a:gd name="connsiteX37" fmla="*/ 7482 w 10815"/>
              <a:gd name="connsiteY37" fmla="*/ 1393 h 10672"/>
              <a:gd name="connsiteX38" fmla="*/ 8273 w 10815"/>
              <a:gd name="connsiteY38" fmla="*/ 1194 h 10672"/>
              <a:gd name="connsiteX39" fmla="*/ 9209 w 10815"/>
              <a:gd name="connsiteY39" fmla="*/ 1791 h 10672"/>
              <a:gd name="connsiteX40" fmla="*/ 9209 w 10815"/>
              <a:gd name="connsiteY40" fmla="*/ 2139 h 10672"/>
              <a:gd name="connsiteX41" fmla="*/ 9353 w 10815"/>
              <a:gd name="connsiteY41" fmla="*/ 3980 h 10672"/>
              <a:gd name="connsiteX42" fmla="*/ 9446 w 10815"/>
              <a:gd name="connsiteY42" fmla="*/ 4549 h 10672"/>
              <a:gd name="connsiteX43" fmla="*/ 9740 w 10815"/>
              <a:gd name="connsiteY43" fmla="*/ 5891 h 10672"/>
              <a:gd name="connsiteX44" fmla="*/ 10815 w 10815"/>
              <a:gd name="connsiteY44" fmla="*/ 7477 h 10672"/>
              <a:gd name="connsiteX45" fmla="*/ 10000 w 10815"/>
              <a:gd name="connsiteY45" fmla="*/ 8557 h 10672"/>
              <a:gd name="connsiteX46" fmla="*/ 9409 w 10815"/>
              <a:gd name="connsiteY46" fmla="*/ 8603 h 10672"/>
              <a:gd name="connsiteX47" fmla="*/ 7770 w 10815"/>
              <a:gd name="connsiteY47" fmla="*/ 8955 h 10672"/>
              <a:gd name="connsiteX48" fmla="*/ 6006 w 10815"/>
              <a:gd name="connsiteY48" fmla="*/ 9850 h 10672"/>
              <a:gd name="connsiteX49" fmla="*/ 4748 w 10815"/>
              <a:gd name="connsiteY49" fmla="*/ 10000 h 1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815" h="10672">
                <a:moveTo>
                  <a:pt x="4748" y="10000"/>
                </a:moveTo>
                <a:lnTo>
                  <a:pt x="4627" y="10196"/>
                </a:lnTo>
                <a:lnTo>
                  <a:pt x="3289" y="10672"/>
                </a:lnTo>
                <a:lnTo>
                  <a:pt x="1144" y="10426"/>
                </a:lnTo>
                <a:lnTo>
                  <a:pt x="0" y="8856"/>
                </a:lnTo>
                <a:lnTo>
                  <a:pt x="432" y="8209"/>
                </a:lnTo>
                <a:lnTo>
                  <a:pt x="0" y="7512"/>
                </a:lnTo>
                <a:cubicBezTo>
                  <a:pt x="450" y="7340"/>
                  <a:pt x="713" y="7104"/>
                  <a:pt x="1163" y="6932"/>
                </a:cubicBezTo>
                <a:lnTo>
                  <a:pt x="1439" y="6866"/>
                </a:lnTo>
                <a:cubicBezTo>
                  <a:pt x="1415" y="6634"/>
                  <a:pt x="1391" y="6401"/>
                  <a:pt x="1367" y="6169"/>
                </a:cubicBezTo>
                <a:lnTo>
                  <a:pt x="1921" y="5874"/>
                </a:lnTo>
                <a:lnTo>
                  <a:pt x="1816" y="4909"/>
                </a:lnTo>
                <a:cubicBezTo>
                  <a:pt x="1786" y="4848"/>
                  <a:pt x="1757" y="4787"/>
                  <a:pt x="1727" y="4726"/>
                </a:cubicBezTo>
                <a:lnTo>
                  <a:pt x="1583" y="4279"/>
                </a:lnTo>
                <a:lnTo>
                  <a:pt x="2374" y="4080"/>
                </a:lnTo>
                <a:lnTo>
                  <a:pt x="2854" y="3932"/>
                </a:lnTo>
                <a:lnTo>
                  <a:pt x="3251" y="4051"/>
                </a:lnTo>
                <a:lnTo>
                  <a:pt x="1002" y="2972"/>
                </a:lnTo>
                <a:lnTo>
                  <a:pt x="2014" y="2388"/>
                </a:lnTo>
                <a:cubicBezTo>
                  <a:pt x="2132" y="2258"/>
                  <a:pt x="1587" y="2310"/>
                  <a:pt x="1599" y="2202"/>
                </a:cubicBezTo>
                <a:cubicBezTo>
                  <a:pt x="1611" y="2094"/>
                  <a:pt x="2013" y="1852"/>
                  <a:pt x="2086" y="1741"/>
                </a:cubicBezTo>
                <a:lnTo>
                  <a:pt x="2446" y="1542"/>
                </a:lnTo>
                <a:lnTo>
                  <a:pt x="2734" y="1542"/>
                </a:lnTo>
                <a:lnTo>
                  <a:pt x="2878" y="1741"/>
                </a:lnTo>
                <a:lnTo>
                  <a:pt x="3201" y="1467"/>
                </a:lnTo>
                <a:cubicBezTo>
                  <a:pt x="3232" y="1266"/>
                  <a:pt x="3587" y="1239"/>
                  <a:pt x="3618" y="1038"/>
                </a:cubicBezTo>
                <a:lnTo>
                  <a:pt x="4427" y="656"/>
                </a:lnTo>
                <a:lnTo>
                  <a:pt x="5540" y="547"/>
                </a:lnTo>
                <a:lnTo>
                  <a:pt x="6475" y="597"/>
                </a:lnTo>
                <a:lnTo>
                  <a:pt x="6763" y="746"/>
                </a:lnTo>
                <a:lnTo>
                  <a:pt x="6978" y="348"/>
                </a:lnTo>
                <a:lnTo>
                  <a:pt x="7410" y="0"/>
                </a:lnTo>
                <a:lnTo>
                  <a:pt x="7554" y="249"/>
                </a:lnTo>
                <a:lnTo>
                  <a:pt x="7986" y="299"/>
                </a:lnTo>
                <a:cubicBezTo>
                  <a:pt x="8034" y="448"/>
                  <a:pt x="8081" y="597"/>
                  <a:pt x="8129" y="746"/>
                </a:cubicBezTo>
                <a:lnTo>
                  <a:pt x="7626" y="896"/>
                </a:lnTo>
                <a:lnTo>
                  <a:pt x="7338" y="1194"/>
                </a:lnTo>
                <a:lnTo>
                  <a:pt x="7482" y="1393"/>
                </a:lnTo>
                <a:lnTo>
                  <a:pt x="8273" y="1194"/>
                </a:lnTo>
                <a:lnTo>
                  <a:pt x="9209" y="1791"/>
                </a:lnTo>
                <a:lnTo>
                  <a:pt x="9209" y="2139"/>
                </a:lnTo>
                <a:lnTo>
                  <a:pt x="9353" y="3980"/>
                </a:lnTo>
                <a:cubicBezTo>
                  <a:pt x="9384" y="4170"/>
                  <a:pt x="9415" y="4359"/>
                  <a:pt x="9446" y="4549"/>
                </a:cubicBezTo>
                <a:lnTo>
                  <a:pt x="9740" y="5891"/>
                </a:lnTo>
                <a:lnTo>
                  <a:pt x="10815" y="7477"/>
                </a:lnTo>
                <a:lnTo>
                  <a:pt x="10000" y="8557"/>
                </a:lnTo>
                <a:lnTo>
                  <a:pt x="9409" y="8603"/>
                </a:lnTo>
                <a:lnTo>
                  <a:pt x="7770" y="8955"/>
                </a:lnTo>
                <a:lnTo>
                  <a:pt x="6006" y="9850"/>
                </a:lnTo>
                <a:lnTo>
                  <a:pt x="4748" y="10000"/>
                </a:lnTo>
                <a:close/>
              </a:path>
            </a:pathLst>
          </a:custGeom>
          <a:solidFill>
            <a:srgbClr val="FAFAFA"/>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GB" dirty="0"/>
          </a:p>
        </p:txBody>
      </p:sp>
      <p:sp>
        <p:nvSpPr>
          <p:cNvPr id="49" name="EN"/>
          <p:cNvSpPr>
            <a:spLocks/>
          </p:cNvSpPr>
          <p:nvPr/>
        </p:nvSpPr>
        <p:spPr bwMode="auto">
          <a:xfrm rot="1238930">
            <a:off x="5492750" y="3975100"/>
            <a:ext cx="374650" cy="336550"/>
          </a:xfrm>
          <a:custGeom>
            <a:avLst/>
            <a:gdLst>
              <a:gd name="T0" fmla="*/ 2147483647 w 101"/>
              <a:gd name="T1" fmla="*/ 2147483647 h 92"/>
              <a:gd name="T2" fmla="*/ 2147483647 w 101"/>
              <a:gd name="T3" fmla="*/ 2147483647 h 92"/>
              <a:gd name="T4" fmla="*/ 2147483647 w 101"/>
              <a:gd name="T5" fmla="*/ 2147483647 h 92"/>
              <a:gd name="T6" fmla="*/ 2147483647 w 101"/>
              <a:gd name="T7" fmla="*/ 2147483647 h 92"/>
              <a:gd name="T8" fmla="*/ 2147483647 w 101"/>
              <a:gd name="T9" fmla="*/ 2147483647 h 92"/>
              <a:gd name="T10" fmla="*/ 2147483647 w 101"/>
              <a:gd name="T11" fmla="*/ 2147483647 h 92"/>
              <a:gd name="T12" fmla="*/ 2147483647 w 101"/>
              <a:gd name="T13" fmla="*/ 2147483647 h 92"/>
              <a:gd name="T14" fmla="*/ 2147483647 w 101"/>
              <a:gd name="T15" fmla="*/ 2147483647 h 92"/>
              <a:gd name="T16" fmla="*/ 2147483647 w 101"/>
              <a:gd name="T17" fmla="*/ 0 h 92"/>
              <a:gd name="T18" fmla="*/ 2147483647 w 101"/>
              <a:gd name="T19" fmla="*/ 2147483647 h 92"/>
              <a:gd name="T20" fmla="*/ 2147483647 w 101"/>
              <a:gd name="T21" fmla="*/ 2147483647 h 92"/>
              <a:gd name="T22" fmla="*/ 2147483647 w 101"/>
              <a:gd name="T23" fmla="*/ 2147483647 h 92"/>
              <a:gd name="T24" fmla="*/ 2147483647 w 101"/>
              <a:gd name="T25" fmla="*/ 2147483647 h 92"/>
              <a:gd name="T26" fmla="*/ 2147483647 w 101"/>
              <a:gd name="T27" fmla="*/ 2147483647 h 92"/>
              <a:gd name="T28" fmla="*/ 2147483647 w 101"/>
              <a:gd name="T29" fmla="*/ 2147483647 h 92"/>
              <a:gd name="T30" fmla="*/ 2147483647 w 101"/>
              <a:gd name="T31" fmla="*/ 2147483647 h 92"/>
              <a:gd name="T32" fmla="*/ 2147483647 w 101"/>
              <a:gd name="T33" fmla="*/ 2147483647 h 92"/>
              <a:gd name="T34" fmla="*/ 2147483647 w 101"/>
              <a:gd name="T35" fmla="*/ 2147483647 h 92"/>
              <a:gd name="T36" fmla="*/ 2147483647 w 101"/>
              <a:gd name="T37" fmla="*/ 2147483647 h 92"/>
              <a:gd name="T38" fmla="*/ 2147483647 w 101"/>
              <a:gd name="T39" fmla="*/ 2147483647 h 92"/>
              <a:gd name="T40" fmla="*/ 2147483647 w 101"/>
              <a:gd name="T41" fmla="*/ 2147483647 h 92"/>
              <a:gd name="T42" fmla="*/ 2147483647 w 101"/>
              <a:gd name="T43" fmla="*/ 2147483647 h 92"/>
              <a:gd name="T44" fmla="*/ 2147483647 w 101"/>
              <a:gd name="T45" fmla="*/ 2147483647 h 92"/>
              <a:gd name="T46" fmla="*/ 2147483647 w 101"/>
              <a:gd name="T47" fmla="*/ 2147483647 h 92"/>
              <a:gd name="T48" fmla="*/ 2147483647 w 101"/>
              <a:gd name="T49" fmla="*/ 2147483647 h 92"/>
              <a:gd name="T50" fmla="*/ 2147483647 w 101"/>
              <a:gd name="T51" fmla="*/ 2147483647 h 92"/>
              <a:gd name="T52" fmla="*/ 2147483647 w 101"/>
              <a:gd name="T53" fmla="*/ 2147483647 h 92"/>
              <a:gd name="T54" fmla="*/ 0 w 101"/>
              <a:gd name="T55" fmla="*/ 2147483647 h 92"/>
              <a:gd name="T56" fmla="*/ 2147483647 w 101"/>
              <a:gd name="T57" fmla="*/ 2147483647 h 92"/>
              <a:gd name="T58" fmla="*/ 2147483647 w 101"/>
              <a:gd name="T59" fmla="*/ 2147483647 h 92"/>
              <a:gd name="T60" fmla="*/ 2147483647 w 101"/>
              <a:gd name="T61" fmla="*/ 2147483647 h 9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1"/>
              <a:gd name="T94" fmla="*/ 0 h 92"/>
              <a:gd name="T95" fmla="*/ 101 w 101"/>
              <a:gd name="T96" fmla="*/ 92 h 92"/>
              <a:gd name="connsiteX0" fmla="*/ 2772 w 10000"/>
              <a:gd name="connsiteY0" fmla="*/ 3370 h 10000"/>
              <a:gd name="connsiteX1" fmla="*/ 3564 w 10000"/>
              <a:gd name="connsiteY1" fmla="*/ 2065 h 10000"/>
              <a:gd name="connsiteX2" fmla="*/ 3168 w 10000"/>
              <a:gd name="connsiteY2" fmla="*/ 978 h 10000"/>
              <a:gd name="connsiteX3" fmla="*/ 3960 w 10000"/>
              <a:gd name="connsiteY3" fmla="*/ 761 h 10000"/>
              <a:gd name="connsiteX4" fmla="*/ 4356 w 10000"/>
              <a:gd name="connsiteY4" fmla="*/ 1739 h 10000"/>
              <a:gd name="connsiteX5" fmla="*/ 4851 w 10000"/>
              <a:gd name="connsiteY5" fmla="*/ 870 h 10000"/>
              <a:gd name="connsiteX6" fmla="*/ 6040 w 10000"/>
              <a:gd name="connsiteY6" fmla="*/ 870 h 10000"/>
              <a:gd name="connsiteX7" fmla="*/ 5743 w 10000"/>
              <a:gd name="connsiteY7" fmla="*/ 217 h 10000"/>
              <a:gd name="connsiteX8" fmla="*/ 6634 w 10000"/>
              <a:gd name="connsiteY8" fmla="*/ 0 h 10000"/>
              <a:gd name="connsiteX9" fmla="*/ 7921 w 10000"/>
              <a:gd name="connsiteY9" fmla="*/ 1522 h 10000"/>
              <a:gd name="connsiteX10" fmla="*/ 8416 w 10000"/>
              <a:gd name="connsiteY10" fmla="*/ 3478 h 10000"/>
              <a:gd name="connsiteX11" fmla="*/ 9406 w 10000"/>
              <a:gd name="connsiteY11" fmla="*/ 3152 h 10000"/>
              <a:gd name="connsiteX12" fmla="*/ 10000 w 10000"/>
              <a:gd name="connsiteY12" fmla="*/ 3913 h 10000"/>
              <a:gd name="connsiteX13" fmla="*/ 9901 w 10000"/>
              <a:gd name="connsiteY13" fmla="*/ 4239 h 10000"/>
              <a:gd name="connsiteX14" fmla="*/ 8119 w 10000"/>
              <a:gd name="connsiteY14" fmla="*/ 6087 h 10000"/>
              <a:gd name="connsiteX15" fmla="*/ 7426 w 10000"/>
              <a:gd name="connsiteY15" fmla="*/ 6196 h 10000"/>
              <a:gd name="connsiteX16" fmla="*/ 7624 w 10000"/>
              <a:gd name="connsiteY16" fmla="*/ 6957 h 10000"/>
              <a:gd name="connsiteX17" fmla="*/ 8020 w 10000"/>
              <a:gd name="connsiteY17" fmla="*/ 7065 h 10000"/>
              <a:gd name="connsiteX18" fmla="*/ 7921 w 10000"/>
              <a:gd name="connsiteY18" fmla="*/ 9457 h 10000"/>
              <a:gd name="connsiteX19" fmla="*/ 7426 w 10000"/>
              <a:gd name="connsiteY19" fmla="*/ 9565 h 10000"/>
              <a:gd name="connsiteX20" fmla="*/ 7228 w 10000"/>
              <a:gd name="connsiteY20" fmla="*/ 9239 h 10000"/>
              <a:gd name="connsiteX21" fmla="*/ 6238 w 10000"/>
              <a:gd name="connsiteY21" fmla="*/ 10000 h 10000"/>
              <a:gd name="connsiteX22" fmla="*/ 5535 w 10000"/>
              <a:gd name="connsiteY22" fmla="*/ 9801 h 10000"/>
              <a:gd name="connsiteX23" fmla="*/ 3960 w 10000"/>
              <a:gd name="connsiteY23" fmla="*/ 8696 h 10000"/>
              <a:gd name="connsiteX24" fmla="*/ 3168 w 10000"/>
              <a:gd name="connsiteY24" fmla="*/ 9130 h 10000"/>
              <a:gd name="connsiteX25" fmla="*/ 1485 w 10000"/>
              <a:gd name="connsiteY25" fmla="*/ 9239 h 10000"/>
              <a:gd name="connsiteX26" fmla="*/ 792 w 10000"/>
              <a:gd name="connsiteY26" fmla="*/ 10000 h 10000"/>
              <a:gd name="connsiteX27" fmla="*/ 0 w 10000"/>
              <a:gd name="connsiteY27" fmla="*/ 10000 h 10000"/>
              <a:gd name="connsiteX28" fmla="*/ 594 w 10000"/>
              <a:gd name="connsiteY28" fmla="*/ 6630 h 10000"/>
              <a:gd name="connsiteX29" fmla="*/ 1980 w 10000"/>
              <a:gd name="connsiteY29" fmla="*/ 3913 h 10000"/>
              <a:gd name="connsiteX30" fmla="*/ 2772 w 10000"/>
              <a:gd name="connsiteY30" fmla="*/ 3370 h 10000"/>
              <a:gd name="connsiteX0" fmla="*/ 2772 w 10000"/>
              <a:gd name="connsiteY0" fmla="*/ 3370 h 10000"/>
              <a:gd name="connsiteX1" fmla="*/ 3564 w 10000"/>
              <a:gd name="connsiteY1" fmla="*/ 2065 h 10000"/>
              <a:gd name="connsiteX2" fmla="*/ 3168 w 10000"/>
              <a:gd name="connsiteY2" fmla="*/ 978 h 10000"/>
              <a:gd name="connsiteX3" fmla="*/ 3960 w 10000"/>
              <a:gd name="connsiteY3" fmla="*/ 761 h 10000"/>
              <a:gd name="connsiteX4" fmla="*/ 4356 w 10000"/>
              <a:gd name="connsiteY4" fmla="*/ 1739 h 10000"/>
              <a:gd name="connsiteX5" fmla="*/ 4851 w 10000"/>
              <a:gd name="connsiteY5" fmla="*/ 870 h 10000"/>
              <a:gd name="connsiteX6" fmla="*/ 6040 w 10000"/>
              <a:gd name="connsiteY6" fmla="*/ 870 h 10000"/>
              <a:gd name="connsiteX7" fmla="*/ 5743 w 10000"/>
              <a:gd name="connsiteY7" fmla="*/ 217 h 10000"/>
              <a:gd name="connsiteX8" fmla="*/ 6634 w 10000"/>
              <a:gd name="connsiteY8" fmla="*/ 0 h 10000"/>
              <a:gd name="connsiteX9" fmla="*/ 7921 w 10000"/>
              <a:gd name="connsiteY9" fmla="*/ 1522 h 10000"/>
              <a:gd name="connsiteX10" fmla="*/ 8416 w 10000"/>
              <a:gd name="connsiteY10" fmla="*/ 3478 h 10000"/>
              <a:gd name="connsiteX11" fmla="*/ 9406 w 10000"/>
              <a:gd name="connsiteY11" fmla="*/ 3152 h 10000"/>
              <a:gd name="connsiteX12" fmla="*/ 10000 w 10000"/>
              <a:gd name="connsiteY12" fmla="*/ 3913 h 10000"/>
              <a:gd name="connsiteX13" fmla="*/ 9901 w 10000"/>
              <a:gd name="connsiteY13" fmla="*/ 4239 h 10000"/>
              <a:gd name="connsiteX14" fmla="*/ 8119 w 10000"/>
              <a:gd name="connsiteY14" fmla="*/ 6087 h 10000"/>
              <a:gd name="connsiteX15" fmla="*/ 7426 w 10000"/>
              <a:gd name="connsiteY15" fmla="*/ 6196 h 10000"/>
              <a:gd name="connsiteX16" fmla="*/ 7624 w 10000"/>
              <a:gd name="connsiteY16" fmla="*/ 6957 h 10000"/>
              <a:gd name="connsiteX17" fmla="*/ 8020 w 10000"/>
              <a:gd name="connsiteY17" fmla="*/ 7065 h 10000"/>
              <a:gd name="connsiteX18" fmla="*/ 7921 w 10000"/>
              <a:gd name="connsiteY18" fmla="*/ 9457 h 10000"/>
              <a:gd name="connsiteX19" fmla="*/ 7426 w 10000"/>
              <a:gd name="connsiteY19" fmla="*/ 9565 h 10000"/>
              <a:gd name="connsiteX20" fmla="*/ 7228 w 10000"/>
              <a:gd name="connsiteY20" fmla="*/ 9239 h 10000"/>
              <a:gd name="connsiteX21" fmla="*/ 6238 w 10000"/>
              <a:gd name="connsiteY21" fmla="*/ 10000 h 10000"/>
              <a:gd name="connsiteX22" fmla="*/ 5535 w 10000"/>
              <a:gd name="connsiteY22" fmla="*/ 9801 h 10000"/>
              <a:gd name="connsiteX23" fmla="*/ 3960 w 10000"/>
              <a:gd name="connsiteY23" fmla="*/ 8696 h 10000"/>
              <a:gd name="connsiteX24" fmla="*/ 3480 w 10000"/>
              <a:gd name="connsiteY24" fmla="*/ 9544 h 10000"/>
              <a:gd name="connsiteX25" fmla="*/ 1485 w 10000"/>
              <a:gd name="connsiteY25" fmla="*/ 9239 h 10000"/>
              <a:gd name="connsiteX26" fmla="*/ 792 w 10000"/>
              <a:gd name="connsiteY26" fmla="*/ 10000 h 10000"/>
              <a:gd name="connsiteX27" fmla="*/ 0 w 10000"/>
              <a:gd name="connsiteY27" fmla="*/ 10000 h 10000"/>
              <a:gd name="connsiteX28" fmla="*/ 594 w 10000"/>
              <a:gd name="connsiteY28" fmla="*/ 6630 h 10000"/>
              <a:gd name="connsiteX29" fmla="*/ 1980 w 10000"/>
              <a:gd name="connsiteY29" fmla="*/ 3913 h 10000"/>
              <a:gd name="connsiteX30" fmla="*/ 2772 w 10000"/>
              <a:gd name="connsiteY30" fmla="*/ 3370 h 10000"/>
              <a:gd name="connsiteX0" fmla="*/ 2772 w 10000"/>
              <a:gd name="connsiteY0" fmla="*/ 3370 h 10560"/>
              <a:gd name="connsiteX1" fmla="*/ 3564 w 10000"/>
              <a:gd name="connsiteY1" fmla="*/ 2065 h 10560"/>
              <a:gd name="connsiteX2" fmla="*/ 3168 w 10000"/>
              <a:gd name="connsiteY2" fmla="*/ 978 h 10560"/>
              <a:gd name="connsiteX3" fmla="*/ 3960 w 10000"/>
              <a:gd name="connsiteY3" fmla="*/ 761 h 10560"/>
              <a:gd name="connsiteX4" fmla="*/ 4356 w 10000"/>
              <a:gd name="connsiteY4" fmla="*/ 1739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7921 w 10000"/>
              <a:gd name="connsiteY9" fmla="*/ 1522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485 w 10000"/>
              <a:gd name="connsiteY26" fmla="*/ 9239 h 10560"/>
              <a:gd name="connsiteX27" fmla="*/ 792 w 10000"/>
              <a:gd name="connsiteY27" fmla="*/ 10000 h 10560"/>
              <a:gd name="connsiteX28" fmla="*/ 0 w 10000"/>
              <a:gd name="connsiteY28" fmla="*/ 10000 h 10560"/>
              <a:gd name="connsiteX29" fmla="*/ 594 w 10000"/>
              <a:gd name="connsiteY29" fmla="*/ 6630 h 10560"/>
              <a:gd name="connsiteX30" fmla="*/ 1980 w 10000"/>
              <a:gd name="connsiteY30" fmla="*/ 3913 h 10560"/>
              <a:gd name="connsiteX31" fmla="*/ 2772 w 10000"/>
              <a:gd name="connsiteY31" fmla="*/ 3370 h 10560"/>
              <a:gd name="connsiteX0" fmla="*/ 2772 w 10000"/>
              <a:gd name="connsiteY0" fmla="*/ 3370 h 10560"/>
              <a:gd name="connsiteX1" fmla="*/ 3564 w 10000"/>
              <a:gd name="connsiteY1" fmla="*/ 2065 h 10560"/>
              <a:gd name="connsiteX2" fmla="*/ 3168 w 10000"/>
              <a:gd name="connsiteY2" fmla="*/ 978 h 10560"/>
              <a:gd name="connsiteX3" fmla="*/ 3960 w 10000"/>
              <a:gd name="connsiteY3" fmla="*/ 761 h 10560"/>
              <a:gd name="connsiteX4" fmla="*/ 4356 w 10000"/>
              <a:gd name="connsiteY4" fmla="*/ 1739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7921 w 10000"/>
              <a:gd name="connsiteY9" fmla="*/ 1522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594 w 10000"/>
              <a:gd name="connsiteY29" fmla="*/ 6630 h 10560"/>
              <a:gd name="connsiteX30" fmla="*/ 1980 w 10000"/>
              <a:gd name="connsiteY30" fmla="*/ 3913 h 10560"/>
              <a:gd name="connsiteX31" fmla="*/ 2772 w 10000"/>
              <a:gd name="connsiteY31" fmla="*/ 3370 h 10560"/>
              <a:gd name="connsiteX0" fmla="*/ 2772 w 10000"/>
              <a:gd name="connsiteY0" fmla="*/ 3370 h 10560"/>
              <a:gd name="connsiteX1" fmla="*/ 3564 w 10000"/>
              <a:gd name="connsiteY1" fmla="*/ 2065 h 10560"/>
              <a:gd name="connsiteX2" fmla="*/ 3168 w 10000"/>
              <a:gd name="connsiteY2" fmla="*/ 978 h 10560"/>
              <a:gd name="connsiteX3" fmla="*/ 3960 w 10000"/>
              <a:gd name="connsiteY3" fmla="*/ 761 h 10560"/>
              <a:gd name="connsiteX4" fmla="*/ 4356 w 10000"/>
              <a:gd name="connsiteY4" fmla="*/ 1739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7921 w 10000"/>
              <a:gd name="connsiteY9" fmla="*/ 1522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428 w 10000"/>
              <a:gd name="connsiteY29" fmla="*/ 5436 h 10560"/>
              <a:gd name="connsiteX30" fmla="*/ 1980 w 10000"/>
              <a:gd name="connsiteY30" fmla="*/ 3913 h 10560"/>
              <a:gd name="connsiteX31" fmla="*/ 2772 w 10000"/>
              <a:gd name="connsiteY31" fmla="*/ 3370 h 10560"/>
              <a:gd name="connsiteX0" fmla="*/ 2772 w 10000"/>
              <a:gd name="connsiteY0" fmla="*/ 3370 h 10560"/>
              <a:gd name="connsiteX1" fmla="*/ 3564 w 10000"/>
              <a:gd name="connsiteY1" fmla="*/ 2065 h 10560"/>
              <a:gd name="connsiteX2" fmla="*/ 3168 w 10000"/>
              <a:gd name="connsiteY2" fmla="*/ 978 h 10560"/>
              <a:gd name="connsiteX3" fmla="*/ 3960 w 10000"/>
              <a:gd name="connsiteY3" fmla="*/ 761 h 10560"/>
              <a:gd name="connsiteX4" fmla="*/ 4356 w 10000"/>
              <a:gd name="connsiteY4" fmla="*/ 1739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7921 w 10000"/>
              <a:gd name="connsiteY9" fmla="*/ 1522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428 w 10000"/>
              <a:gd name="connsiteY29" fmla="*/ 5436 h 10560"/>
              <a:gd name="connsiteX30" fmla="*/ 1083 w 10000"/>
              <a:gd name="connsiteY30" fmla="*/ 3737 h 10560"/>
              <a:gd name="connsiteX31" fmla="*/ 2772 w 10000"/>
              <a:gd name="connsiteY31" fmla="*/ 3370 h 10560"/>
              <a:gd name="connsiteX0" fmla="*/ 2772 w 10000"/>
              <a:gd name="connsiteY0" fmla="*/ 3370 h 10560"/>
              <a:gd name="connsiteX1" fmla="*/ 3564 w 10000"/>
              <a:gd name="connsiteY1" fmla="*/ 2065 h 10560"/>
              <a:gd name="connsiteX2" fmla="*/ 2729 w 10000"/>
              <a:gd name="connsiteY2" fmla="*/ 1156 h 10560"/>
              <a:gd name="connsiteX3" fmla="*/ 3960 w 10000"/>
              <a:gd name="connsiteY3" fmla="*/ 761 h 10560"/>
              <a:gd name="connsiteX4" fmla="*/ 4356 w 10000"/>
              <a:gd name="connsiteY4" fmla="*/ 1739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7921 w 10000"/>
              <a:gd name="connsiteY9" fmla="*/ 1522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428 w 10000"/>
              <a:gd name="connsiteY29" fmla="*/ 5436 h 10560"/>
              <a:gd name="connsiteX30" fmla="*/ 1083 w 10000"/>
              <a:gd name="connsiteY30" fmla="*/ 3737 h 10560"/>
              <a:gd name="connsiteX31" fmla="*/ 2772 w 10000"/>
              <a:gd name="connsiteY31" fmla="*/ 3370 h 10560"/>
              <a:gd name="connsiteX0" fmla="*/ 2772 w 10000"/>
              <a:gd name="connsiteY0" fmla="*/ 3370 h 10560"/>
              <a:gd name="connsiteX1" fmla="*/ 3564 w 10000"/>
              <a:gd name="connsiteY1" fmla="*/ 2065 h 10560"/>
              <a:gd name="connsiteX2" fmla="*/ 2729 w 10000"/>
              <a:gd name="connsiteY2" fmla="*/ 1156 h 10560"/>
              <a:gd name="connsiteX3" fmla="*/ 3960 w 10000"/>
              <a:gd name="connsiteY3" fmla="*/ 761 h 10560"/>
              <a:gd name="connsiteX4" fmla="*/ 4675 w 10000"/>
              <a:gd name="connsiteY4" fmla="*/ 978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7921 w 10000"/>
              <a:gd name="connsiteY9" fmla="*/ 1522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428 w 10000"/>
              <a:gd name="connsiteY29" fmla="*/ 5436 h 10560"/>
              <a:gd name="connsiteX30" fmla="*/ 1083 w 10000"/>
              <a:gd name="connsiteY30" fmla="*/ 3737 h 10560"/>
              <a:gd name="connsiteX31" fmla="*/ 2772 w 10000"/>
              <a:gd name="connsiteY31" fmla="*/ 3370 h 10560"/>
              <a:gd name="connsiteX0" fmla="*/ 2772 w 10000"/>
              <a:gd name="connsiteY0" fmla="*/ 3370 h 10560"/>
              <a:gd name="connsiteX1" fmla="*/ 3564 w 10000"/>
              <a:gd name="connsiteY1" fmla="*/ 2065 h 10560"/>
              <a:gd name="connsiteX2" fmla="*/ 2729 w 10000"/>
              <a:gd name="connsiteY2" fmla="*/ 1156 h 10560"/>
              <a:gd name="connsiteX3" fmla="*/ 3960 w 10000"/>
              <a:gd name="connsiteY3" fmla="*/ 761 h 10560"/>
              <a:gd name="connsiteX4" fmla="*/ 4675 w 10000"/>
              <a:gd name="connsiteY4" fmla="*/ 978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8698 w 10000"/>
              <a:gd name="connsiteY9" fmla="*/ 1116 h 10560"/>
              <a:gd name="connsiteX10" fmla="*/ 8416 w 10000"/>
              <a:gd name="connsiteY10" fmla="*/ 3478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428 w 10000"/>
              <a:gd name="connsiteY29" fmla="*/ 5436 h 10560"/>
              <a:gd name="connsiteX30" fmla="*/ 1083 w 10000"/>
              <a:gd name="connsiteY30" fmla="*/ 3737 h 10560"/>
              <a:gd name="connsiteX31" fmla="*/ 2772 w 10000"/>
              <a:gd name="connsiteY31" fmla="*/ 3370 h 10560"/>
              <a:gd name="connsiteX0" fmla="*/ 2772 w 10000"/>
              <a:gd name="connsiteY0" fmla="*/ 3370 h 10560"/>
              <a:gd name="connsiteX1" fmla="*/ 3564 w 10000"/>
              <a:gd name="connsiteY1" fmla="*/ 2065 h 10560"/>
              <a:gd name="connsiteX2" fmla="*/ 2729 w 10000"/>
              <a:gd name="connsiteY2" fmla="*/ 1156 h 10560"/>
              <a:gd name="connsiteX3" fmla="*/ 3960 w 10000"/>
              <a:gd name="connsiteY3" fmla="*/ 761 h 10560"/>
              <a:gd name="connsiteX4" fmla="*/ 4675 w 10000"/>
              <a:gd name="connsiteY4" fmla="*/ 978 h 10560"/>
              <a:gd name="connsiteX5" fmla="*/ 4851 w 10000"/>
              <a:gd name="connsiteY5" fmla="*/ 870 h 10560"/>
              <a:gd name="connsiteX6" fmla="*/ 6040 w 10000"/>
              <a:gd name="connsiteY6" fmla="*/ 870 h 10560"/>
              <a:gd name="connsiteX7" fmla="*/ 5743 w 10000"/>
              <a:gd name="connsiteY7" fmla="*/ 217 h 10560"/>
              <a:gd name="connsiteX8" fmla="*/ 6634 w 10000"/>
              <a:gd name="connsiteY8" fmla="*/ 0 h 10560"/>
              <a:gd name="connsiteX9" fmla="*/ 8698 w 10000"/>
              <a:gd name="connsiteY9" fmla="*/ 1116 h 10560"/>
              <a:gd name="connsiteX10" fmla="*/ 9110 w 10000"/>
              <a:gd name="connsiteY10" fmla="*/ 2835 h 10560"/>
              <a:gd name="connsiteX11" fmla="*/ 9406 w 10000"/>
              <a:gd name="connsiteY11" fmla="*/ 3152 h 10560"/>
              <a:gd name="connsiteX12" fmla="*/ 10000 w 10000"/>
              <a:gd name="connsiteY12" fmla="*/ 3913 h 10560"/>
              <a:gd name="connsiteX13" fmla="*/ 9901 w 10000"/>
              <a:gd name="connsiteY13" fmla="*/ 4239 h 10560"/>
              <a:gd name="connsiteX14" fmla="*/ 8119 w 10000"/>
              <a:gd name="connsiteY14" fmla="*/ 6087 h 10560"/>
              <a:gd name="connsiteX15" fmla="*/ 7426 w 10000"/>
              <a:gd name="connsiteY15" fmla="*/ 6196 h 10560"/>
              <a:gd name="connsiteX16" fmla="*/ 7624 w 10000"/>
              <a:gd name="connsiteY16" fmla="*/ 6957 h 10560"/>
              <a:gd name="connsiteX17" fmla="*/ 8020 w 10000"/>
              <a:gd name="connsiteY17" fmla="*/ 7065 h 10560"/>
              <a:gd name="connsiteX18" fmla="*/ 7921 w 10000"/>
              <a:gd name="connsiteY18" fmla="*/ 9457 h 10560"/>
              <a:gd name="connsiteX19" fmla="*/ 7426 w 10000"/>
              <a:gd name="connsiteY19" fmla="*/ 9565 h 10560"/>
              <a:gd name="connsiteX20" fmla="*/ 7228 w 10000"/>
              <a:gd name="connsiteY20" fmla="*/ 9239 h 10560"/>
              <a:gd name="connsiteX21" fmla="*/ 6238 w 10000"/>
              <a:gd name="connsiteY21" fmla="*/ 10000 h 10560"/>
              <a:gd name="connsiteX22" fmla="*/ 5535 w 10000"/>
              <a:gd name="connsiteY22" fmla="*/ 9801 h 10560"/>
              <a:gd name="connsiteX23" fmla="*/ 3960 w 10000"/>
              <a:gd name="connsiteY23" fmla="*/ 8696 h 10560"/>
              <a:gd name="connsiteX24" fmla="*/ 3480 w 10000"/>
              <a:gd name="connsiteY24" fmla="*/ 9544 h 10560"/>
              <a:gd name="connsiteX25" fmla="*/ 2289 w 10000"/>
              <a:gd name="connsiteY25" fmla="*/ 10556 h 10560"/>
              <a:gd name="connsiteX26" fmla="*/ 1221 w 10000"/>
              <a:gd name="connsiteY26" fmla="*/ 10158 h 10560"/>
              <a:gd name="connsiteX27" fmla="*/ 792 w 10000"/>
              <a:gd name="connsiteY27" fmla="*/ 10000 h 10560"/>
              <a:gd name="connsiteX28" fmla="*/ 0 w 10000"/>
              <a:gd name="connsiteY28" fmla="*/ 10000 h 10560"/>
              <a:gd name="connsiteX29" fmla="*/ 428 w 10000"/>
              <a:gd name="connsiteY29" fmla="*/ 5436 h 10560"/>
              <a:gd name="connsiteX30" fmla="*/ 1083 w 10000"/>
              <a:gd name="connsiteY30" fmla="*/ 3737 h 10560"/>
              <a:gd name="connsiteX31" fmla="*/ 2772 w 10000"/>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110 w 10821"/>
              <a:gd name="connsiteY10" fmla="*/ 2835 h 10560"/>
              <a:gd name="connsiteX11" fmla="*/ 9406 w 10821"/>
              <a:gd name="connsiteY11" fmla="*/ 3152 h 10560"/>
              <a:gd name="connsiteX12" fmla="*/ 10821 w 10821"/>
              <a:gd name="connsiteY12" fmla="*/ 2678 h 10560"/>
              <a:gd name="connsiteX13" fmla="*/ 9901 w 10821"/>
              <a:gd name="connsiteY13" fmla="*/ 4239 h 10560"/>
              <a:gd name="connsiteX14" fmla="*/ 8119 w 10821"/>
              <a:gd name="connsiteY14" fmla="*/ 6087 h 10560"/>
              <a:gd name="connsiteX15" fmla="*/ 7426 w 10821"/>
              <a:gd name="connsiteY15" fmla="*/ 6196 h 10560"/>
              <a:gd name="connsiteX16" fmla="*/ 7624 w 10821"/>
              <a:gd name="connsiteY16" fmla="*/ 6957 h 10560"/>
              <a:gd name="connsiteX17" fmla="*/ 8020 w 10821"/>
              <a:gd name="connsiteY17" fmla="*/ 7065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110 w 10821"/>
              <a:gd name="connsiteY10" fmla="*/ 2835 h 10560"/>
              <a:gd name="connsiteX11" fmla="*/ 10466 w 10821"/>
              <a:gd name="connsiteY11" fmla="*/ 2360 h 10560"/>
              <a:gd name="connsiteX12" fmla="*/ 10821 w 10821"/>
              <a:gd name="connsiteY12" fmla="*/ 2678 h 10560"/>
              <a:gd name="connsiteX13" fmla="*/ 9901 w 10821"/>
              <a:gd name="connsiteY13" fmla="*/ 4239 h 10560"/>
              <a:gd name="connsiteX14" fmla="*/ 8119 w 10821"/>
              <a:gd name="connsiteY14" fmla="*/ 6087 h 10560"/>
              <a:gd name="connsiteX15" fmla="*/ 7426 w 10821"/>
              <a:gd name="connsiteY15" fmla="*/ 6196 h 10560"/>
              <a:gd name="connsiteX16" fmla="*/ 7624 w 10821"/>
              <a:gd name="connsiteY16" fmla="*/ 6957 h 10560"/>
              <a:gd name="connsiteX17" fmla="*/ 8020 w 10821"/>
              <a:gd name="connsiteY17" fmla="*/ 7065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658 w 10821"/>
              <a:gd name="connsiteY10" fmla="*/ 2252 h 10560"/>
              <a:gd name="connsiteX11" fmla="*/ 10466 w 10821"/>
              <a:gd name="connsiteY11" fmla="*/ 2360 h 10560"/>
              <a:gd name="connsiteX12" fmla="*/ 10821 w 10821"/>
              <a:gd name="connsiteY12" fmla="*/ 2678 h 10560"/>
              <a:gd name="connsiteX13" fmla="*/ 9901 w 10821"/>
              <a:gd name="connsiteY13" fmla="*/ 4239 h 10560"/>
              <a:gd name="connsiteX14" fmla="*/ 8119 w 10821"/>
              <a:gd name="connsiteY14" fmla="*/ 6087 h 10560"/>
              <a:gd name="connsiteX15" fmla="*/ 7426 w 10821"/>
              <a:gd name="connsiteY15" fmla="*/ 6196 h 10560"/>
              <a:gd name="connsiteX16" fmla="*/ 7624 w 10821"/>
              <a:gd name="connsiteY16" fmla="*/ 6957 h 10560"/>
              <a:gd name="connsiteX17" fmla="*/ 8020 w 10821"/>
              <a:gd name="connsiteY17" fmla="*/ 7065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658 w 10821"/>
              <a:gd name="connsiteY10" fmla="*/ 2252 h 10560"/>
              <a:gd name="connsiteX11" fmla="*/ 10466 w 10821"/>
              <a:gd name="connsiteY11" fmla="*/ 2360 h 10560"/>
              <a:gd name="connsiteX12" fmla="*/ 10821 w 10821"/>
              <a:gd name="connsiteY12" fmla="*/ 2678 h 10560"/>
              <a:gd name="connsiteX13" fmla="*/ 9901 w 10821"/>
              <a:gd name="connsiteY13" fmla="*/ 4239 h 10560"/>
              <a:gd name="connsiteX14" fmla="*/ 8119 w 10821"/>
              <a:gd name="connsiteY14" fmla="*/ 6087 h 10560"/>
              <a:gd name="connsiteX15" fmla="*/ 7426 w 10821"/>
              <a:gd name="connsiteY15" fmla="*/ 6196 h 10560"/>
              <a:gd name="connsiteX16" fmla="*/ 7624 w 10821"/>
              <a:gd name="connsiteY16" fmla="*/ 6957 h 10560"/>
              <a:gd name="connsiteX17" fmla="*/ 8882 w 10821"/>
              <a:gd name="connsiteY17" fmla="*/ 8337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658 w 10821"/>
              <a:gd name="connsiteY10" fmla="*/ 2252 h 10560"/>
              <a:gd name="connsiteX11" fmla="*/ 10466 w 10821"/>
              <a:gd name="connsiteY11" fmla="*/ 2360 h 10560"/>
              <a:gd name="connsiteX12" fmla="*/ 10821 w 10821"/>
              <a:gd name="connsiteY12" fmla="*/ 2678 h 10560"/>
              <a:gd name="connsiteX13" fmla="*/ 9901 w 10821"/>
              <a:gd name="connsiteY13" fmla="*/ 4239 h 10560"/>
              <a:gd name="connsiteX14" fmla="*/ 8119 w 10821"/>
              <a:gd name="connsiteY14" fmla="*/ 6087 h 10560"/>
              <a:gd name="connsiteX15" fmla="*/ 7426 w 10821"/>
              <a:gd name="connsiteY15" fmla="*/ 6196 h 10560"/>
              <a:gd name="connsiteX16" fmla="*/ 9573 w 10821"/>
              <a:gd name="connsiteY16" fmla="*/ 7516 h 10560"/>
              <a:gd name="connsiteX17" fmla="*/ 8882 w 10821"/>
              <a:gd name="connsiteY17" fmla="*/ 8337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658 w 10821"/>
              <a:gd name="connsiteY10" fmla="*/ 2252 h 10560"/>
              <a:gd name="connsiteX11" fmla="*/ 10466 w 10821"/>
              <a:gd name="connsiteY11" fmla="*/ 2360 h 10560"/>
              <a:gd name="connsiteX12" fmla="*/ 10821 w 10821"/>
              <a:gd name="connsiteY12" fmla="*/ 2678 h 10560"/>
              <a:gd name="connsiteX13" fmla="*/ 9901 w 10821"/>
              <a:gd name="connsiteY13" fmla="*/ 4239 h 10560"/>
              <a:gd name="connsiteX14" fmla="*/ 9235 w 10821"/>
              <a:gd name="connsiteY14" fmla="*/ 6174 h 10560"/>
              <a:gd name="connsiteX15" fmla="*/ 7426 w 10821"/>
              <a:gd name="connsiteY15" fmla="*/ 6196 h 10560"/>
              <a:gd name="connsiteX16" fmla="*/ 9573 w 10821"/>
              <a:gd name="connsiteY16" fmla="*/ 7516 h 10560"/>
              <a:gd name="connsiteX17" fmla="*/ 8882 w 10821"/>
              <a:gd name="connsiteY17" fmla="*/ 8337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 name="connsiteX0" fmla="*/ 2772 w 10821"/>
              <a:gd name="connsiteY0" fmla="*/ 3370 h 10560"/>
              <a:gd name="connsiteX1" fmla="*/ 3564 w 10821"/>
              <a:gd name="connsiteY1" fmla="*/ 2065 h 10560"/>
              <a:gd name="connsiteX2" fmla="*/ 2729 w 10821"/>
              <a:gd name="connsiteY2" fmla="*/ 1156 h 10560"/>
              <a:gd name="connsiteX3" fmla="*/ 3960 w 10821"/>
              <a:gd name="connsiteY3" fmla="*/ 761 h 10560"/>
              <a:gd name="connsiteX4" fmla="*/ 4675 w 10821"/>
              <a:gd name="connsiteY4" fmla="*/ 978 h 10560"/>
              <a:gd name="connsiteX5" fmla="*/ 4851 w 10821"/>
              <a:gd name="connsiteY5" fmla="*/ 870 h 10560"/>
              <a:gd name="connsiteX6" fmla="*/ 6040 w 10821"/>
              <a:gd name="connsiteY6" fmla="*/ 870 h 10560"/>
              <a:gd name="connsiteX7" fmla="*/ 5743 w 10821"/>
              <a:gd name="connsiteY7" fmla="*/ 217 h 10560"/>
              <a:gd name="connsiteX8" fmla="*/ 6634 w 10821"/>
              <a:gd name="connsiteY8" fmla="*/ 0 h 10560"/>
              <a:gd name="connsiteX9" fmla="*/ 8698 w 10821"/>
              <a:gd name="connsiteY9" fmla="*/ 1116 h 10560"/>
              <a:gd name="connsiteX10" fmla="*/ 9658 w 10821"/>
              <a:gd name="connsiteY10" fmla="*/ 2252 h 10560"/>
              <a:gd name="connsiteX11" fmla="*/ 10466 w 10821"/>
              <a:gd name="connsiteY11" fmla="*/ 2360 h 10560"/>
              <a:gd name="connsiteX12" fmla="*/ 10821 w 10821"/>
              <a:gd name="connsiteY12" fmla="*/ 2678 h 10560"/>
              <a:gd name="connsiteX13" fmla="*/ 9901 w 10821"/>
              <a:gd name="connsiteY13" fmla="*/ 4239 h 10560"/>
              <a:gd name="connsiteX14" fmla="*/ 9235 w 10821"/>
              <a:gd name="connsiteY14" fmla="*/ 6174 h 10560"/>
              <a:gd name="connsiteX15" fmla="*/ 9412 w 10821"/>
              <a:gd name="connsiteY15" fmla="*/ 7101 h 10560"/>
              <a:gd name="connsiteX16" fmla="*/ 9573 w 10821"/>
              <a:gd name="connsiteY16" fmla="*/ 7516 h 10560"/>
              <a:gd name="connsiteX17" fmla="*/ 8882 w 10821"/>
              <a:gd name="connsiteY17" fmla="*/ 8337 h 10560"/>
              <a:gd name="connsiteX18" fmla="*/ 7921 w 10821"/>
              <a:gd name="connsiteY18" fmla="*/ 9457 h 10560"/>
              <a:gd name="connsiteX19" fmla="*/ 7426 w 10821"/>
              <a:gd name="connsiteY19" fmla="*/ 9565 h 10560"/>
              <a:gd name="connsiteX20" fmla="*/ 7228 w 10821"/>
              <a:gd name="connsiteY20" fmla="*/ 9239 h 10560"/>
              <a:gd name="connsiteX21" fmla="*/ 6238 w 10821"/>
              <a:gd name="connsiteY21" fmla="*/ 10000 h 10560"/>
              <a:gd name="connsiteX22" fmla="*/ 5535 w 10821"/>
              <a:gd name="connsiteY22" fmla="*/ 9801 h 10560"/>
              <a:gd name="connsiteX23" fmla="*/ 3960 w 10821"/>
              <a:gd name="connsiteY23" fmla="*/ 8696 h 10560"/>
              <a:gd name="connsiteX24" fmla="*/ 3480 w 10821"/>
              <a:gd name="connsiteY24" fmla="*/ 9544 h 10560"/>
              <a:gd name="connsiteX25" fmla="*/ 2289 w 10821"/>
              <a:gd name="connsiteY25" fmla="*/ 10556 h 10560"/>
              <a:gd name="connsiteX26" fmla="*/ 1221 w 10821"/>
              <a:gd name="connsiteY26" fmla="*/ 10158 h 10560"/>
              <a:gd name="connsiteX27" fmla="*/ 792 w 10821"/>
              <a:gd name="connsiteY27" fmla="*/ 10000 h 10560"/>
              <a:gd name="connsiteX28" fmla="*/ 0 w 10821"/>
              <a:gd name="connsiteY28" fmla="*/ 10000 h 10560"/>
              <a:gd name="connsiteX29" fmla="*/ 428 w 10821"/>
              <a:gd name="connsiteY29" fmla="*/ 5436 h 10560"/>
              <a:gd name="connsiteX30" fmla="*/ 1083 w 10821"/>
              <a:gd name="connsiteY30" fmla="*/ 3737 h 10560"/>
              <a:gd name="connsiteX31" fmla="*/ 2772 w 10821"/>
              <a:gd name="connsiteY31" fmla="*/ 3370 h 1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821" h="10560">
                <a:moveTo>
                  <a:pt x="2772" y="3370"/>
                </a:moveTo>
                <a:lnTo>
                  <a:pt x="3564" y="2065"/>
                </a:lnTo>
                <a:lnTo>
                  <a:pt x="2729" y="1156"/>
                </a:lnTo>
                <a:lnTo>
                  <a:pt x="3960" y="761"/>
                </a:lnTo>
                <a:lnTo>
                  <a:pt x="4675" y="978"/>
                </a:lnTo>
                <a:lnTo>
                  <a:pt x="4851" y="870"/>
                </a:lnTo>
                <a:lnTo>
                  <a:pt x="6040" y="870"/>
                </a:lnTo>
                <a:lnTo>
                  <a:pt x="5743" y="217"/>
                </a:lnTo>
                <a:lnTo>
                  <a:pt x="6634" y="0"/>
                </a:lnTo>
                <a:lnTo>
                  <a:pt x="8698" y="1116"/>
                </a:lnTo>
                <a:cubicBezTo>
                  <a:pt x="8835" y="1689"/>
                  <a:pt x="9521" y="1679"/>
                  <a:pt x="9658" y="2252"/>
                </a:cubicBezTo>
                <a:lnTo>
                  <a:pt x="10466" y="2360"/>
                </a:lnTo>
                <a:lnTo>
                  <a:pt x="10821" y="2678"/>
                </a:lnTo>
                <a:cubicBezTo>
                  <a:pt x="10788" y="2787"/>
                  <a:pt x="9934" y="4130"/>
                  <a:pt x="9901" y="4239"/>
                </a:cubicBezTo>
                <a:lnTo>
                  <a:pt x="9235" y="6174"/>
                </a:lnTo>
                <a:lnTo>
                  <a:pt x="9412" y="7101"/>
                </a:lnTo>
                <a:cubicBezTo>
                  <a:pt x="9466" y="7239"/>
                  <a:pt x="9519" y="7378"/>
                  <a:pt x="9573" y="7516"/>
                </a:cubicBezTo>
                <a:lnTo>
                  <a:pt x="8882" y="8337"/>
                </a:lnTo>
                <a:cubicBezTo>
                  <a:pt x="8849" y="9134"/>
                  <a:pt x="7954" y="8660"/>
                  <a:pt x="7921" y="9457"/>
                </a:cubicBezTo>
                <a:lnTo>
                  <a:pt x="7426" y="9565"/>
                </a:lnTo>
                <a:lnTo>
                  <a:pt x="7228" y="9239"/>
                </a:lnTo>
                <a:lnTo>
                  <a:pt x="6238" y="10000"/>
                </a:lnTo>
                <a:lnTo>
                  <a:pt x="5535" y="9801"/>
                </a:lnTo>
                <a:lnTo>
                  <a:pt x="3960" y="8696"/>
                </a:lnTo>
                <a:lnTo>
                  <a:pt x="3480" y="9544"/>
                </a:lnTo>
                <a:cubicBezTo>
                  <a:pt x="2936" y="9460"/>
                  <a:pt x="2833" y="10640"/>
                  <a:pt x="2289" y="10556"/>
                </a:cubicBezTo>
                <a:lnTo>
                  <a:pt x="1221" y="10158"/>
                </a:lnTo>
                <a:lnTo>
                  <a:pt x="792" y="10000"/>
                </a:lnTo>
                <a:lnTo>
                  <a:pt x="0" y="10000"/>
                </a:lnTo>
                <a:cubicBezTo>
                  <a:pt x="143" y="8479"/>
                  <a:pt x="285" y="6957"/>
                  <a:pt x="428" y="5436"/>
                </a:cubicBezTo>
                <a:lnTo>
                  <a:pt x="1083" y="3737"/>
                </a:lnTo>
                <a:lnTo>
                  <a:pt x="2772" y="3370"/>
                </a:lnTo>
                <a:close/>
              </a:path>
            </a:pathLst>
          </a:custGeom>
          <a:solidFill>
            <a:srgbClr val="FAFAFA"/>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GB" dirty="0"/>
          </a:p>
        </p:txBody>
      </p:sp>
      <p:grpSp>
        <p:nvGrpSpPr>
          <p:cNvPr id="50" name="Am"/>
          <p:cNvGrpSpPr>
            <a:grpSpLocks/>
          </p:cNvGrpSpPr>
          <p:nvPr/>
        </p:nvGrpSpPr>
        <p:grpSpPr bwMode="auto">
          <a:xfrm rot="712744">
            <a:off x="5339298" y="3478563"/>
            <a:ext cx="690458" cy="800203"/>
            <a:chOff x="2287936" y="3796326"/>
            <a:chExt cx="143" cy="227"/>
          </a:xfrm>
          <a:solidFill>
            <a:srgbClr val="FAFAFA"/>
          </a:solidFill>
          <a:effectLst/>
        </p:grpSpPr>
        <p:sp>
          <p:nvSpPr>
            <p:cNvPr id="55" name="2aD"/>
            <p:cNvSpPr>
              <a:spLocks/>
            </p:cNvSpPr>
            <p:nvPr/>
          </p:nvSpPr>
          <p:spPr bwMode="auto">
            <a:xfrm>
              <a:off x="2287936" y="3796326"/>
              <a:ext cx="88" cy="168"/>
            </a:xfrm>
            <a:custGeom>
              <a:avLst/>
              <a:gdLst>
                <a:gd name="T0" fmla="*/ 55 w 77"/>
                <a:gd name="T1" fmla="*/ 160 h 160"/>
                <a:gd name="T2" fmla="*/ 30 w 77"/>
                <a:gd name="T3" fmla="*/ 153 h 160"/>
                <a:gd name="T4" fmla="*/ 9 w 77"/>
                <a:gd name="T5" fmla="*/ 142 h 160"/>
                <a:gd name="T6" fmla="*/ 10 w 77"/>
                <a:gd name="T7" fmla="*/ 130 h 160"/>
                <a:gd name="T8" fmla="*/ 11 w 77"/>
                <a:gd name="T9" fmla="*/ 122 h 160"/>
                <a:gd name="T10" fmla="*/ 6 w 77"/>
                <a:gd name="T11" fmla="*/ 114 h 160"/>
                <a:gd name="T12" fmla="*/ 4 w 77"/>
                <a:gd name="T13" fmla="*/ 108 h 160"/>
                <a:gd name="T14" fmla="*/ 12 w 77"/>
                <a:gd name="T15" fmla="*/ 98 h 160"/>
                <a:gd name="T16" fmla="*/ 3 w 77"/>
                <a:gd name="T17" fmla="*/ 89 h 160"/>
                <a:gd name="T18" fmla="*/ 0 w 77"/>
                <a:gd name="T19" fmla="*/ 66 h 160"/>
                <a:gd name="T20" fmla="*/ 7 w 77"/>
                <a:gd name="T21" fmla="*/ 62 h 160"/>
                <a:gd name="T22" fmla="*/ 7 w 77"/>
                <a:gd name="T23" fmla="*/ 43 h 160"/>
                <a:gd name="T24" fmla="*/ 2 w 77"/>
                <a:gd name="T25" fmla="*/ 38 h 160"/>
                <a:gd name="T26" fmla="*/ 8 w 77"/>
                <a:gd name="T27" fmla="*/ 33 h 160"/>
                <a:gd name="T28" fmla="*/ 28 w 77"/>
                <a:gd name="T29" fmla="*/ 33 h 160"/>
                <a:gd name="T30" fmla="*/ 34 w 77"/>
                <a:gd name="T31" fmla="*/ 26 h 160"/>
                <a:gd name="T32" fmla="*/ 33 w 77"/>
                <a:gd name="T33" fmla="*/ 1 h 160"/>
                <a:gd name="T34" fmla="*/ 40 w 77"/>
                <a:gd name="T35" fmla="*/ 0 h 160"/>
                <a:gd name="T36" fmla="*/ 49 w 77"/>
                <a:gd name="T37" fmla="*/ 10 h 160"/>
                <a:gd name="T38" fmla="*/ 61 w 77"/>
                <a:gd name="T39" fmla="*/ 0 h 160"/>
                <a:gd name="T40" fmla="*/ 67 w 77"/>
                <a:gd name="T41" fmla="*/ 18 h 160"/>
                <a:gd name="T42" fmla="*/ 62 w 77"/>
                <a:gd name="T43" fmla="*/ 35 h 160"/>
                <a:gd name="T44" fmla="*/ 62 w 77"/>
                <a:gd name="T45" fmla="*/ 48 h 160"/>
                <a:gd name="T46" fmla="*/ 75 w 77"/>
                <a:gd name="T47" fmla="*/ 48 h 160"/>
                <a:gd name="T48" fmla="*/ 62 w 77"/>
                <a:gd name="T49" fmla="*/ 59 h 160"/>
                <a:gd name="T50" fmla="*/ 68 w 77"/>
                <a:gd name="T51" fmla="*/ 67 h 160"/>
                <a:gd name="T52" fmla="*/ 57 w 77"/>
                <a:gd name="T53" fmla="*/ 80 h 160"/>
                <a:gd name="T54" fmla="*/ 51 w 77"/>
                <a:gd name="T55" fmla="*/ 85 h 160"/>
                <a:gd name="T56" fmla="*/ 55 w 77"/>
                <a:gd name="T57" fmla="*/ 102 h 160"/>
                <a:gd name="T58" fmla="*/ 62 w 77"/>
                <a:gd name="T59" fmla="*/ 104 h 160"/>
                <a:gd name="T60" fmla="*/ 60 w 77"/>
                <a:gd name="T61" fmla="*/ 114 h 160"/>
                <a:gd name="T62" fmla="*/ 76 w 77"/>
                <a:gd name="T63" fmla="*/ 115 h 160"/>
                <a:gd name="T64" fmla="*/ 77 w 77"/>
                <a:gd name="T65" fmla="*/ 137 h 160"/>
                <a:gd name="T66" fmla="*/ 71 w 77"/>
                <a:gd name="T67" fmla="*/ 145 h 160"/>
                <a:gd name="T68" fmla="*/ 68 w 77"/>
                <a:gd name="T69" fmla="*/ 136 h 160"/>
                <a:gd name="T70" fmla="*/ 59 w 77"/>
                <a:gd name="T71" fmla="*/ 139 h 160"/>
                <a:gd name="T72" fmla="*/ 63 w 77"/>
                <a:gd name="T73" fmla="*/ 148 h 160"/>
                <a:gd name="T74" fmla="*/ 55 w 77"/>
                <a:gd name="T75" fmla="*/ 160 h 1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7"/>
                <a:gd name="T115" fmla="*/ 0 h 160"/>
                <a:gd name="T116" fmla="*/ 77 w 77"/>
                <a:gd name="T117" fmla="*/ 160 h 160"/>
                <a:gd name="connsiteX0" fmla="*/ 7143 w 10000"/>
                <a:gd name="connsiteY0" fmla="*/ 10000 h 10000"/>
                <a:gd name="connsiteX1" fmla="*/ 3896 w 10000"/>
                <a:gd name="connsiteY1" fmla="*/ 9563 h 10000"/>
                <a:gd name="connsiteX2" fmla="*/ 1169 w 10000"/>
                <a:gd name="connsiteY2" fmla="*/ 8875 h 10000"/>
                <a:gd name="connsiteX3" fmla="*/ 1299 w 10000"/>
                <a:gd name="connsiteY3" fmla="*/ 8125 h 10000"/>
                <a:gd name="connsiteX4" fmla="*/ 1429 w 10000"/>
                <a:gd name="connsiteY4" fmla="*/ 7625 h 10000"/>
                <a:gd name="connsiteX5" fmla="*/ 779 w 10000"/>
                <a:gd name="connsiteY5" fmla="*/ 7125 h 10000"/>
                <a:gd name="connsiteX6" fmla="*/ 519 w 10000"/>
                <a:gd name="connsiteY6" fmla="*/ 6750 h 10000"/>
                <a:gd name="connsiteX7" fmla="*/ 1558 w 10000"/>
                <a:gd name="connsiteY7" fmla="*/ 6125 h 10000"/>
                <a:gd name="connsiteX8" fmla="*/ 390 w 10000"/>
                <a:gd name="connsiteY8" fmla="*/ 5563 h 10000"/>
                <a:gd name="connsiteX9" fmla="*/ 0 w 10000"/>
                <a:gd name="connsiteY9" fmla="*/ 4125 h 10000"/>
                <a:gd name="connsiteX10" fmla="*/ 909 w 10000"/>
                <a:gd name="connsiteY10" fmla="*/ 3875 h 10000"/>
                <a:gd name="connsiteX11" fmla="*/ 909 w 10000"/>
                <a:gd name="connsiteY11" fmla="*/ 2688 h 10000"/>
                <a:gd name="connsiteX12" fmla="*/ 260 w 10000"/>
                <a:gd name="connsiteY12" fmla="*/ 2375 h 10000"/>
                <a:gd name="connsiteX13" fmla="*/ 1039 w 10000"/>
                <a:gd name="connsiteY13" fmla="*/ 2063 h 10000"/>
                <a:gd name="connsiteX14" fmla="*/ 3636 w 10000"/>
                <a:gd name="connsiteY14" fmla="*/ 2063 h 10000"/>
                <a:gd name="connsiteX15" fmla="*/ 4416 w 10000"/>
                <a:gd name="connsiteY15" fmla="*/ 1625 h 10000"/>
                <a:gd name="connsiteX16" fmla="*/ 4286 w 10000"/>
                <a:gd name="connsiteY16" fmla="*/ 63 h 10000"/>
                <a:gd name="connsiteX17" fmla="*/ 5195 w 10000"/>
                <a:gd name="connsiteY17" fmla="*/ 0 h 10000"/>
                <a:gd name="connsiteX18" fmla="*/ 6364 w 10000"/>
                <a:gd name="connsiteY18" fmla="*/ 625 h 10000"/>
                <a:gd name="connsiteX19" fmla="*/ 7922 w 10000"/>
                <a:gd name="connsiteY19" fmla="*/ 0 h 10000"/>
                <a:gd name="connsiteX20" fmla="*/ 8701 w 10000"/>
                <a:gd name="connsiteY20" fmla="*/ 1125 h 10000"/>
                <a:gd name="connsiteX21" fmla="*/ 8052 w 10000"/>
                <a:gd name="connsiteY21" fmla="*/ 2188 h 10000"/>
                <a:gd name="connsiteX22" fmla="*/ 8052 w 10000"/>
                <a:gd name="connsiteY22" fmla="*/ 3000 h 10000"/>
                <a:gd name="connsiteX23" fmla="*/ 9740 w 10000"/>
                <a:gd name="connsiteY23" fmla="*/ 3000 h 10000"/>
                <a:gd name="connsiteX24" fmla="*/ 8052 w 10000"/>
                <a:gd name="connsiteY24" fmla="*/ 3688 h 10000"/>
                <a:gd name="connsiteX25" fmla="*/ 8831 w 10000"/>
                <a:gd name="connsiteY25" fmla="*/ 4188 h 10000"/>
                <a:gd name="connsiteX26" fmla="*/ 7403 w 10000"/>
                <a:gd name="connsiteY26" fmla="*/ 5000 h 10000"/>
                <a:gd name="connsiteX27" fmla="*/ 7740 w 10000"/>
                <a:gd name="connsiteY27" fmla="*/ 6033 h 10000"/>
                <a:gd name="connsiteX28" fmla="*/ 7143 w 10000"/>
                <a:gd name="connsiteY28" fmla="*/ 6375 h 10000"/>
                <a:gd name="connsiteX29" fmla="*/ 8052 w 10000"/>
                <a:gd name="connsiteY29" fmla="*/ 6500 h 10000"/>
                <a:gd name="connsiteX30" fmla="*/ 7792 w 10000"/>
                <a:gd name="connsiteY30" fmla="*/ 7125 h 10000"/>
                <a:gd name="connsiteX31" fmla="*/ 9870 w 10000"/>
                <a:gd name="connsiteY31" fmla="*/ 7188 h 10000"/>
                <a:gd name="connsiteX32" fmla="*/ 10000 w 10000"/>
                <a:gd name="connsiteY32" fmla="*/ 8563 h 10000"/>
                <a:gd name="connsiteX33" fmla="*/ 9221 w 10000"/>
                <a:gd name="connsiteY33" fmla="*/ 9063 h 10000"/>
                <a:gd name="connsiteX34" fmla="*/ 8831 w 10000"/>
                <a:gd name="connsiteY34" fmla="*/ 8500 h 10000"/>
                <a:gd name="connsiteX35" fmla="*/ 7662 w 10000"/>
                <a:gd name="connsiteY35" fmla="*/ 8688 h 10000"/>
                <a:gd name="connsiteX36" fmla="*/ 8182 w 10000"/>
                <a:gd name="connsiteY36" fmla="*/ 9250 h 10000"/>
                <a:gd name="connsiteX37" fmla="*/ 7143 w 10000"/>
                <a:gd name="connsiteY37" fmla="*/ 10000 h 10000"/>
                <a:gd name="connsiteX0" fmla="*/ 7143 w 10000"/>
                <a:gd name="connsiteY0" fmla="*/ 10000 h 10000"/>
                <a:gd name="connsiteX1" fmla="*/ 3896 w 10000"/>
                <a:gd name="connsiteY1" fmla="*/ 9563 h 10000"/>
                <a:gd name="connsiteX2" fmla="*/ 1169 w 10000"/>
                <a:gd name="connsiteY2" fmla="*/ 8875 h 10000"/>
                <a:gd name="connsiteX3" fmla="*/ 1299 w 10000"/>
                <a:gd name="connsiteY3" fmla="*/ 8125 h 10000"/>
                <a:gd name="connsiteX4" fmla="*/ 1429 w 10000"/>
                <a:gd name="connsiteY4" fmla="*/ 7625 h 10000"/>
                <a:gd name="connsiteX5" fmla="*/ 779 w 10000"/>
                <a:gd name="connsiteY5" fmla="*/ 7125 h 10000"/>
                <a:gd name="connsiteX6" fmla="*/ 519 w 10000"/>
                <a:gd name="connsiteY6" fmla="*/ 6750 h 10000"/>
                <a:gd name="connsiteX7" fmla="*/ 1558 w 10000"/>
                <a:gd name="connsiteY7" fmla="*/ 6125 h 10000"/>
                <a:gd name="connsiteX8" fmla="*/ 390 w 10000"/>
                <a:gd name="connsiteY8" fmla="*/ 5563 h 10000"/>
                <a:gd name="connsiteX9" fmla="*/ 0 w 10000"/>
                <a:gd name="connsiteY9" fmla="*/ 4125 h 10000"/>
                <a:gd name="connsiteX10" fmla="*/ 909 w 10000"/>
                <a:gd name="connsiteY10" fmla="*/ 3875 h 10000"/>
                <a:gd name="connsiteX11" fmla="*/ 909 w 10000"/>
                <a:gd name="connsiteY11" fmla="*/ 2688 h 10000"/>
                <a:gd name="connsiteX12" fmla="*/ 260 w 10000"/>
                <a:gd name="connsiteY12" fmla="*/ 2375 h 10000"/>
                <a:gd name="connsiteX13" fmla="*/ 1039 w 10000"/>
                <a:gd name="connsiteY13" fmla="*/ 2063 h 10000"/>
                <a:gd name="connsiteX14" fmla="*/ 3636 w 10000"/>
                <a:gd name="connsiteY14" fmla="*/ 2063 h 10000"/>
                <a:gd name="connsiteX15" fmla="*/ 4416 w 10000"/>
                <a:gd name="connsiteY15" fmla="*/ 1625 h 10000"/>
                <a:gd name="connsiteX16" fmla="*/ 4286 w 10000"/>
                <a:gd name="connsiteY16" fmla="*/ 63 h 10000"/>
                <a:gd name="connsiteX17" fmla="*/ 5195 w 10000"/>
                <a:gd name="connsiteY17" fmla="*/ 0 h 10000"/>
                <a:gd name="connsiteX18" fmla="*/ 6364 w 10000"/>
                <a:gd name="connsiteY18" fmla="*/ 625 h 10000"/>
                <a:gd name="connsiteX19" fmla="*/ 7922 w 10000"/>
                <a:gd name="connsiteY19" fmla="*/ 0 h 10000"/>
                <a:gd name="connsiteX20" fmla="*/ 8701 w 10000"/>
                <a:gd name="connsiteY20" fmla="*/ 1125 h 10000"/>
                <a:gd name="connsiteX21" fmla="*/ 8052 w 10000"/>
                <a:gd name="connsiteY21" fmla="*/ 2188 h 10000"/>
                <a:gd name="connsiteX22" fmla="*/ 8052 w 10000"/>
                <a:gd name="connsiteY22" fmla="*/ 3000 h 10000"/>
                <a:gd name="connsiteX23" fmla="*/ 9740 w 10000"/>
                <a:gd name="connsiteY23" fmla="*/ 3000 h 10000"/>
                <a:gd name="connsiteX24" fmla="*/ 8052 w 10000"/>
                <a:gd name="connsiteY24" fmla="*/ 3688 h 10000"/>
                <a:gd name="connsiteX25" fmla="*/ 8831 w 10000"/>
                <a:gd name="connsiteY25" fmla="*/ 4188 h 10000"/>
                <a:gd name="connsiteX26" fmla="*/ 8393 w 10000"/>
                <a:gd name="connsiteY26" fmla="*/ 5505 h 10000"/>
                <a:gd name="connsiteX27" fmla="*/ 7740 w 10000"/>
                <a:gd name="connsiteY27" fmla="*/ 6033 h 10000"/>
                <a:gd name="connsiteX28" fmla="*/ 7143 w 10000"/>
                <a:gd name="connsiteY28" fmla="*/ 6375 h 10000"/>
                <a:gd name="connsiteX29" fmla="*/ 8052 w 10000"/>
                <a:gd name="connsiteY29" fmla="*/ 6500 h 10000"/>
                <a:gd name="connsiteX30" fmla="*/ 7792 w 10000"/>
                <a:gd name="connsiteY30" fmla="*/ 7125 h 10000"/>
                <a:gd name="connsiteX31" fmla="*/ 9870 w 10000"/>
                <a:gd name="connsiteY31" fmla="*/ 7188 h 10000"/>
                <a:gd name="connsiteX32" fmla="*/ 10000 w 10000"/>
                <a:gd name="connsiteY32" fmla="*/ 8563 h 10000"/>
                <a:gd name="connsiteX33" fmla="*/ 9221 w 10000"/>
                <a:gd name="connsiteY33" fmla="*/ 9063 h 10000"/>
                <a:gd name="connsiteX34" fmla="*/ 8831 w 10000"/>
                <a:gd name="connsiteY34" fmla="*/ 8500 h 10000"/>
                <a:gd name="connsiteX35" fmla="*/ 7662 w 10000"/>
                <a:gd name="connsiteY35" fmla="*/ 8688 h 10000"/>
                <a:gd name="connsiteX36" fmla="*/ 8182 w 10000"/>
                <a:gd name="connsiteY36" fmla="*/ 9250 h 10000"/>
                <a:gd name="connsiteX37" fmla="*/ 7143 w 10000"/>
                <a:gd name="connsiteY37" fmla="*/ 10000 h 10000"/>
                <a:gd name="connsiteX0" fmla="*/ 7143 w 10000"/>
                <a:gd name="connsiteY0" fmla="*/ 10000 h 10000"/>
                <a:gd name="connsiteX1" fmla="*/ 3896 w 10000"/>
                <a:gd name="connsiteY1" fmla="*/ 9563 h 10000"/>
                <a:gd name="connsiteX2" fmla="*/ 1169 w 10000"/>
                <a:gd name="connsiteY2" fmla="*/ 8875 h 10000"/>
                <a:gd name="connsiteX3" fmla="*/ 1299 w 10000"/>
                <a:gd name="connsiteY3" fmla="*/ 8125 h 10000"/>
                <a:gd name="connsiteX4" fmla="*/ 1429 w 10000"/>
                <a:gd name="connsiteY4" fmla="*/ 7625 h 10000"/>
                <a:gd name="connsiteX5" fmla="*/ 779 w 10000"/>
                <a:gd name="connsiteY5" fmla="*/ 7125 h 10000"/>
                <a:gd name="connsiteX6" fmla="*/ 519 w 10000"/>
                <a:gd name="connsiteY6" fmla="*/ 6750 h 10000"/>
                <a:gd name="connsiteX7" fmla="*/ 1558 w 10000"/>
                <a:gd name="connsiteY7" fmla="*/ 6125 h 10000"/>
                <a:gd name="connsiteX8" fmla="*/ 390 w 10000"/>
                <a:gd name="connsiteY8" fmla="*/ 5563 h 10000"/>
                <a:gd name="connsiteX9" fmla="*/ 0 w 10000"/>
                <a:gd name="connsiteY9" fmla="*/ 4125 h 10000"/>
                <a:gd name="connsiteX10" fmla="*/ 909 w 10000"/>
                <a:gd name="connsiteY10" fmla="*/ 3875 h 10000"/>
                <a:gd name="connsiteX11" fmla="*/ 909 w 10000"/>
                <a:gd name="connsiteY11" fmla="*/ 2688 h 10000"/>
                <a:gd name="connsiteX12" fmla="*/ 260 w 10000"/>
                <a:gd name="connsiteY12" fmla="*/ 2375 h 10000"/>
                <a:gd name="connsiteX13" fmla="*/ 1039 w 10000"/>
                <a:gd name="connsiteY13" fmla="*/ 2063 h 10000"/>
                <a:gd name="connsiteX14" fmla="*/ 3636 w 10000"/>
                <a:gd name="connsiteY14" fmla="*/ 2063 h 10000"/>
                <a:gd name="connsiteX15" fmla="*/ 2711 w 10000"/>
                <a:gd name="connsiteY15" fmla="*/ 666 h 10000"/>
                <a:gd name="connsiteX16" fmla="*/ 4286 w 10000"/>
                <a:gd name="connsiteY16" fmla="*/ 63 h 10000"/>
                <a:gd name="connsiteX17" fmla="*/ 5195 w 10000"/>
                <a:gd name="connsiteY17" fmla="*/ 0 h 10000"/>
                <a:gd name="connsiteX18" fmla="*/ 6364 w 10000"/>
                <a:gd name="connsiteY18" fmla="*/ 625 h 10000"/>
                <a:gd name="connsiteX19" fmla="*/ 7922 w 10000"/>
                <a:gd name="connsiteY19" fmla="*/ 0 h 10000"/>
                <a:gd name="connsiteX20" fmla="*/ 8701 w 10000"/>
                <a:gd name="connsiteY20" fmla="*/ 1125 h 10000"/>
                <a:gd name="connsiteX21" fmla="*/ 8052 w 10000"/>
                <a:gd name="connsiteY21" fmla="*/ 2188 h 10000"/>
                <a:gd name="connsiteX22" fmla="*/ 8052 w 10000"/>
                <a:gd name="connsiteY22" fmla="*/ 3000 h 10000"/>
                <a:gd name="connsiteX23" fmla="*/ 9740 w 10000"/>
                <a:gd name="connsiteY23" fmla="*/ 3000 h 10000"/>
                <a:gd name="connsiteX24" fmla="*/ 8052 w 10000"/>
                <a:gd name="connsiteY24" fmla="*/ 3688 h 10000"/>
                <a:gd name="connsiteX25" fmla="*/ 8831 w 10000"/>
                <a:gd name="connsiteY25" fmla="*/ 4188 h 10000"/>
                <a:gd name="connsiteX26" fmla="*/ 8393 w 10000"/>
                <a:gd name="connsiteY26" fmla="*/ 5505 h 10000"/>
                <a:gd name="connsiteX27" fmla="*/ 7740 w 10000"/>
                <a:gd name="connsiteY27" fmla="*/ 6033 h 10000"/>
                <a:gd name="connsiteX28" fmla="*/ 7143 w 10000"/>
                <a:gd name="connsiteY28" fmla="*/ 6375 h 10000"/>
                <a:gd name="connsiteX29" fmla="*/ 8052 w 10000"/>
                <a:gd name="connsiteY29" fmla="*/ 6500 h 10000"/>
                <a:gd name="connsiteX30" fmla="*/ 7792 w 10000"/>
                <a:gd name="connsiteY30" fmla="*/ 7125 h 10000"/>
                <a:gd name="connsiteX31" fmla="*/ 9870 w 10000"/>
                <a:gd name="connsiteY31" fmla="*/ 7188 h 10000"/>
                <a:gd name="connsiteX32" fmla="*/ 10000 w 10000"/>
                <a:gd name="connsiteY32" fmla="*/ 8563 h 10000"/>
                <a:gd name="connsiteX33" fmla="*/ 9221 w 10000"/>
                <a:gd name="connsiteY33" fmla="*/ 9063 h 10000"/>
                <a:gd name="connsiteX34" fmla="*/ 8831 w 10000"/>
                <a:gd name="connsiteY34" fmla="*/ 8500 h 10000"/>
                <a:gd name="connsiteX35" fmla="*/ 7662 w 10000"/>
                <a:gd name="connsiteY35" fmla="*/ 8688 h 10000"/>
                <a:gd name="connsiteX36" fmla="*/ 8182 w 10000"/>
                <a:gd name="connsiteY36" fmla="*/ 9250 h 10000"/>
                <a:gd name="connsiteX37" fmla="*/ 7143 w 10000"/>
                <a:gd name="connsiteY37" fmla="*/ 10000 h 10000"/>
                <a:gd name="connsiteX0" fmla="*/ 7143 w 10000"/>
                <a:gd name="connsiteY0" fmla="*/ 10000 h 10000"/>
                <a:gd name="connsiteX1" fmla="*/ 3896 w 10000"/>
                <a:gd name="connsiteY1" fmla="*/ 9563 h 10000"/>
                <a:gd name="connsiteX2" fmla="*/ 1169 w 10000"/>
                <a:gd name="connsiteY2" fmla="*/ 8875 h 10000"/>
                <a:gd name="connsiteX3" fmla="*/ 1299 w 10000"/>
                <a:gd name="connsiteY3" fmla="*/ 8125 h 10000"/>
                <a:gd name="connsiteX4" fmla="*/ 1429 w 10000"/>
                <a:gd name="connsiteY4" fmla="*/ 7625 h 10000"/>
                <a:gd name="connsiteX5" fmla="*/ 779 w 10000"/>
                <a:gd name="connsiteY5" fmla="*/ 7125 h 10000"/>
                <a:gd name="connsiteX6" fmla="*/ 519 w 10000"/>
                <a:gd name="connsiteY6" fmla="*/ 6750 h 10000"/>
                <a:gd name="connsiteX7" fmla="*/ 1558 w 10000"/>
                <a:gd name="connsiteY7" fmla="*/ 6125 h 10000"/>
                <a:gd name="connsiteX8" fmla="*/ 390 w 10000"/>
                <a:gd name="connsiteY8" fmla="*/ 5563 h 10000"/>
                <a:gd name="connsiteX9" fmla="*/ 0 w 10000"/>
                <a:gd name="connsiteY9" fmla="*/ 4125 h 10000"/>
                <a:gd name="connsiteX10" fmla="*/ 909 w 10000"/>
                <a:gd name="connsiteY10" fmla="*/ 3875 h 10000"/>
                <a:gd name="connsiteX11" fmla="*/ 909 w 10000"/>
                <a:gd name="connsiteY11" fmla="*/ 2688 h 10000"/>
                <a:gd name="connsiteX12" fmla="*/ 260 w 10000"/>
                <a:gd name="connsiteY12" fmla="*/ 2375 h 10000"/>
                <a:gd name="connsiteX13" fmla="*/ 1039 w 10000"/>
                <a:gd name="connsiteY13" fmla="*/ 2063 h 10000"/>
                <a:gd name="connsiteX14" fmla="*/ 3110 w 10000"/>
                <a:gd name="connsiteY14" fmla="*/ 1815 h 10000"/>
                <a:gd name="connsiteX15" fmla="*/ 2711 w 10000"/>
                <a:gd name="connsiteY15" fmla="*/ 666 h 10000"/>
                <a:gd name="connsiteX16" fmla="*/ 4286 w 10000"/>
                <a:gd name="connsiteY16" fmla="*/ 63 h 10000"/>
                <a:gd name="connsiteX17" fmla="*/ 5195 w 10000"/>
                <a:gd name="connsiteY17" fmla="*/ 0 h 10000"/>
                <a:gd name="connsiteX18" fmla="*/ 6364 w 10000"/>
                <a:gd name="connsiteY18" fmla="*/ 625 h 10000"/>
                <a:gd name="connsiteX19" fmla="*/ 7922 w 10000"/>
                <a:gd name="connsiteY19" fmla="*/ 0 h 10000"/>
                <a:gd name="connsiteX20" fmla="*/ 8701 w 10000"/>
                <a:gd name="connsiteY20" fmla="*/ 1125 h 10000"/>
                <a:gd name="connsiteX21" fmla="*/ 8052 w 10000"/>
                <a:gd name="connsiteY21" fmla="*/ 2188 h 10000"/>
                <a:gd name="connsiteX22" fmla="*/ 8052 w 10000"/>
                <a:gd name="connsiteY22" fmla="*/ 3000 h 10000"/>
                <a:gd name="connsiteX23" fmla="*/ 9740 w 10000"/>
                <a:gd name="connsiteY23" fmla="*/ 3000 h 10000"/>
                <a:gd name="connsiteX24" fmla="*/ 8052 w 10000"/>
                <a:gd name="connsiteY24" fmla="*/ 3688 h 10000"/>
                <a:gd name="connsiteX25" fmla="*/ 8831 w 10000"/>
                <a:gd name="connsiteY25" fmla="*/ 4188 h 10000"/>
                <a:gd name="connsiteX26" fmla="*/ 8393 w 10000"/>
                <a:gd name="connsiteY26" fmla="*/ 5505 h 10000"/>
                <a:gd name="connsiteX27" fmla="*/ 7740 w 10000"/>
                <a:gd name="connsiteY27" fmla="*/ 6033 h 10000"/>
                <a:gd name="connsiteX28" fmla="*/ 7143 w 10000"/>
                <a:gd name="connsiteY28" fmla="*/ 6375 h 10000"/>
                <a:gd name="connsiteX29" fmla="*/ 8052 w 10000"/>
                <a:gd name="connsiteY29" fmla="*/ 6500 h 10000"/>
                <a:gd name="connsiteX30" fmla="*/ 7792 w 10000"/>
                <a:gd name="connsiteY30" fmla="*/ 7125 h 10000"/>
                <a:gd name="connsiteX31" fmla="*/ 9870 w 10000"/>
                <a:gd name="connsiteY31" fmla="*/ 7188 h 10000"/>
                <a:gd name="connsiteX32" fmla="*/ 10000 w 10000"/>
                <a:gd name="connsiteY32" fmla="*/ 8563 h 10000"/>
                <a:gd name="connsiteX33" fmla="*/ 9221 w 10000"/>
                <a:gd name="connsiteY33" fmla="*/ 9063 h 10000"/>
                <a:gd name="connsiteX34" fmla="*/ 8831 w 10000"/>
                <a:gd name="connsiteY34" fmla="*/ 8500 h 10000"/>
                <a:gd name="connsiteX35" fmla="*/ 7662 w 10000"/>
                <a:gd name="connsiteY35" fmla="*/ 8688 h 10000"/>
                <a:gd name="connsiteX36" fmla="*/ 8182 w 10000"/>
                <a:gd name="connsiteY36" fmla="*/ 9250 h 10000"/>
                <a:gd name="connsiteX37" fmla="*/ 7143 w 10000"/>
                <a:gd name="connsiteY37" fmla="*/ 10000 h 10000"/>
                <a:gd name="connsiteX0" fmla="*/ 7143 w 10000"/>
                <a:gd name="connsiteY0" fmla="*/ 11300 h 11300"/>
                <a:gd name="connsiteX1" fmla="*/ 3896 w 10000"/>
                <a:gd name="connsiteY1" fmla="*/ 10863 h 11300"/>
                <a:gd name="connsiteX2" fmla="*/ 1169 w 10000"/>
                <a:gd name="connsiteY2" fmla="*/ 10175 h 11300"/>
                <a:gd name="connsiteX3" fmla="*/ 1299 w 10000"/>
                <a:gd name="connsiteY3" fmla="*/ 9425 h 11300"/>
                <a:gd name="connsiteX4" fmla="*/ 1429 w 10000"/>
                <a:gd name="connsiteY4" fmla="*/ 8925 h 11300"/>
                <a:gd name="connsiteX5" fmla="*/ 779 w 10000"/>
                <a:gd name="connsiteY5" fmla="*/ 8425 h 11300"/>
                <a:gd name="connsiteX6" fmla="*/ 519 w 10000"/>
                <a:gd name="connsiteY6" fmla="*/ 8050 h 11300"/>
                <a:gd name="connsiteX7" fmla="*/ 1558 w 10000"/>
                <a:gd name="connsiteY7" fmla="*/ 7425 h 11300"/>
                <a:gd name="connsiteX8" fmla="*/ 390 w 10000"/>
                <a:gd name="connsiteY8" fmla="*/ 6863 h 11300"/>
                <a:gd name="connsiteX9" fmla="*/ 0 w 10000"/>
                <a:gd name="connsiteY9" fmla="*/ 5425 h 11300"/>
                <a:gd name="connsiteX10" fmla="*/ 909 w 10000"/>
                <a:gd name="connsiteY10" fmla="*/ 5175 h 11300"/>
                <a:gd name="connsiteX11" fmla="*/ 909 w 10000"/>
                <a:gd name="connsiteY11" fmla="*/ 3988 h 11300"/>
                <a:gd name="connsiteX12" fmla="*/ 260 w 10000"/>
                <a:gd name="connsiteY12" fmla="*/ 3675 h 11300"/>
                <a:gd name="connsiteX13" fmla="*/ 1039 w 10000"/>
                <a:gd name="connsiteY13" fmla="*/ 3363 h 11300"/>
                <a:gd name="connsiteX14" fmla="*/ 3110 w 10000"/>
                <a:gd name="connsiteY14" fmla="*/ 3115 h 11300"/>
                <a:gd name="connsiteX15" fmla="*/ 2711 w 10000"/>
                <a:gd name="connsiteY15" fmla="*/ 1966 h 11300"/>
                <a:gd name="connsiteX16" fmla="*/ 3695 w 10000"/>
                <a:gd name="connsiteY16" fmla="*/ 0 h 11300"/>
                <a:gd name="connsiteX17" fmla="*/ 5195 w 10000"/>
                <a:gd name="connsiteY17" fmla="*/ 1300 h 11300"/>
                <a:gd name="connsiteX18" fmla="*/ 6364 w 10000"/>
                <a:gd name="connsiteY18" fmla="*/ 1925 h 11300"/>
                <a:gd name="connsiteX19" fmla="*/ 7922 w 10000"/>
                <a:gd name="connsiteY19" fmla="*/ 1300 h 11300"/>
                <a:gd name="connsiteX20" fmla="*/ 8701 w 10000"/>
                <a:gd name="connsiteY20" fmla="*/ 2425 h 11300"/>
                <a:gd name="connsiteX21" fmla="*/ 8052 w 10000"/>
                <a:gd name="connsiteY21" fmla="*/ 3488 h 11300"/>
                <a:gd name="connsiteX22" fmla="*/ 8052 w 10000"/>
                <a:gd name="connsiteY22" fmla="*/ 4300 h 11300"/>
                <a:gd name="connsiteX23" fmla="*/ 9740 w 10000"/>
                <a:gd name="connsiteY23" fmla="*/ 4300 h 11300"/>
                <a:gd name="connsiteX24" fmla="*/ 8052 w 10000"/>
                <a:gd name="connsiteY24" fmla="*/ 4988 h 11300"/>
                <a:gd name="connsiteX25" fmla="*/ 8831 w 10000"/>
                <a:gd name="connsiteY25" fmla="*/ 5488 h 11300"/>
                <a:gd name="connsiteX26" fmla="*/ 8393 w 10000"/>
                <a:gd name="connsiteY26" fmla="*/ 6805 h 11300"/>
                <a:gd name="connsiteX27" fmla="*/ 7740 w 10000"/>
                <a:gd name="connsiteY27" fmla="*/ 7333 h 11300"/>
                <a:gd name="connsiteX28" fmla="*/ 7143 w 10000"/>
                <a:gd name="connsiteY28" fmla="*/ 7675 h 11300"/>
                <a:gd name="connsiteX29" fmla="*/ 8052 w 10000"/>
                <a:gd name="connsiteY29" fmla="*/ 7800 h 11300"/>
                <a:gd name="connsiteX30" fmla="*/ 7792 w 10000"/>
                <a:gd name="connsiteY30" fmla="*/ 8425 h 11300"/>
                <a:gd name="connsiteX31" fmla="*/ 9870 w 10000"/>
                <a:gd name="connsiteY31" fmla="*/ 8488 h 11300"/>
                <a:gd name="connsiteX32" fmla="*/ 10000 w 10000"/>
                <a:gd name="connsiteY32" fmla="*/ 9863 h 11300"/>
                <a:gd name="connsiteX33" fmla="*/ 9221 w 10000"/>
                <a:gd name="connsiteY33" fmla="*/ 10363 h 11300"/>
                <a:gd name="connsiteX34" fmla="*/ 8831 w 10000"/>
                <a:gd name="connsiteY34" fmla="*/ 9800 h 11300"/>
                <a:gd name="connsiteX35" fmla="*/ 7662 w 10000"/>
                <a:gd name="connsiteY35" fmla="*/ 9988 h 11300"/>
                <a:gd name="connsiteX36" fmla="*/ 8182 w 10000"/>
                <a:gd name="connsiteY36" fmla="*/ 10550 h 11300"/>
                <a:gd name="connsiteX37" fmla="*/ 7143 w 10000"/>
                <a:gd name="connsiteY37" fmla="*/ 11300 h 11300"/>
                <a:gd name="connsiteX0" fmla="*/ 7143 w 10000"/>
                <a:gd name="connsiteY0" fmla="*/ 11300 h 11300"/>
                <a:gd name="connsiteX1" fmla="*/ 3896 w 10000"/>
                <a:gd name="connsiteY1" fmla="*/ 10863 h 11300"/>
                <a:gd name="connsiteX2" fmla="*/ 1169 w 10000"/>
                <a:gd name="connsiteY2" fmla="*/ 10175 h 11300"/>
                <a:gd name="connsiteX3" fmla="*/ 1299 w 10000"/>
                <a:gd name="connsiteY3" fmla="*/ 9425 h 11300"/>
                <a:gd name="connsiteX4" fmla="*/ 1429 w 10000"/>
                <a:gd name="connsiteY4" fmla="*/ 8925 h 11300"/>
                <a:gd name="connsiteX5" fmla="*/ 779 w 10000"/>
                <a:gd name="connsiteY5" fmla="*/ 8425 h 11300"/>
                <a:gd name="connsiteX6" fmla="*/ 519 w 10000"/>
                <a:gd name="connsiteY6" fmla="*/ 8050 h 11300"/>
                <a:gd name="connsiteX7" fmla="*/ 1558 w 10000"/>
                <a:gd name="connsiteY7" fmla="*/ 7425 h 11300"/>
                <a:gd name="connsiteX8" fmla="*/ 390 w 10000"/>
                <a:gd name="connsiteY8" fmla="*/ 6863 h 11300"/>
                <a:gd name="connsiteX9" fmla="*/ 0 w 10000"/>
                <a:gd name="connsiteY9" fmla="*/ 5425 h 11300"/>
                <a:gd name="connsiteX10" fmla="*/ 909 w 10000"/>
                <a:gd name="connsiteY10" fmla="*/ 5175 h 11300"/>
                <a:gd name="connsiteX11" fmla="*/ 909 w 10000"/>
                <a:gd name="connsiteY11" fmla="*/ 3988 h 11300"/>
                <a:gd name="connsiteX12" fmla="*/ 260 w 10000"/>
                <a:gd name="connsiteY12" fmla="*/ 3675 h 11300"/>
                <a:gd name="connsiteX13" fmla="*/ 1039 w 10000"/>
                <a:gd name="connsiteY13" fmla="*/ 3363 h 11300"/>
                <a:gd name="connsiteX14" fmla="*/ 3110 w 10000"/>
                <a:gd name="connsiteY14" fmla="*/ 3115 h 11300"/>
                <a:gd name="connsiteX15" fmla="*/ 2711 w 10000"/>
                <a:gd name="connsiteY15" fmla="*/ 1966 h 11300"/>
                <a:gd name="connsiteX16" fmla="*/ 3695 w 10000"/>
                <a:gd name="connsiteY16" fmla="*/ 0 h 11300"/>
                <a:gd name="connsiteX17" fmla="*/ 5195 w 10000"/>
                <a:gd name="connsiteY17" fmla="*/ 1300 h 11300"/>
                <a:gd name="connsiteX18" fmla="*/ 6364 w 10000"/>
                <a:gd name="connsiteY18" fmla="*/ 1925 h 11300"/>
                <a:gd name="connsiteX19" fmla="*/ 7922 w 10000"/>
                <a:gd name="connsiteY19" fmla="*/ 1300 h 11300"/>
                <a:gd name="connsiteX20" fmla="*/ 8701 w 10000"/>
                <a:gd name="connsiteY20" fmla="*/ 2425 h 11300"/>
                <a:gd name="connsiteX21" fmla="*/ 8052 w 10000"/>
                <a:gd name="connsiteY21" fmla="*/ 3488 h 11300"/>
                <a:gd name="connsiteX22" fmla="*/ 8052 w 10000"/>
                <a:gd name="connsiteY22" fmla="*/ 4300 h 11300"/>
                <a:gd name="connsiteX23" fmla="*/ 9740 w 10000"/>
                <a:gd name="connsiteY23" fmla="*/ 4300 h 11300"/>
                <a:gd name="connsiteX24" fmla="*/ 8052 w 10000"/>
                <a:gd name="connsiteY24" fmla="*/ 4988 h 11300"/>
                <a:gd name="connsiteX25" fmla="*/ 8831 w 10000"/>
                <a:gd name="connsiteY25" fmla="*/ 5488 h 11300"/>
                <a:gd name="connsiteX26" fmla="*/ 8393 w 10000"/>
                <a:gd name="connsiteY26" fmla="*/ 6805 h 11300"/>
                <a:gd name="connsiteX27" fmla="*/ 7740 w 10000"/>
                <a:gd name="connsiteY27" fmla="*/ 7333 h 11300"/>
                <a:gd name="connsiteX28" fmla="*/ 7143 w 10000"/>
                <a:gd name="connsiteY28" fmla="*/ 7675 h 11300"/>
                <a:gd name="connsiteX29" fmla="*/ 8052 w 10000"/>
                <a:gd name="connsiteY29" fmla="*/ 7800 h 11300"/>
                <a:gd name="connsiteX30" fmla="*/ 7792 w 10000"/>
                <a:gd name="connsiteY30" fmla="*/ 8425 h 11300"/>
                <a:gd name="connsiteX31" fmla="*/ 9870 w 10000"/>
                <a:gd name="connsiteY31" fmla="*/ 8488 h 11300"/>
                <a:gd name="connsiteX32" fmla="*/ 10000 w 10000"/>
                <a:gd name="connsiteY32" fmla="*/ 9863 h 11300"/>
                <a:gd name="connsiteX33" fmla="*/ 9221 w 10000"/>
                <a:gd name="connsiteY33" fmla="*/ 10363 h 11300"/>
                <a:gd name="connsiteX34" fmla="*/ 8831 w 10000"/>
                <a:gd name="connsiteY34" fmla="*/ 9800 h 11300"/>
                <a:gd name="connsiteX35" fmla="*/ 7662 w 10000"/>
                <a:gd name="connsiteY35" fmla="*/ 9988 h 11300"/>
                <a:gd name="connsiteX36" fmla="*/ 8182 w 10000"/>
                <a:gd name="connsiteY36" fmla="*/ 10550 h 11300"/>
                <a:gd name="connsiteX37" fmla="*/ 7143 w 10000"/>
                <a:gd name="connsiteY37" fmla="*/ 11300 h 11300"/>
                <a:gd name="connsiteX0" fmla="*/ 7143 w 10000"/>
                <a:gd name="connsiteY0" fmla="*/ 10127 h 10127"/>
                <a:gd name="connsiteX1" fmla="*/ 3896 w 10000"/>
                <a:gd name="connsiteY1" fmla="*/ 9690 h 10127"/>
                <a:gd name="connsiteX2" fmla="*/ 1169 w 10000"/>
                <a:gd name="connsiteY2" fmla="*/ 9002 h 10127"/>
                <a:gd name="connsiteX3" fmla="*/ 1299 w 10000"/>
                <a:gd name="connsiteY3" fmla="*/ 8252 h 10127"/>
                <a:gd name="connsiteX4" fmla="*/ 1429 w 10000"/>
                <a:gd name="connsiteY4" fmla="*/ 7752 h 10127"/>
                <a:gd name="connsiteX5" fmla="*/ 779 w 10000"/>
                <a:gd name="connsiteY5" fmla="*/ 7252 h 10127"/>
                <a:gd name="connsiteX6" fmla="*/ 519 w 10000"/>
                <a:gd name="connsiteY6" fmla="*/ 6877 h 10127"/>
                <a:gd name="connsiteX7" fmla="*/ 1558 w 10000"/>
                <a:gd name="connsiteY7" fmla="*/ 6252 h 10127"/>
                <a:gd name="connsiteX8" fmla="*/ 390 w 10000"/>
                <a:gd name="connsiteY8" fmla="*/ 5690 h 10127"/>
                <a:gd name="connsiteX9" fmla="*/ 0 w 10000"/>
                <a:gd name="connsiteY9" fmla="*/ 4252 h 10127"/>
                <a:gd name="connsiteX10" fmla="*/ 909 w 10000"/>
                <a:gd name="connsiteY10" fmla="*/ 4002 h 10127"/>
                <a:gd name="connsiteX11" fmla="*/ 909 w 10000"/>
                <a:gd name="connsiteY11" fmla="*/ 2815 h 10127"/>
                <a:gd name="connsiteX12" fmla="*/ 260 w 10000"/>
                <a:gd name="connsiteY12" fmla="*/ 2502 h 10127"/>
                <a:gd name="connsiteX13" fmla="*/ 1039 w 10000"/>
                <a:gd name="connsiteY13" fmla="*/ 2190 h 10127"/>
                <a:gd name="connsiteX14" fmla="*/ 3110 w 10000"/>
                <a:gd name="connsiteY14" fmla="*/ 1942 h 10127"/>
                <a:gd name="connsiteX15" fmla="*/ 2711 w 10000"/>
                <a:gd name="connsiteY15" fmla="*/ 793 h 10127"/>
                <a:gd name="connsiteX16" fmla="*/ 3972 w 10000"/>
                <a:gd name="connsiteY16" fmla="*/ 0 h 10127"/>
                <a:gd name="connsiteX17" fmla="*/ 5195 w 10000"/>
                <a:gd name="connsiteY17" fmla="*/ 127 h 10127"/>
                <a:gd name="connsiteX18" fmla="*/ 6364 w 10000"/>
                <a:gd name="connsiteY18" fmla="*/ 752 h 10127"/>
                <a:gd name="connsiteX19" fmla="*/ 7922 w 10000"/>
                <a:gd name="connsiteY19" fmla="*/ 127 h 10127"/>
                <a:gd name="connsiteX20" fmla="*/ 8701 w 10000"/>
                <a:gd name="connsiteY20" fmla="*/ 1252 h 10127"/>
                <a:gd name="connsiteX21" fmla="*/ 8052 w 10000"/>
                <a:gd name="connsiteY21" fmla="*/ 2315 h 10127"/>
                <a:gd name="connsiteX22" fmla="*/ 8052 w 10000"/>
                <a:gd name="connsiteY22" fmla="*/ 3127 h 10127"/>
                <a:gd name="connsiteX23" fmla="*/ 9740 w 10000"/>
                <a:gd name="connsiteY23" fmla="*/ 3127 h 10127"/>
                <a:gd name="connsiteX24" fmla="*/ 8052 w 10000"/>
                <a:gd name="connsiteY24" fmla="*/ 3815 h 10127"/>
                <a:gd name="connsiteX25" fmla="*/ 8831 w 10000"/>
                <a:gd name="connsiteY25" fmla="*/ 4315 h 10127"/>
                <a:gd name="connsiteX26" fmla="*/ 8393 w 10000"/>
                <a:gd name="connsiteY26" fmla="*/ 5632 h 10127"/>
                <a:gd name="connsiteX27" fmla="*/ 7740 w 10000"/>
                <a:gd name="connsiteY27" fmla="*/ 6160 h 10127"/>
                <a:gd name="connsiteX28" fmla="*/ 7143 w 10000"/>
                <a:gd name="connsiteY28" fmla="*/ 6502 h 10127"/>
                <a:gd name="connsiteX29" fmla="*/ 8052 w 10000"/>
                <a:gd name="connsiteY29" fmla="*/ 6627 h 10127"/>
                <a:gd name="connsiteX30" fmla="*/ 7792 w 10000"/>
                <a:gd name="connsiteY30" fmla="*/ 7252 h 10127"/>
                <a:gd name="connsiteX31" fmla="*/ 9870 w 10000"/>
                <a:gd name="connsiteY31" fmla="*/ 7315 h 10127"/>
                <a:gd name="connsiteX32" fmla="*/ 10000 w 10000"/>
                <a:gd name="connsiteY32" fmla="*/ 8690 h 10127"/>
                <a:gd name="connsiteX33" fmla="*/ 9221 w 10000"/>
                <a:gd name="connsiteY33" fmla="*/ 9190 h 10127"/>
                <a:gd name="connsiteX34" fmla="*/ 8831 w 10000"/>
                <a:gd name="connsiteY34" fmla="*/ 8627 h 10127"/>
                <a:gd name="connsiteX35" fmla="*/ 7662 w 10000"/>
                <a:gd name="connsiteY35" fmla="*/ 8815 h 10127"/>
                <a:gd name="connsiteX36" fmla="*/ 8182 w 10000"/>
                <a:gd name="connsiteY36" fmla="*/ 9377 h 10127"/>
                <a:gd name="connsiteX37" fmla="*/ 7143 w 10000"/>
                <a:gd name="connsiteY37" fmla="*/ 10127 h 10127"/>
                <a:gd name="connsiteX0" fmla="*/ 7143 w 10000"/>
                <a:gd name="connsiteY0" fmla="*/ 10127 h 10127"/>
                <a:gd name="connsiteX1" fmla="*/ 3896 w 10000"/>
                <a:gd name="connsiteY1" fmla="*/ 9690 h 10127"/>
                <a:gd name="connsiteX2" fmla="*/ 1169 w 10000"/>
                <a:gd name="connsiteY2" fmla="*/ 9002 h 10127"/>
                <a:gd name="connsiteX3" fmla="*/ 1299 w 10000"/>
                <a:gd name="connsiteY3" fmla="*/ 8252 h 10127"/>
                <a:gd name="connsiteX4" fmla="*/ 1429 w 10000"/>
                <a:gd name="connsiteY4" fmla="*/ 7752 h 10127"/>
                <a:gd name="connsiteX5" fmla="*/ 779 w 10000"/>
                <a:gd name="connsiteY5" fmla="*/ 7252 h 10127"/>
                <a:gd name="connsiteX6" fmla="*/ 519 w 10000"/>
                <a:gd name="connsiteY6" fmla="*/ 6877 h 10127"/>
                <a:gd name="connsiteX7" fmla="*/ 1558 w 10000"/>
                <a:gd name="connsiteY7" fmla="*/ 6252 h 10127"/>
                <a:gd name="connsiteX8" fmla="*/ 390 w 10000"/>
                <a:gd name="connsiteY8" fmla="*/ 5690 h 10127"/>
                <a:gd name="connsiteX9" fmla="*/ 0 w 10000"/>
                <a:gd name="connsiteY9" fmla="*/ 4252 h 10127"/>
                <a:gd name="connsiteX10" fmla="*/ 909 w 10000"/>
                <a:gd name="connsiteY10" fmla="*/ 4002 h 10127"/>
                <a:gd name="connsiteX11" fmla="*/ 909 w 10000"/>
                <a:gd name="connsiteY11" fmla="*/ 2815 h 10127"/>
                <a:gd name="connsiteX12" fmla="*/ 260 w 10000"/>
                <a:gd name="connsiteY12" fmla="*/ 2502 h 10127"/>
                <a:gd name="connsiteX13" fmla="*/ 1039 w 10000"/>
                <a:gd name="connsiteY13" fmla="*/ 2190 h 10127"/>
                <a:gd name="connsiteX14" fmla="*/ 3110 w 10000"/>
                <a:gd name="connsiteY14" fmla="*/ 1942 h 10127"/>
                <a:gd name="connsiteX15" fmla="*/ 2711 w 10000"/>
                <a:gd name="connsiteY15" fmla="*/ 793 h 10127"/>
                <a:gd name="connsiteX16" fmla="*/ 3972 w 10000"/>
                <a:gd name="connsiteY16" fmla="*/ 0 h 10127"/>
                <a:gd name="connsiteX17" fmla="*/ 5195 w 10000"/>
                <a:gd name="connsiteY17" fmla="*/ 127 h 10127"/>
                <a:gd name="connsiteX18" fmla="*/ 6364 w 10000"/>
                <a:gd name="connsiteY18" fmla="*/ 752 h 10127"/>
                <a:gd name="connsiteX19" fmla="*/ 7922 w 10000"/>
                <a:gd name="connsiteY19" fmla="*/ 127 h 10127"/>
                <a:gd name="connsiteX20" fmla="*/ 8701 w 10000"/>
                <a:gd name="connsiteY20" fmla="*/ 1252 h 10127"/>
                <a:gd name="connsiteX21" fmla="*/ 8052 w 10000"/>
                <a:gd name="connsiteY21" fmla="*/ 2315 h 10127"/>
                <a:gd name="connsiteX22" fmla="*/ 8052 w 10000"/>
                <a:gd name="connsiteY22" fmla="*/ 3127 h 10127"/>
                <a:gd name="connsiteX23" fmla="*/ 9740 w 10000"/>
                <a:gd name="connsiteY23" fmla="*/ 3127 h 10127"/>
                <a:gd name="connsiteX24" fmla="*/ 8052 w 10000"/>
                <a:gd name="connsiteY24" fmla="*/ 3815 h 10127"/>
                <a:gd name="connsiteX25" fmla="*/ 8831 w 10000"/>
                <a:gd name="connsiteY25" fmla="*/ 4315 h 10127"/>
                <a:gd name="connsiteX26" fmla="*/ 8393 w 10000"/>
                <a:gd name="connsiteY26" fmla="*/ 5632 h 10127"/>
                <a:gd name="connsiteX27" fmla="*/ 7740 w 10000"/>
                <a:gd name="connsiteY27" fmla="*/ 6160 h 10127"/>
                <a:gd name="connsiteX28" fmla="*/ 7143 w 10000"/>
                <a:gd name="connsiteY28" fmla="*/ 6502 h 10127"/>
                <a:gd name="connsiteX29" fmla="*/ 8052 w 10000"/>
                <a:gd name="connsiteY29" fmla="*/ 6627 h 10127"/>
                <a:gd name="connsiteX30" fmla="*/ 7792 w 10000"/>
                <a:gd name="connsiteY30" fmla="*/ 7252 h 10127"/>
                <a:gd name="connsiteX31" fmla="*/ 9870 w 10000"/>
                <a:gd name="connsiteY31" fmla="*/ 7315 h 10127"/>
                <a:gd name="connsiteX32" fmla="*/ 10000 w 10000"/>
                <a:gd name="connsiteY32" fmla="*/ 8690 h 10127"/>
                <a:gd name="connsiteX33" fmla="*/ 9221 w 10000"/>
                <a:gd name="connsiteY33" fmla="*/ 9190 h 10127"/>
                <a:gd name="connsiteX34" fmla="*/ 8831 w 10000"/>
                <a:gd name="connsiteY34" fmla="*/ 8627 h 10127"/>
                <a:gd name="connsiteX35" fmla="*/ 7662 w 10000"/>
                <a:gd name="connsiteY35" fmla="*/ 8815 h 10127"/>
                <a:gd name="connsiteX36" fmla="*/ 8182 w 10000"/>
                <a:gd name="connsiteY36" fmla="*/ 9377 h 10127"/>
                <a:gd name="connsiteX37" fmla="*/ 7143 w 10000"/>
                <a:gd name="connsiteY37" fmla="*/ 10127 h 10127"/>
                <a:gd name="connsiteX0" fmla="*/ 7143 w 10000"/>
                <a:gd name="connsiteY0" fmla="*/ 10127 h 10127"/>
                <a:gd name="connsiteX1" fmla="*/ 2752 w 10000"/>
                <a:gd name="connsiteY1" fmla="*/ 9770 h 10127"/>
                <a:gd name="connsiteX2" fmla="*/ 1169 w 10000"/>
                <a:gd name="connsiteY2" fmla="*/ 9002 h 10127"/>
                <a:gd name="connsiteX3" fmla="*/ 1299 w 10000"/>
                <a:gd name="connsiteY3" fmla="*/ 8252 h 10127"/>
                <a:gd name="connsiteX4" fmla="*/ 1429 w 10000"/>
                <a:gd name="connsiteY4" fmla="*/ 7752 h 10127"/>
                <a:gd name="connsiteX5" fmla="*/ 779 w 10000"/>
                <a:gd name="connsiteY5" fmla="*/ 7252 h 10127"/>
                <a:gd name="connsiteX6" fmla="*/ 519 w 10000"/>
                <a:gd name="connsiteY6" fmla="*/ 6877 h 10127"/>
                <a:gd name="connsiteX7" fmla="*/ 1558 w 10000"/>
                <a:gd name="connsiteY7" fmla="*/ 6252 h 10127"/>
                <a:gd name="connsiteX8" fmla="*/ 390 w 10000"/>
                <a:gd name="connsiteY8" fmla="*/ 5690 h 10127"/>
                <a:gd name="connsiteX9" fmla="*/ 0 w 10000"/>
                <a:gd name="connsiteY9" fmla="*/ 4252 h 10127"/>
                <a:gd name="connsiteX10" fmla="*/ 909 w 10000"/>
                <a:gd name="connsiteY10" fmla="*/ 4002 h 10127"/>
                <a:gd name="connsiteX11" fmla="*/ 909 w 10000"/>
                <a:gd name="connsiteY11" fmla="*/ 2815 h 10127"/>
                <a:gd name="connsiteX12" fmla="*/ 260 w 10000"/>
                <a:gd name="connsiteY12" fmla="*/ 2502 h 10127"/>
                <a:gd name="connsiteX13" fmla="*/ 1039 w 10000"/>
                <a:gd name="connsiteY13" fmla="*/ 2190 h 10127"/>
                <a:gd name="connsiteX14" fmla="*/ 3110 w 10000"/>
                <a:gd name="connsiteY14" fmla="*/ 1942 h 10127"/>
                <a:gd name="connsiteX15" fmla="*/ 2711 w 10000"/>
                <a:gd name="connsiteY15" fmla="*/ 793 h 10127"/>
                <a:gd name="connsiteX16" fmla="*/ 3972 w 10000"/>
                <a:gd name="connsiteY16" fmla="*/ 0 h 10127"/>
                <a:gd name="connsiteX17" fmla="*/ 5195 w 10000"/>
                <a:gd name="connsiteY17" fmla="*/ 127 h 10127"/>
                <a:gd name="connsiteX18" fmla="*/ 6364 w 10000"/>
                <a:gd name="connsiteY18" fmla="*/ 752 h 10127"/>
                <a:gd name="connsiteX19" fmla="*/ 7922 w 10000"/>
                <a:gd name="connsiteY19" fmla="*/ 127 h 10127"/>
                <a:gd name="connsiteX20" fmla="*/ 8701 w 10000"/>
                <a:gd name="connsiteY20" fmla="*/ 1252 h 10127"/>
                <a:gd name="connsiteX21" fmla="*/ 8052 w 10000"/>
                <a:gd name="connsiteY21" fmla="*/ 2315 h 10127"/>
                <a:gd name="connsiteX22" fmla="*/ 8052 w 10000"/>
                <a:gd name="connsiteY22" fmla="*/ 3127 h 10127"/>
                <a:gd name="connsiteX23" fmla="*/ 9740 w 10000"/>
                <a:gd name="connsiteY23" fmla="*/ 3127 h 10127"/>
                <a:gd name="connsiteX24" fmla="*/ 8052 w 10000"/>
                <a:gd name="connsiteY24" fmla="*/ 3815 h 10127"/>
                <a:gd name="connsiteX25" fmla="*/ 8831 w 10000"/>
                <a:gd name="connsiteY25" fmla="*/ 4315 h 10127"/>
                <a:gd name="connsiteX26" fmla="*/ 8393 w 10000"/>
                <a:gd name="connsiteY26" fmla="*/ 5632 h 10127"/>
                <a:gd name="connsiteX27" fmla="*/ 7740 w 10000"/>
                <a:gd name="connsiteY27" fmla="*/ 6160 h 10127"/>
                <a:gd name="connsiteX28" fmla="*/ 7143 w 10000"/>
                <a:gd name="connsiteY28" fmla="*/ 6502 h 10127"/>
                <a:gd name="connsiteX29" fmla="*/ 8052 w 10000"/>
                <a:gd name="connsiteY29" fmla="*/ 6627 h 10127"/>
                <a:gd name="connsiteX30" fmla="*/ 7792 w 10000"/>
                <a:gd name="connsiteY30" fmla="*/ 7252 h 10127"/>
                <a:gd name="connsiteX31" fmla="*/ 9870 w 10000"/>
                <a:gd name="connsiteY31" fmla="*/ 7315 h 10127"/>
                <a:gd name="connsiteX32" fmla="*/ 10000 w 10000"/>
                <a:gd name="connsiteY32" fmla="*/ 8690 h 10127"/>
                <a:gd name="connsiteX33" fmla="*/ 9221 w 10000"/>
                <a:gd name="connsiteY33" fmla="*/ 9190 h 10127"/>
                <a:gd name="connsiteX34" fmla="*/ 8831 w 10000"/>
                <a:gd name="connsiteY34" fmla="*/ 8627 h 10127"/>
                <a:gd name="connsiteX35" fmla="*/ 7662 w 10000"/>
                <a:gd name="connsiteY35" fmla="*/ 8815 h 10127"/>
                <a:gd name="connsiteX36" fmla="*/ 8182 w 10000"/>
                <a:gd name="connsiteY36" fmla="*/ 9377 h 10127"/>
                <a:gd name="connsiteX37" fmla="*/ 7143 w 10000"/>
                <a:gd name="connsiteY37" fmla="*/ 10127 h 10127"/>
                <a:gd name="connsiteX0" fmla="*/ 7143 w 10000"/>
                <a:gd name="connsiteY0" fmla="*/ 10127 h 10127"/>
                <a:gd name="connsiteX1" fmla="*/ 2752 w 10000"/>
                <a:gd name="connsiteY1" fmla="*/ 9770 h 10127"/>
                <a:gd name="connsiteX2" fmla="*/ 1169 w 10000"/>
                <a:gd name="connsiteY2" fmla="*/ 9002 h 10127"/>
                <a:gd name="connsiteX3" fmla="*/ 1299 w 10000"/>
                <a:gd name="connsiteY3" fmla="*/ 8252 h 10127"/>
                <a:gd name="connsiteX4" fmla="*/ 1429 w 10000"/>
                <a:gd name="connsiteY4" fmla="*/ 7752 h 10127"/>
                <a:gd name="connsiteX5" fmla="*/ 779 w 10000"/>
                <a:gd name="connsiteY5" fmla="*/ 7252 h 10127"/>
                <a:gd name="connsiteX6" fmla="*/ 519 w 10000"/>
                <a:gd name="connsiteY6" fmla="*/ 6877 h 10127"/>
                <a:gd name="connsiteX7" fmla="*/ 1558 w 10000"/>
                <a:gd name="connsiteY7" fmla="*/ 6252 h 10127"/>
                <a:gd name="connsiteX8" fmla="*/ 390 w 10000"/>
                <a:gd name="connsiteY8" fmla="*/ 5690 h 10127"/>
                <a:gd name="connsiteX9" fmla="*/ 0 w 10000"/>
                <a:gd name="connsiteY9" fmla="*/ 4252 h 10127"/>
                <a:gd name="connsiteX10" fmla="*/ 909 w 10000"/>
                <a:gd name="connsiteY10" fmla="*/ 4002 h 10127"/>
                <a:gd name="connsiteX11" fmla="*/ 909 w 10000"/>
                <a:gd name="connsiteY11" fmla="*/ 2815 h 10127"/>
                <a:gd name="connsiteX12" fmla="*/ 260 w 10000"/>
                <a:gd name="connsiteY12" fmla="*/ 2502 h 10127"/>
                <a:gd name="connsiteX13" fmla="*/ 1039 w 10000"/>
                <a:gd name="connsiteY13" fmla="*/ 2190 h 10127"/>
                <a:gd name="connsiteX14" fmla="*/ 3110 w 10000"/>
                <a:gd name="connsiteY14" fmla="*/ 1942 h 10127"/>
                <a:gd name="connsiteX15" fmla="*/ 2711 w 10000"/>
                <a:gd name="connsiteY15" fmla="*/ 793 h 10127"/>
                <a:gd name="connsiteX16" fmla="*/ 3972 w 10000"/>
                <a:gd name="connsiteY16" fmla="*/ 0 h 10127"/>
                <a:gd name="connsiteX17" fmla="*/ 5195 w 10000"/>
                <a:gd name="connsiteY17" fmla="*/ 127 h 10127"/>
                <a:gd name="connsiteX18" fmla="*/ 6364 w 10000"/>
                <a:gd name="connsiteY18" fmla="*/ 752 h 10127"/>
                <a:gd name="connsiteX19" fmla="*/ 7922 w 10000"/>
                <a:gd name="connsiteY19" fmla="*/ 127 h 10127"/>
                <a:gd name="connsiteX20" fmla="*/ 8701 w 10000"/>
                <a:gd name="connsiteY20" fmla="*/ 1252 h 10127"/>
                <a:gd name="connsiteX21" fmla="*/ 8052 w 10000"/>
                <a:gd name="connsiteY21" fmla="*/ 2315 h 10127"/>
                <a:gd name="connsiteX22" fmla="*/ 8052 w 10000"/>
                <a:gd name="connsiteY22" fmla="*/ 3127 h 10127"/>
                <a:gd name="connsiteX23" fmla="*/ 9740 w 10000"/>
                <a:gd name="connsiteY23" fmla="*/ 3127 h 10127"/>
                <a:gd name="connsiteX24" fmla="*/ 8052 w 10000"/>
                <a:gd name="connsiteY24" fmla="*/ 3815 h 10127"/>
                <a:gd name="connsiteX25" fmla="*/ 8831 w 10000"/>
                <a:gd name="connsiteY25" fmla="*/ 4315 h 10127"/>
                <a:gd name="connsiteX26" fmla="*/ 8393 w 10000"/>
                <a:gd name="connsiteY26" fmla="*/ 5632 h 10127"/>
                <a:gd name="connsiteX27" fmla="*/ 7740 w 10000"/>
                <a:gd name="connsiteY27" fmla="*/ 6160 h 10127"/>
                <a:gd name="connsiteX28" fmla="*/ 7143 w 10000"/>
                <a:gd name="connsiteY28" fmla="*/ 6502 h 10127"/>
                <a:gd name="connsiteX29" fmla="*/ 8052 w 10000"/>
                <a:gd name="connsiteY29" fmla="*/ 6627 h 10127"/>
                <a:gd name="connsiteX30" fmla="*/ 7792 w 10000"/>
                <a:gd name="connsiteY30" fmla="*/ 7252 h 10127"/>
                <a:gd name="connsiteX31" fmla="*/ 9870 w 10000"/>
                <a:gd name="connsiteY31" fmla="*/ 7315 h 10127"/>
                <a:gd name="connsiteX32" fmla="*/ 10000 w 10000"/>
                <a:gd name="connsiteY32" fmla="*/ 8690 h 10127"/>
                <a:gd name="connsiteX33" fmla="*/ 9221 w 10000"/>
                <a:gd name="connsiteY33" fmla="*/ 9190 h 10127"/>
                <a:gd name="connsiteX34" fmla="*/ 8831 w 10000"/>
                <a:gd name="connsiteY34" fmla="*/ 8627 h 10127"/>
                <a:gd name="connsiteX35" fmla="*/ 7662 w 10000"/>
                <a:gd name="connsiteY35" fmla="*/ 8815 h 10127"/>
                <a:gd name="connsiteX36" fmla="*/ 8182 w 10000"/>
                <a:gd name="connsiteY36" fmla="*/ 9377 h 10127"/>
                <a:gd name="connsiteX37" fmla="*/ 7143 w 10000"/>
                <a:gd name="connsiteY37" fmla="*/ 10127 h 10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000" h="10127">
                  <a:moveTo>
                    <a:pt x="7143" y="10127"/>
                  </a:moveTo>
                  <a:cubicBezTo>
                    <a:pt x="5679" y="10008"/>
                    <a:pt x="4723" y="9624"/>
                    <a:pt x="2752" y="9770"/>
                  </a:cubicBezTo>
                  <a:lnTo>
                    <a:pt x="1169" y="9002"/>
                  </a:lnTo>
                  <a:cubicBezTo>
                    <a:pt x="1212" y="8752"/>
                    <a:pt x="1256" y="8502"/>
                    <a:pt x="1299" y="8252"/>
                  </a:cubicBezTo>
                  <a:cubicBezTo>
                    <a:pt x="1342" y="8085"/>
                    <a:pt x="1386" y="7919"/>
                    <a:pt x="1429" y="7752"/>
                  </a:cubicBezTo>
                  <a:lnTo>
                    <a:pt x="779" y="7252"/>
                  </a:lnTo>
                  <a:lnTo>
                    <a:pt x="519" y="6877"/>
                  </a:lnTo>
                  <a:lnTo>
                    <a:pt x="1558" y="6252"/>
                  </a:lnTo>
                  <a:lnTo>
                    <a:pt x="390" y="5690"/>
                  </a:lnTo>
                  <a:lnTo>
                    <a:pt x="0" y="4252"/>
                  </a:lnTo>
                  <a:lnTo>
                    <a:pt x="909" y="4002"/>
                  </a:lnTo>
                  <a:lnTo>
                    <a:pt x="909" y="2815"/>
                  </a:lnTo>
                  <a:lnTo>
                    <a:pt x="260" y="2502"/>
                  </a:lnTo>
                  <a:lnTo>
                    <a:pt x="1039" y="2190"/>
                  </a:lnTo>
                  <a:lnTo>
                    <a:pt x="3110" y="1942"/>
                  </a:lnTo>
                  <a:lnTo>
                    <a:pt x="2711" y="793"/>
                  </a:lnTo>
                  <a:cubicBezTo>
                    <a:pt x="2668" y="272"/>
                    <a:pt x="3600" y="206"/>
                    <a:pt x="3972" y="0"/>
                  </a:cubicBezTo>
                  <a:lnTo>
                    <a:pt x="5195" y="127"/>
                  </a:lnTo>
                  <a:lnTo>
                    <a:pt x="6364" y="752"/>
                  </a:lnTo>
                  <a:lnTo>
                    <a:pt x="7922" y="127"/>
                  </a:lnTo>
                  <a:lnTo>
                    <a:pt x="8701" y="1252"/>
                  </a:lnTo>
                  <a:lnTo>
                    <a:pt x="8052" y="2315"/>
                  </a:lnTo>
                  <a:lnTo>
                    <a:pt x="8052" y="3127"/>
                  </a:lnTo>
                  <a:lnTo>
                    <a:pt x="9740" y="3127"/>
                  </a:lnTo>
                  <a:lnTo>
                    <a:pt x="8052" y="3815"/>
                  </a:lnTo>
                  <a:lnTo>
                    <a:pt x="8831" y="4315"/>
                  </a:lnTo>
                  <a:lnTo>
                    <a:pt x="8393" y="5632"/>
                  </a:lnTo>
                  <a:lnTo>
                    <a:pt x="7740" y="6160"/>
                  </a:lnTo>
                  <a:lnTo>
                    <a:pt x="7143" y="6502"/>
                  </a:lnTo>
                  <a:lnTo>
                    <a:pt x="8052" y="6627"/>
                  </a:lnTo>
                  <a:cubicBezTo>
                    <a:pt x="7965" y="6835"/>
                    <a:pt x="7879" y="7044"/>
                    <a:pt x="7792" y="7252"/>
                  </a:cubicBezTo>
                  <a:lnTo>
                    <a:pt x="9870" y="7315"/>
                  </a:lnTo>
                  <a:cubicBezTo>
                    <a:pt x="9913" y="7773"/>
                    <a:pt x="9957" y="8232"/>
                    <a:pt x="10000" y="8690"/>
                  </a:cubicBezTo>
                  <a:lnTo>
                    <a:pt x="9221" y="9190"/>
                  </a:lnTo>
                  <a:lnTo>
                    <a:pt x="8831" y="8627"/>
                  </a:lnTo>
                  <a:lnTo>
                    <a:pt x="7662" y="8815"/>
                  </a:lnTo>
                  <a:lnTo>
                    <a:pt x="8182" y="9377"/>
                  </a:lnTo>
                  <a:lnTo>
                    <a:pt x="7143" y="10127"/>
                  </a:lnTo>
                  <a:close/>
                </a:path>
              </a:pathLst>
            </a:custGeom>
            <a:grp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GB" dirty="0"/>
            </a:p>
          </p:txBody>
        </p:sp>
        <p:sp>
          <p:nvSpPr>
            <p:cNvPr id="56" name="2bD"/>
            <p:cNvSpPr>
              <a:spLocks/>
            </p:cNvSpPr>
            <p:nvPr/>
          </p:nvSpPr>
          <p:spPr bwMode="auto">
            <a:xfrm>
              <a:off x="2288038" y="3796492"/>
              <a:ext cx="41" cy="61"/>
            </a:xfrm>
            <a:custGeom>
              <a:avLst/>
              <a:gdLst>
                <a:gd name="T0" fmla="*/ 6 w 41"/>
                <a:gd name="T1" fmla="*/ 61 h 61"/>
                <a:gd name="T2" fmla="*/ 18 w 41"/>
                <a:gd name="T3" fmla="*/ 61 h 61"/>
                <a:gd name="T4" fmla="*/ 22 w 41"/>
                <a:gd name="T5" fmla="*/ 58 h 61"/>
                <a:gd name="T6" fmla="*/ 28 w 41"/>
                <a:gd name="T7" fmla="*/ 59 h 61"/>
                <a:gd name="T8" fmla="*/ 34 w 41"/>
                <a:gd name="T9" fmla="*/ 61 h 61"/>
                <a:gd name="T10" fmla="*/ 35 w 41"/>
                <a:gd name="T11" fmla="*/ 34 h 61"/>
                <a:gd name="T12" fmla="*/ 41 w 41"/>
                <a:gd name="T13" fmla="*/ 6 h 61"/>
                <a:gd name="T14" fmla="*/ 25 w 41"/>
                <a:gd name="T15" fmla="*/ 0 h 61"/>
                <a:gd name="T16" fmla="*/ 25 w 41"/>
                <a:gd name="T17" fmla="*/ 4 h 61"/>
                <a:gd name="T18" fmla="*/ 7 w 41"/>
                <a:gd name="T19" fmla="*/ 21 h 61"/>
                <a:gd name="T20" fmla="*/ 0 w 41"/>
                <a:gd name="T21" fmla="*/ 22 h 61"/>
                <a:gd name="T22" fmla="*/ 1 w 41"/>
                <a:gd name="T23" fmla="*/ 29 h 61"/>
                <a:gd name="T24" fmla="*/ 6 w 41"/>
                <a:gd name="T25" fmla="*/ 30 h 61"/>
                <a:gd name="T26" fmla="*/ 5 w 41"/>
                <a:gd name="T27" fmla="*/ 53 h 61"/>
                <a:gd name="T28" fmla="*/ 0 w 41"/>
                <a:gd name="T29" fmla="*/ 52 h 61"/>
                <a:gd name="T30" fmla="*/ 6 w 41"/>
                <a:gd name="T31" fmla="*/ 61 h 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1"/>
                <a:gd name="T49" fmla="*/ 0 h 61"/>
                <a:gd name="T50" fmla="*/ 41 w 41"/>
                <a:gd name="T51" fmla="*/ 61 h 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1" h="61">
                  <a:moveTo>
                    <a:pt x="6" y="61"/>
                  </a:moveTo>
                  <a:lnTo>
                    <a:pt x="18" y="61"/>
                  </a:lnTo>
                  <a:lnTo>
                    <a:pt x="22" y="58"/>
                  </a:lnTo>
                  <a:lnTo>
                    <a:pt x="28" y="59"/>
                  </a:lnTo>
                  <a:lnTo>
                    <a:pt x="34" y="61"/>
                  </a:lnTo>
                  <a:lnTo>
                    <a:pt x="35" y="34"/>
                  </a:lnTo>
                  <a:lnTo>
                    <a:pt x="41" y="6"/>
                  </a:lnTo>
                  <a:lnTo>
                    <a:pt x="25" y="0"/>
                  </a:lnTo>
                  <a:lnTo>
                    <a:pt x="25" y="4"/>
                  </a:lnTo>
                  <a:lnTo>
                    <a:pt x="7" y="21"/>
                  </a:lnTo>
                  <a:lnTo>
                    <a:pt x="0" y="22"/>
                  </a:lnTo>
                  <a:lnTo>
                    <a:pt x="1" y="29"/>
                  </a:lnTo>
                  <a:lnTo>
                    <a:pt x="6" y="30"/>
                  </a:lnTo>
                  <a:lnTo>
                    <a:pt x="5" y="53"/>
                  </a:lnTo>
                  <a:lnTo>
                    <a:pt x="0" y="52"/>
                  </a:lnTo>
                  <a:lnTo>
                    <a:pt x="6" y="61"/>
                  </a:lnTo>
                  <a:close/>
                </a:path>
              </a:pathLst>
            </a:custGeom>
            <a:grp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GB" dirty="0"/>
            </a:p>
          </p:txBody>
        </p:sp>
      </p:grpSp>
      <p:sp>
        <p:nvSpPr>
          <p:cNvPr id="51" name="MT"/>
          <p:cNvSpPr>
            <a:spLocks noChangeAspect="1"/>
          </p:cNvSpPr>
          <p:nvPr/>
        </p:nvSpPr>
        <p:spPr bwMode="auto">
          <a:xfrm rot="13083780">
            <a:off x="5983288" y="6127750"/>
            <a:ext cx="142875" cy="46038"/>
          </a:xfrm>
          <a:custGeom>
            <a:avLst/>
            <a:gdLst>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412 w 10000"/>
              <a:gd name="connsiteY21" fmla="*/ 6808 h 14586"/>
              <a:gd name="connsiteX22" fmla="*/ 1897 w 10000"/>
              <a:gd name="connsiteY22" fmla="*/ 5697 h 14586"/>
              <a:gd name="connsiteX23" fmla="*/ 1897 w 10000"/>
              <a:gd name="connsiteY23" fmla="*/ 7919 h 14586"/>
              <a:gd name="connsiteX24" fmla="*/ 1061 w 10000"/>
              <a:gd name="connsiteY24" fmla="*/ 7919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412 w 10000"/>
              <a:gd name="connsiteY21" fmla="*/ 6808 h 14586"/>
              <a:gd name="connsiteX22" fmla="*/ 1176 w 10000"/>
              <a:gd name="connsiteY22" fmla="*/ 0 h 14586"/>
              <a:gd name="connsiteX23" fmla="*/ 1897 w 10000"/>
              <a:gd name="connsiteY23" fmla="*/ 7919 h 14586"/>
              <a:gd name="connsiteX24" fmla="*/ 1061 w 10000"/>
              <a:gd name="connsiteY24" fmla="*/ 7919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353 w 10000"/>
              <a:gd name="connsiteY21" fmla="*/ 1111 h 14586"/>
              <a:gd name="connsiteX22" fmla="*/ 1176 w 10000"/>
              <a:gd name="connsiteY22" fmla="*/ 0 h 14586"/>
              <a:gd name="connsiteX23" fmla="*/ 1897 w 10000"/>
              <a:gd name="connsiteY23" fmla="*/ 7919 h 14586"/>
              <a:gd name="connsiteX24" fmla="*/ 1061 w 10000"/>
              <a:gd name="connsiteY24" fmla="*/ 7919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353 w 10000"/>
              <a:gd name="connsiteY21" fmla="*/ 1111 h 14586"/>
              <a:gd name="connsiteX22" fmla="*/ 1176 w 10000"/>
              <a:gd name="connsiteY22" fmla="*/ 0 h 14586"/>
              <a:gd name="connsiteX23" fmla="*/ 1765 w 10000"/>
              <a:gd name="connsiteY23" fmla="*/ 5281 h 14586"/>
              <a:gd name="connsiteX24" fmla="*/ 1061 w 10000"/>
              <a:gd name="connsiteY24" fmla="*/ 7919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353 w 10000"/>
              <a:gd name="connsiteY21" fmla="*/ 1111 h 14586"/>
              <a:gd name="connsiteX22" fmla="*/ 1176 w 10000"/>
              <a:gd name="connsiteY22" fmla="*/ 0 h 14586"/>
              <a:gd name="connsiteX23" fmla="*/ 1765 w 10000"/>
              <a:gd name="connsiteY23" fmla="*/ 5281 h 14586"/>
              <a:gd name="connsiteX24" fmla="*/ 882 w 10000"/>
              <a:gd name="connsiteY24" fmla="*/ 5976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353 w 10000"/>
              <a:gd name="connsiteY21" fmla="*/ 1111 h 14586"/>
              <a:gd name="connsiteX22" fmla="*/ 1176 w 10000"/>
              <a:gd name="connsiteY22" fmla="*/ 0 h 14586"/>
              <a:gd name="connsiteX23" fmla="*/ 1765 w 10000"/>
              <a:gd name="connsiteY23" fmla="*/ 5281 h 14586"/>
              <a:gd name="connsiteX24" fmla="*/ 882 w 10000"/>
              <a:gd name="connsiteY24" fmla="*/ 5976 h 14586"/>
              <a:gd name="connsiteX25" fmla="*/ 514 w 10000"/>
              <a:gd name="connsiteY25" fmla="*/ 4586 h 14586"/>
              <a:gd name="connsiteX26" fmla="*/ 0 w 10000"/>
              <a:gd name="connsiteY26" fmla="*/ 5281 h 14586"/>
              <a:gd name="connsiteX27" fmla="*/ 0 w 10000"/>
              <a:gd name="connsiteY27" fmla="*/ 7919 h 14586"/>
              <a:gd name="connsiteX0" fmla="*/ 0 w 11176"/>
              <a:gd name="connsiteY0" fmla="*/ 5976 h 14586"/>
              <a:gd name="connsiteX1" fmla="*/ 1433 w 11176"/>
              <a:gd name="connsiteY1" fmla="*/ 12364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2058 w 11176"/>
              <a:gd name="connsiteY24" fmla="*/ 5976 h 14586"/>
              <a:gd name="connsiteX25" fmla="*/ 1690 w 11176"/>
              <a:gd name="connsiteY25" fmla="*/ 4586 h 14586"/>
              <a:gd name="connsiteX26" fmla="*/ 1176 w 11176"/>
              <a:gd name="connsiteY26" fmla="*/ 5281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2058 w 11176"/>
              <a:gd name="connsiteY24" fmla="*/ 5976 h 14586"/>
              <a:gd name="connsiteX25" fmla="*/ 1690 w 11176"/>
              <a:gd name="connsiteY25" fmla="*/ 4586 h 14586"/>
              <a:gd name="connsiteX26" fmla="*/ 1176 w 11176"/>
              <a:gd name="connsiteY26" fmla="*/ 5281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2058 w 11176"/>
              <a:gd name="connsiteY24" fmla="*/ 5976 h 14586"/>
              <a:gd name="connsiteX25" fmla="*/ 1690 w 11176"/>
              <a:gd name="connsiteY25" fmla="*/ 4586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2058 w 11176"/>
              <a:gd name="connsiteY24" fmla="*/ 5976 h 14586"/>
              <a:gd name="connsiteX25" fmla="*/ 1176 w 11176"/>
              <a:gd name="connsiteY25" fmla="*/ 3891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1764 w 11176"/>
              <a:gd name="connsiteY24" fmla="*/ 5281 h 14586"/>
              <a:gd name="connsiteX25" fmla="*/ 1176 w 11176"/>
              <a:gd name="connsiteY25" fmla="*/ 3891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9117 w 11176"/>
              <a:gd name="connsiteY18" fmla="*/ 0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1764 w 11176"/>
              <a:gd name="connsiteY24" fmla="*/ 5281 h 14586"/>
              <a:gd name="connsiteX25" fmla="*/ 1176 w 11176"/>
              <a:gd name="connsiteY25" fmla="*/ 3891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9117 w 11176"/>
              <a:gd name="connsiteY18" fmla="*/ 0 h 14586"/>
              <a:gd name="connsiteX19" fmla="*/ 6764 w 11176"/>
              <a:gd name="connsiteY19" fmla="*/ 1806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1764 w 11176"/>
              <a:gd name="connsiteY24" fmla="*/ 5281 h 14586"/>
              <a:gd name="connsiteX25" fmla="*/ 1176 w 11176"/>
              <a:gd name="connsiteY25" fmla="*/ 3891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8218 w 11176"/>
              <a:gd name="connsiteY16" fmla="*/ 6808 h 14586"/>
              <a:gd name="connsiteX17" fmla="*/ 9117 w 11176"/>
              <a:gd name="connsiteY17" fmla="*/ 0 h 14586"/>
              <a:gd name="connsiteX18" fmla="*/ 6764 w 11176"/>
              <a:gd name="connsiteY18" fmla="*/ 1806 h 14586"/>
              <a:gd name="connsiteX19" fmla="*/ 4705 w 11176"/>
              <a:gd name="connsiteY19" fmla="*/ 1111 h 14586"/>
              <a:gd name="connsiteX20" fmla="*/ 3529 w 11176"/>
              <a:gd name="connsiteY20" fmla="*/ 1111 h 14586"/>
              <a:gd name="connsiteX21" fmla="*/ 2352 w 11176"/>
              <a:gd name="connsiteY21" fmla="*/ 0 h 14586"/>
              <a:gd name="connsiteX22" fmla="*/ 2941 w 11176"/>
              <a:gd name="connsiteY22" fmla="*/ 5281 h 14586"/>
              <a:gd name="connsiteX23" fmla="*/ 1764 w 11176"/>
              <a:gd name="connsiteY23" fmla="*/ 5281 h 14586"/>
              <a:gd name="connsiteX24" fmla="*/ 1176 w 11176"/>
              <a:gd name="connsiteY24" fmla="*/ 3891 h 14586"/>
              <a:gd name="connsiteX25" fmla="*/ 882 w 11176"/>
              <a:gd name="connsiteY25" fmla="*/ 5976 h 14586"/>
              <a:gd name="connsiteX26" fmla="*/ 0 w 11176"/>
              <a:gd name="connsiteY26"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117 w 11176"/>
              <a:gd name="connsiteY16" fmla="*/ 0 h 14586"/>
              <a:gd name="connsiteX17" fmla="*/ 6764 w 11176"/>
              <a:gd name="connsiteY17" fmla="*/ 1806 h 14586"/>
              <a:gd name="connsiteX18" fmla="*/ 4705 w 11176"/>
              <a:gd name="connsiteY18" fmla="*/ 1111 h 14586"/>
              <a:gd name="connsiteX19" fmla="*/ 3529 w 11176"/>
              <a:gd name="connsiteY19" fmla="*/ 1111 h 14586"/>
              <a:gd name="connsiteX20" fmla="*/ 2352 w 11176"/>
              <a:gd name="connsiteY20" fmla="*/ 0 h 14586"/>
              <a:gd name="connsiteX21" fmla="*/ 2941 w 11176"/>
              <a:gd name="connsiteY21" fmla="*/ 5281 h 14586"/>
              <a:gd name="connsiteX22" fmla="*/ 1764 w 11176"/>
              <a:gd name="connsiteY22" fmla="*/ 5281 h 14586"/>
              <a:gd name="connsiteX23" fmla="*/ 1176 w 11176"/>
              <a:gd name="connsiteY23" fmla="*/ 3891 h 14586"/>
              <a:gd name="connsiteX24" fmla="*/ 882 w 11176"/>
              <a:gd name="connsiteY24" fmla="*/ 5976 h 14586"/>
              <a:gd name="connsiteX25" fmla="*/ 0 w 11176"/>
              <a:gd name="connsiteY25"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117 w 11176"/>
              <a:gd name="connsiteY15" fmla="*/ 0 h 14586"/>
              <a:gd name="connsiteX16" fmla="*/ 6764 w 11176"/>
              <a:gd name="connsiteY16" fmla="*/ 1806 h 14586"/>
              <a:gd name="connsiteX17" fmla="*/ 4705 w 11176"/>
              <a:gd name="connsiteY17" fmla="*/ 1111 h 14586"/>
              <a:gd name="connsiteX18" fmla="*/ 3529 w 11176"/>
              <a:gd name="connsiteY18" fmla="*/ 1111 h 14586"/>
              <a:gd name="connsiteX19" fmla="*/ 2352 w 11176"/>
              <a:gd name="connsiteY19" fmla="*/ 0 h 14586"/>
              <a:gd name="connsiteX20" fmla="*/ 2941 w 11176"/>
              <a:gd name="connsiteY20" fmla="*/ 5281 h 14586"/>
              <a:gd name="connsiteX21" fmla="*/ 1764 w 11176"/>
              <a:gd name="connsiteY21" fmla="*/ 5281 h 14586"/>
              <a:gd name="connsiteX22" fmla="*/ 1176 w 11176"/>
              <a:gd name="connsiteY22" fmla="*/ 3891 h 14586"/>
              <a:gd name="connsiteX23" fmla="*/ 882 w 11176"/>
              <a:gd name="connsiteY23" fmla="*/ 5976 h 14586"/>
              <a:gd name="connsiteX24" fmla="*/ 0 w 11176"/>
              <a:gd name="connsiteY24" fmla="*/ 5976 h 14586"/>
              <a:gd name="connsiteX0" fmla="*/ 0 w 13823"/>
              <a:gd name="connsiteY0" fmla="*/ 10981 h 19591"/>
              <a:gd name="connsiteX1" fmla="*/ 588 w 13823"/>
              <a:gd name="connsiteY1" fmla="*/ 17932 h 19591"/>
              <a:gd name="connsiteX2" fmla="*/ 2237 w 13823"/>
              <a:gd name="connsiteY2" fmla="*/ 18480 h 19591"/>
              <a:gd name="connsiteX3" fmla="*/ 3330 w 13823"/>
              <a:gd name="connsiteY3" fmla="*/ 18480 h 19591"/>
              <a:gd name="connsiteX4" fmla="*/ 5227 w 13823"/>
              <a:gd name="connsiteY4" fmla="*/ 17369 h 19591"/>
              <a:gd name="connsiteX5" fmla="*/ 5774 w 13823"/>
              <a:gd name="connsiteY5" fmla="*/ 17369 h 19591"/>
              <a:gd name="connsiteX6" fmla="*/ 5774 w 13823"/>
              <a:gd name="connsiteY6" fmla="*/ 19591 h 19591"/>
              <a:gd name="connsiteX7" fmla="*/ 7382 w 13823"/>
              <a:gd name="connsiteY7" fmla="*/ 19591 h 19591"/>
              <a:gd name="connsiteX8" fmla="*/ 8218 w 13823"/>
              <a:gd name="connsiteY8" fmla="*/ 17369 h 19591"/>
              <a:gd name="connsiteX9" fmla="*/ 9279 w 13823"/>
              <a:gd name="connsiteY9" fmla="*/ 17369 h 19591"/>
              <a:gd name="connsiteX10" fmla="*/ 10115 w 13823"/>
              <a:gd name="connsiteY10" fmla="*/ 15147 h 19591"/>
              <a:gd name="connsiteX11" fmla="*/ 11176 w 13823"/>
              <a:gd name="connsiteY11" fmla="*/ 14035 h 19591"/>
              <a:gd name="connsiteX12" fmla="*/ 11176 w 13823"/>
              <a:gd name="connsiteY12" fmla="*/ 9591 h 19591"/>
              <a:gd name="connsiteX13" fmla="*/ 10372 w 13823"/>
              <a:gd name="connsiteY13" fmla="*/ 11813 h 19591"/>
              <a:gd name="connsiteX14" fmla="*/ 13823 w 13823"/>
              <a:gd name="connsiteY14" fmla="*/ 2640 h 19591"/>
              <a:gd name="connsiteX15" fmla="*/ 9117 w 13823"/>
              <a:gd name="connsiteY15" fmla="*/ 5005 h 19591"/>
              <a:gd name="connsiteX16" fmla="*/ 6764 w 13823"/>
              <a:gd name="connsiteY16" fmla="*/ 6811 h 19591"/>
              <a:gd name="connsiteX17" fmla="*/ 4705 w 13823"/>
              <a:gd name="connsiteY17" fmla="*/ 6116 h 19591"/>
              <a:gd name="connsiteX18" fmla="*/ 3529 w 13823"/>
              <a:gd name="connsiteY18" fmla="*/ 6116 h 19591"/>
              <a:gd name="connsiteX19" fmla="*/ 2352 w 13823"/>
              <a:gd name="connsiteY19" fmla="*/ 5005 h 19591"/>
              <a:gd name="connsiteX20" fmla="*/ 2941 w 13823"/>
              <a:gd name="connsiteY20" fmla="*/ 10286 h 19591"/>
              <a:gd name="connsiteX21" fmla="*/ 1764 w 13823"/>
              <a:gd name="connsiteY21" fmla="*/ 10286 h 19591"/>
              <a:gd name="connsiteX22" fmla="*/ 1176 w 13823"/>
              <a:gd name="connsiteY22" fmla="*/ 8896 h 19591"/>
              <a:gd name="connsiteX23" fmla="*/ 882 w 13823"/>
              <a:gd name="connsiteY23" fmla="*/ 10981 h 19591"/>
              <a:gd name="connsiteX24" fmla="*/ 0 w 13823"/>
              <a:gd name="connsiteY24" fmla="*/ 10981 h 19591"/>
              <a:gd name="connsiteX0" fmla="*/ 0 w 14705"/>
              <a:gd name="connsiteY0" fmla="*/ 10981 h 19591"/>
              <a:gd name="connsiteX1" fmla="*/ 588 w 14705"/>
              <a:gd name="connsiteY1" fmla="*/ 17932 h 19591"/>
              <a:gd name="connsiteX2" fmla="*/ 2237 w 14705"/>
              <a:gd name="connsiteY2" fmla="*/ 18480 h 19591"/>
              <a:gd name="connsiteX3" fmla="*/ 3330 w 14705"/>
              <a:gd name="connsiteY3" fmla="*/ 18480 h 19591"/>
              <a:gd name="connsiteX4" fmla="*/ 5227 w 14705"/>
              <a:gd name="connsiteY4" fmla="*/ 17369 h 19591"/>
              <a:gd name="connsiteX5" fmla="*/ 5774 w 14705"/>
              <a:gd name="connsiteY5" fmla="*/ 17369 h 19591"/>
              <a:gd name="connsiteX6" fmla="*/ 5774 w 14705"/>
              <a:gd name="connsiteY6" fmla="*/ 19591 h 19591"/>
              <a:gd name="connsiteX7" fmla="*/ 7382 w 14705"/>
              <a:gd name="connsiteY7" fmla="*/ 19591 h 19591"/>
              <a:gd name="connsiteX8" fmla="*/ 8218 w 14705"/>
              <a:gd name="connsiteY8" fmla="*/ 17369 h 19591"/>
              <a:gd name="connsiteX9" fmla="*/ 9279 w 14705"/>
              <a:gd name="connsiteY9" fmla="*/ 17369 h 19591"/>
              <a:gd name="connsiteX10" fmla="*/ 10115 w 14705"/>
              <a:gd name="connsiteY10" fmla="*/ 15147 h 19591"/>
              <a:gd name="connsiteX11" fmla="*/ 11176 w 14705"/>
              <a:gd name="connsiteY11" fmla="*/ 14035 h 19591"/>
              <a:gd name="connsiteX12" fmla="*/ 11176 w 14705"/>
              <a:gd name="connsiteY12" fmla="*/ 9591 h 19591"/>
              <a:gd name="connsiteX13" fmla="*/ 14705 w 14705"/>
              <a:gd name="connsiteY13" fmla="*/ 1945 h 19591"/>
              <a:gd name="connsiteX14" fmla="*/ 13823 w 14705"/>
              <a:gd name="connsiteY14" fmla="*/ 2640 h 19591"/>
              <a:gd name="connsiteX15" fmla="*/ 9117 w 14705"/>
              <a:gd name="connsiteY15" fmla="*/ 5005 h 19591"/>
              <a:gd name="connsiteX16" fmla="*/ 6764 w 14705"/>
              <a:gd name="connsiteY16" fmla="*/ 6811 h 19591"/>
              <a:gd name="connsiteX17" fmla="*/ 4705 w 14705"/>
              <a:gd name="connsiteY17" fmla="*/ 6116 h 19591"/>
              <a:gd name="connsiteX18" fmla="*/ 3529 w 14705"/>
              <a:gd name="connsiteY18" fmla="*/ 6116 h 19591"/>
              <a:gd name="connsiteX19" fmla="*/ 2352 w 14705"/>
              <a:gd name="connsiteY19" fmla="*/ 5005 h 19591"/>
              <a:gd name="connsiteX20" fmla="*/ 2941 w 14705"/>
              <a:gd name="connsiteY20" fmla="*/ 10286 h 19591"/>
              <a:gd name="connsiteX21" fmla="*/ 1764 w 14705"/>
              <a:gd name="connsiteY21" fmla="*/ 10286 h 19591"/>
              <a:gd name="connsiteX22" fmla="*/ 1176 w 14705"/>
              <a:gd name="connsiteY22" fmla="*/ 8896 h 19591"/>
              <a:gd name="connsiteX23" fmla="*/ 882 w 14705"/>
              <a:gd name="connsiteY23" fmla="*/ 10981 h 19591"/>
              <a:gd name="connsiteX24" fmla="*/ 0 w 14705"/>
              <a:gd name="connsiteY24" fmla="*/ 10981 h 19591"/>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8218 w 14705"/>
              <a:gd name="connsiteY8" fmla="*/ 15424 h 17646"/>
              <a:gd name="connsiteX9" fmla="*/ 9279 w 14705"/>
              <a:gd name="connsiteY9" fmla="*/ 15424 h 17646"/>
              <a:gd name="connsiteX10" fmla="*/ 10115 w 14705"/>
              <a:gd name="connsiteY10" fmla="*/ 13202 h 17646"/>
              <a:gd name="connsiteX11" fmla="*/ 11176 w 14705"/>
              <a:gd name="connsiteY11" fmla="*/ 12090 h 17646"/>
              <a:gd name="connsiteX12" fmla="*/ 11176 w 14705"/>
              <a:gd name="connsiteY12" fmla="*/ 7646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8218 w 14705"/>
              <a:gd name="connsiteY8" fmla="*/ 15424 h 17646"/>
              <a:gd name="connsiteX9" fmla="*/ 9279 w 14705"/>
              <a:gd name="connsiteY9" fmla="*/ 15424 h 17646"/>
              <a:gd name="connsiteX10" fmla="*/ 10115 w 14705"/>
              <a:gd name="connsiteY10" fmla="*/ 13202 h 17646"/>
              <a:gd name="connsiteX11" fmla="*/ 11176 w 14705"/>
              <a:gd name="connsiteY11" fmla="*/ 12090 h 17646"/>
              <a:gd name="connsiteX12" fmla="*/ 11176 w 14705"/>
              <a:gd name="connsiteY12" fmla="*/ 7646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8218 w 14705"/>
              <a:gd name="connsiteY8" fmla="*/ 15424 h 17646"/>
              <a:gd name="connsiteX9" fmla="*/ 9279 w 14705"/>
              <a:gd name="connsiteY9" fmla="*/ 15424 h 17646"/>
              <a:gd name="connsiteX10" fmla="*/ 10115 w 14705"/>
              <a:gd name="connsiteY10" fmla="*/ 13202 h 17646"/>
              <a:gd name="connsiteX11" fmla="*/ 11176 w 14705"/>
              <a:gd name="connsiteY11" fmla="*/ 12090 h 17646"/>
              <a:gd name="connsiteX12" fmla="*/ 14705 w 14705"/>
              <a:gd name="connsiteY12" fmla="*/ 1390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8218 w 14705"/>
              <a:gd name="connsiteY8" fmla="*/ 15424 h 17646"/>
              <a:gd name="connsiteX9" fmla="*/ 9279 w 14705"/>
              <a:gd name="connsiteY9" fmla="*/ 15424 h 17646"/>
              <a:gd name="connsiteX10" fmla="*/ 10115 w 14705"/>
              <a:gd name="connsiteY10" fmla="*/ 13202 h 17646"/>
              <a:gd name="connsiteX11" fmla="*/ 9411 w 14705"/>
              <a:gd name="connsiteY11" fmla="*/ 6256 h 17646"/>
              <a:gd name="connsiteX12" fmla="*/ 14705 w 14705"/>
              <a:gd name="connsiteY12" fmla="*/ 1390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7058 w 14705"/>
              <a:gd name="connsiteY8" fmla="*/ 14680 h 17646"/>
              <a:gd name="connsiteX9" fmla="*/ 9279 w 14705"/>
              <a:gd name="connsiteY9" fmla="*/ 15424 h 17646"/>
              <a:gd name="connsiteX10" fmla="*/ 10115 w 14705"/>
              <a:gd name="connsiteY10" fmla="*/ 13202 h 17646"/>
              <a:gd name="connsiteX11" fmla="*/ 9411 w 14705"/>
              <a:gd name="connsiteY11" fmla="*/ 6256 h 17646"/>
              <a:gd name="connsiteX12" fmla="*/ 14705 w 14705"/>
              <a:gd name="connsiteY12" fmla="*/ 1390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5227 w 14705"/>
              <a:gd name="connsiteY4" fmla="*/ 15424 h 18767"/>
              <a:gd name="connsiteX5" fmla="*/ 5774 w 14705"/>
              <a:gd name="connsiteY5" fmla="*/ 15424 h 18767"/>
              <a:gd name="connsiteX6" fmla="*/ 5774 w 14705"/>
              <a:gd name="connsiteY6" fmla="*/ 17646 h 18767"/>
              <a:gd name="connsiteX7" fmla="*/ 7382 w 14705"/>
              <a:gd name="connsiteY7" fmla="*/ 17646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5774 w 14705"/>
              <a:gd name="connsiteY5" fmla="*/ 15424 h 18767"/>
              <a:gd name="connsiteX6" fmla="*/ 5774 w 14705"/>
              <a:gd name="connsiteY6" fmla="*/ 17646 h 18767"/>
              <a:gd name="connsiteX7" fmla="*/ 7382 w 14705"/>
              <a:gd name="connsiteY7" fmla="*/ 17646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3823 w 14705"/>
              <a:gd name="connsiteY5" fmla="*/ 15987 h 18767"/>
              <a:gd name="connsiteX6" fmla="*/ 5774 w 14705"/>
              <a:gd name="connsiteY6" fmla="*/ 17646 h 18767"/>
              <a:gd name="connsiteX7" fmla="*/ 7382 w 14705"/>
              <a:gd name="connsiteY7" fmla="*/ 17646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3823 w 14705"/>
              <a:gd name="connsiteY5" fmla="*/ 15987 h 18767"/>
              <a:gd name="connsiteX6" fmla="*/ 5588 w 14705"/>
              <a:gd name="connsiteY6" fmla="*/ 16682 h 18767"/>
              <a:gd name="connsiteX7" fmla="*/ 7382 w 14705"/>
              <a:gd name="connsiteY7" fmla="*/ 17646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3823 w 14705"/>
              <a:gd name="connsiteY5" fmla="*/ 15987 h 18767"/>
              <a:gd name="connsiteX6" fmla="*/ 5588 w 14705"/>
              <a:gd name="connsiteY6" fmla="*/ 16682 h 18767"/>
              <a:gd name="connsiteX7" fmla="*/ 6764 w 14705"/>
              <a:gd name="connsiteY7" fmla="*/ 15987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3823 w 14705"/>
              <a:gd name="connsiteY5" fmla="*/ 15987 h 18767"/>
              <a:gd name="connsiteX6" fmla="*/ 5588 w 14705"/>
              <a:gd name="connsiteY6" fmla="*/ 16682 h 18767"/>
              <a:gd name="connsiteX7" fmla="*/ 6764 w 14705"/>
              <a:gd name="connsiteY7" fmla="*/ 15987 h 18767"/>
              <a:gd name="connsiteX8" fmla="*/ 7647 w 14705"/>
              <a:gd name="connsiteY8" fmla="*/ 13207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7646 h 17377"/>
              <a:gd name="connsiteX1" fmla="*/ 588 w 14705"/>
              <a:gd name="connsiteY1" fmla="*/ 14597 h 17377"/>
              <a:gd name="connsiteX2" fmla="*/ 2237 w 14705"/>
              <a:gd name="connsiteY2" fmla="*/ 15145 h 17377"/>
              <a:gd name="connsiteX3" fmla="*/ 2058 w 14705"/>
              <a:gd name="connsiteY3" fmla="*/ 17377 h 17377"/>
              <a:gd name="connsiteX4" fmla="*/ 3529 w 14705"/>
              <a:gd name="connsiteY4" fmla="*/ 17377 h 17377"/>
              <a:gd name="connsiteX5" fmla="*/ 3823 w 14705"/>
              <a:gd name="connsiteY5" fmla="*/ 14597 h 17377"/>
              <a:gd name="connsiteX6" fmla="*/ 5588 w 14705"/>
              <a:gd name="connsiteY6" fmla="*/ 15292 h 17377"/>
              <a:gd name="connsiteX7" fmla="*/ 6764 w 14705"/>
              <a:gd name="connsiteY7" fmla="*/ 14597 h 17377"/>
              <a:gd name="connsiteX8" fmla="*/ 7647 w 14705"/>
              <a:gd name="connsiteY8" fmla="*/ 11817 h 17377"/>
              <a:gd name="connsiteX9" fmla="*/ 9279 w 14705"/>
              <a:gd name="connsiteY9" fmla="*/ 14034 h 17377"/>
              <a:gd name="connsiteX10" fmla="*/ 10115 w 14705"/>
              <a:gd name="connsiteY10" fmla="*/ 11812 h 17377"/>
              <a:gd name="connsiteX11" fmla="*/ 9411 w 14705"/>
              <a:gd name="connsiteY11" fmla="*/ 4866 h 17377"/>
              <a:gd name="connsiteX12" fmla="*/ 14705 w 14705"/>
              <a:gd name="connsiteY12" fmla="*/ 0 h 17377"/>
              <a:gd name="connsiteX13" fmla="*/ 7865 w 14705"/>
              <a:gd name="connsiteY13" fmla="*/ 9989 h 17377"/>
              <a:gd name="connsiteX14" fmla="*/ 9117 w 14705"/>
              <a:gd name="connsiteY14" fmla="*/ 1670 h 17377"/>
              <a:gd name="connsiteX15" fmla="*/ 6764 w 14705"/>
              <a:gd name="connsiteY15" fmla="*/ 3476 h 17377"/>
              <a:gd name="connsiteX16" fmla="*/ 4705 w 14705"/>
              <a:gd name="connsiteY16" fmla="*/ 2781 h 17377"/>
              <a:gd name="connsiteX17" fmla="*/ 3529 w 14705"/>
              <a:gd name="connsiteY17" fmla="*/ 2781 h 17377"/>
              <a:gd name="connsiteX18" fmla="*/ 2352 w 14705"/>
              <a:gd name="connsiteY18" fmla="*/ 1670 h 17377"/>
              <a:gd name="connsiteX19" fmla="*/ 2941 w 14705"/>
              <a:gd name="connsiteY19" fmla="*/ 6951 h 17377"/>
              <a:gd name="connsiteX20" fmla="*/ 1764 w 14705"/>
              <a:gd name="connsiteY20" fmla="*/ 6951 h 17377"/>
              <a:gd name="connsiteX21" fmla="*/ 1176 w 14705"/>
              <a:gd name="connsiteY21" fmla="*/ 5561 h 17377"/>
              <a:gd name="connsiteX22" fmla="*/ 882 w 14705"/>
              <a:gd name="connsiteY22" fmla="*/ 7646 h 17377"/>
              <a:gd name="connsiteX23" fmla="*/ 0 w 14705"/>
              <a:gd name="connsiteY23" fmla="*/ 7646 h 17377"/>
              <a:gd name="connsiteX0" fmla="*/ 0 w 10115"/>
              <a:gd name="connsiteY0" fmla="*/ 5976 h 15707"/>
              <a:gd name="connsiteX1" fmla="*/ 588 w 10115"/>
              <a:gd name="connsiteY1" fmla="*/ 12927 h 15707"/>
              <a:gd name="connsiteX2" fmla="*/ 2237 w 10115"/>
              <a:gd name="connsiteY2" fmla="*/ 13475 h 15707"/>
              <a:gd name="connsiteX3" fmla="*/ 2058 w 10115"/>
              <a:gd name="connsiteY3" fmla="*/ 15707 h 15707"/>
              <a:gd name="connsiteX4" fmla="*/ 3529 w 10115"/>
              <a:gd name="connsiteY4" fmla="*/ 15707 h 15707"/>
              <a:gd name="connsiteX5" fmla="*/ 3823 w 10115"/>
              <a:gd name="connsiteY5" fmla="*/ 12927 h 15707"/>
              <a:gd name="connsiteX6" fmla="*/ 5588 w 10115"/>
              <a:gd name="connsiteY6" fmla="*/ 13622 h 15707"/>
              <a:gd name="connsiteX7" fmla="*/ 6764 w 10115"/>
              <a:gd name="connsiteY7" fmla="*/ 12927 h 15707"/>
              <a:gd name="connsiteX8" fmla="*/ 7647 w 10115"/>
              <a:gd name="connsiteY8" fmla="*/ 10147 h 15707"/>
              <a:gd name="connsiteX9" fmla="*/ 9279 w 10115"/>
              <a:gd name="connsiteY9" fmla="*/ 12364 h 15707"/>
              <a:gd name="connsiteX10" fmla="*/ 10115 w 10115"/>
              <a:gd name="connsiteY10" fmla="*/ 10142 h 15707"/>
              <a:gd name="connsiteX11" fmla="*/ 9411 w 10115"/>
              <a:gd name="connsiteY11" fmla="*/ 3196 h 15707"/>
              <a:gd name="connsiteX12" fmla="*/ 7512 w 10115"/>
              <a:gd name="connsiteY12" fmla="*/ 7519 h 15707"/>
              <a:gd name="connsiteX13" fmla="*/ 7865 w 10115"/>
              <a:gd name="connsiteY13" fmla="*/ 8319 h 15707"/>
              <a:gd name="connsiteX14" fmla="*/ 9117 w 10115"/>
              <a:gd name="connsiteY14" fmla="*/ 0 h 15707"/>
              <a:gd name="connsiteX15" fmla="*/ 6764 w 10115"/>
              <a:gd name="connsiteY15" fmla="*/ 1806 h 15707"/>
              <a:gd name="connsiteX16" fmla="*/ 4705 w 10115"/>
              <a:gd name="connsiteY16" fmla="*/ 1111 h 15707"/>
              <a:gd name="connsiteX17" fmla="*/ 3529 w 10115"/>
              <a:gd name="connsiteY17" fmla="*/ 1111 h 15707"/>
              <a:gd name="connsiteX18" fmla="*/ 2352 w 10115"/>
              <a:gd name="connsiteY18" fmla="*/ 0 h 15707"/>
              <a:gd name="connsiteX19" fmla="*/ 2941 w 10115"/>
              <a:gd name="connsiteY19" fmla="*/ 5281 h 15707"/>
              <a:gd name="connsiteX20" fmla="*/ 1764 w 10115"/>
              <a:gd name="connsiteY20" fmla="*/ 5281 h 15707"/>
              <a:gd name="connsiteX21" fmla="*/ 1176 w 10115"/>
              <a:gd name="connsiteY21" fmla="*/ 3891 h 15707"/>
              <a:gd name="connsiteX22" fmla="*/ 882 w 10115"/>
              <a:gd name="connsiteY22" fmla="*/ 5976 h 15707"/>
              <a:gd name="connsiteX23" fmla="*/ 0 w 10115"/>
              <a:gd name="connsiteY23" fmla="*/ 5976 h 15707"/>
              <a:gd name="connsiteX0" fmla="*/ 0 w 10115"/>
              <a:gd name="connsiteY0" fmla="*/ 5976 h 15707"/>
              <a:gd name="connsiteX1" fmla="*/ 588 w 10115"/>
              <a:gd name="connsiteY1" fmla="*/ 12927 h 15707"/>
              <a:gd name="connsiteX2" fmla="*/ 2237 w 10115"/>
              <a:gd name="connsiteY2" fmla="*/ 13475 h 15707"/>
              <a:gd name="connsiteX3" fmla="*/ 2058 w 10115"/>
              <a:gd name="connsiteY3" fmla="*/ 15707 h 15707"/>
              <a:gd name="connsiteX4" fmla="*/ 3529 w 10115"/>
              <a:gd name="connsiteY4" fmla="*/ 15707 h 15707"/>
              <a:gd name="connsiteX5" fmla="*/ 3823 w 10115"/>
              <a:gd name="connsiteY5" fmla="*/ 12927 h 15707"/>
              <a:gd name="connsiteX6" fmla="*/ 5588 w 10115"/>
              <a:gd name="connsiteY6" fmla="*/ 13622 h 15707"/>
              <a:gd name="connsiteX7" fmla="*/ 6764 w 10115"/>
              <a:gd name="connsiteY7" fmla="*/ 12927 h 15707"/>
              <a:gd name="connsiteX8" fmla="*/ 7647 w 10115"/>
              <a:gd name="connsiteY8" fmla="*/ 10147 h 15707"/>
              <a:gd name="connsiteX9" fmla="*/ 9279 w 10115"/>
              <a:gd name="connsiteY9" fmla="*/ 12364 h 15707"/>
              <a:gd name="connsiteX10" fmla="*/ 10115 w 10115"/>
              <a:gd name="connsiteY10" fmla="*/ 10142 h 15707"/>
              <a:gd name="connsiteX11" fmla="*/ 9411 w 10115"/>
              <a:gd name="connsiteY11" fmla="*/ 3196 h 15707"/>
              <a:gd name="connsiteX12" fmla="*/ 7512 w 10115"/>
              <a:gd name="connsiteY12" fmla="*/ 7519 h 15707"/>
              <a:gd name="connsiteX13" fmla="*/ 7865 w 10115"/>
              <a:gd name="connsiteY13" fmla="*/ 8319 h 15707"/>
              <a:gd name="connsiteX14" fmla="*/ 7141 w 10115"/>
              <a:gd name="connsiteY14" fmla="*/ 5261 h 15707"/>
              <a:gd name="connsiteX15" fmla="*/ 6764 w 10115"/>
              <a:gd name="connsiteY15" fmla="*/ 1806 h 15707"/>
              <a:gd name="connsiteX16" fmla="*/ 4705 w 10115"/>
              <a:gd name="connsiteY16" fmla="*/ 1111 h 15707"/>
              <a:gd name="connsiteX17" fmla="*/ 3529 w 10115"/>
              <a:gd name="connsiteY17" fmla="*/ 1111 h 15707"/>
              <a:gd name="connsiteX18" fmla="*/ 2352 w 10115"/>
              <a:gd name="connsiteY18" fmla="*/ 0 h 15707"/>
              <a:gd name="connsiteX19" fmla="*/ 2941 w 10115"/>
              <a:gd name="connsiteY19" fmla="*/ 5281 h 15707"/>
              <a:gd name="connsiteX20" fmla="*/ 1764 w 10115"/>
              <a:gd name="connsiteY20" fmla="*/ 5281 h 15707"/>
              <a:gd name="connsiteX21" fmla="*/ 1176 w 10115"/>
              <a:gd name="connsiteY21" fmla="*/ 3891 h 15707"/>
              <a:gd name="connsiteX22" fmla="*/ 882 w 10115"/>
              <a:gd name="connsiteY22" fmla="*/ 5976 h 15707"/>
              <a:gd name="connsiteX23" fmla="*/ 0 w 10115"/>
              <a:gd name="connsiteY23" fmla="*/ 5976 h 15707"/>
              <a:gd name="connsiteX0" fmla="*/ 0 w 10115"/>
              <a:gd name="connsiteY0" fmla="*/ 5976 h 15707"/>
              <a:gd name="connsiteX1" fmla="*/ 588 w 10115"/>
              <a:gd name="connsiteY1" fmla="*/ 12927 h 15707"/>
              <a:gd name="connsiteX2" fmla="*/ 2237 w 10115"/>
              <a:gd name="connsiteY2" fmla="*/ 13475 h 15707"/>
              <a:gd name="connsiteX3" fmla="*/ 2058 w 10115"/>
              <a:gd name="connsiteY3" fmla="*/ 15707 h 15707"/>
              <a:gd name="connsiteX4" fmla="*/ 3529 w 10115"/>
              <a:gd name="connsiteY4" fmla="*/ 15707 h 15707"/>
              <a:gd name="connsiteX5" fmla="*/ 3823 w 10115"/>
              <a:gd name="connsiteY5" fmla="*/ 12927 h 15707"/>
              <a:gd name="connsiteX6" fmla="*/ 5588 w 10115"/>
              <a:gd name="connsiteY6" fmla="*/ 13622 h 15707"/>
              <a:gd name="connsiteX7" fmla="*/ 6764 w 10115"/>
              <a:gd name="connsiteY7" fmla="*/ 12927 h 15707"/>
              <a:gd name="connsiteX8" fmla="*/ 7647 w 10115"/>
              <a:gd name="connsiteY8" fmla="*/ 10147 h 15707"/>
              <a:gd name="connsiteX9" fmla="*/ 9279 w 10115"/>
              <a:gd name="connsiteY9" fmla="*/ 12364 h 15707"/>
              <a:gd name="connsiteX10" fmla="*/ 10115 w 10115"/>
              <a:gd name="connsiteY10" fmla="*/ 10142 h 15707"/>
              <a:gd name="connsiteX11" fmla="*/ 9411 w 10115"/>
              <a:gd name="connsiteY11" fmla="*/ 3196 h 15707"/>
              <a:gd name="connsiteX12" fmla="*/ 7512 w 10115"/>
              <a:gd name="connsiteY12" fmla="*/ 7519 h 15707"/>
              <a:gd name="connsiteX13" fmla="*/ 7865 w 10115"/>
              <a:gd name="connsiteY13" fmla="*/ 8319 h 15707"/>
              <a:gd name="connsiteX14" fmla="*/ 7141 w 10115"/>
              <a:gd name="connsiteY14" fmla="*/ 5261 h 15707"/>
              <a:gd name="connsiteX15" fmla="*/ 6764 w 10115"/>
              <a:gd name="connsiteY15" fmla="*/ 1806 h 15707"/>
              <a:gd name="connsiteX16" fmla="*/ 5649 w 10115"/>
              <a:gd name="connsiteY16" fmla="*/ 4011 h 15707"/>
              <a:gd name="connsiteX17" fmla="*/ 4705 w 10115"/>
              <a:gd name="connsiteY17" fmla="*/ 1111 h 15707"/>
              <a:gd name="connsiteX18" fmla="*/ 3529 w 10115"/>
              <a:gd name="connsiteY18" fmla="*/ 1111 h 15707"/>
              <a:gd name="connsiteX19" fmla="*/ 2352 w 10115"/>
              <a:gd name="connsiteY19" fmla="*/ 0 h 15707"/>
              <a:gd name="connsiteX20" fmla="*/ 2941 w 10115"/>
              <a:gd name="connsiteY20" fmla="*/ 5281 h 15707"/>
              <a:gd name="connsiteX21" fmla="*/ 1764 w 10115"/>
              <a:gd name="connsiteY21" fmla="*/ 5281 h 15707"/>
              <a:gd name="connsiteX22" fmla="*/ 1176 w 10115"/>
              <a:gd name="connsiteY22" fmla="*/ 3891 h 15707"/>
              <a:gd name="connsiteX23" fmla="*/ 882 w 10115"/>
              <a:gd name="connsiteY23" fmla="*/ 5976 h 15707"/>
              <a:gd name="connsiteX24" fmla="*/ 0 w 10115"/>
              <a:gd name="connsiteY24" fmla="*/ 5976 h 15707"/>
              <a:gd name="connsiteX0" fmla="*/ 0 w 10115"/>
              <a:gd name="connsiteY0" fmla="*/ 5976 h 15707"/>
              <a:gd name="connsiteX1" fmla="*/ 2554 w 10115"/>
              <a:gd name="connsiteY1" fmla="*/ 13317 h 15707"/>
              <a:gd name="connsiteX2" fmla="*/ 2237 w 10115"/>
              <a:gd name="connsiteY2" fmla="*/ 13475 h 15707"/>
              <a:gd name="connsiteX3" fmla="*/ 2058 w 10115"/>
              <a:gd name="connsiteY3" fmla="*/ 15707 h 15707"/>
              <a:gd name="connsiteX4" fmla="*/ 3529 w 10115"/>
              <a:gd name="connsiteY4" fmla="*/ 15707 h 15707"/>
              <a:gd name="connsiteX5" fmla="*/ 3823 w 10115"/>
              <a:gd name="connsiteY5" fmla="*/ 12927 h 15707"/>
              <a:gd name="connsiteX6" fmla="*/ 5588 w 10115"/>
              <a:gd name="connsiteY6" fmla="*/ 13622 h 15707"/>
              <a:gd name="connsiteX7" fmla="*/ 6764 w 10115"/>
              <a:gd name="connsiteY7" fmla="*/ 12927 h 15707"/>
              <a:gd name="connsiteX8" fmla="*/ 7647 w 10115"/>
              <a:gd name="connsiteY8" fmla="*/ 10147 h 15707"/>
              <a:gd name="connsiteX9" fmla="*/ 9279 w 10115"/>
              <a:gd name="connsiteY9" fmla="*/ 12364 h 15707"/>
              <a:gd name="connsiteX10" fmla="*/ 10115 w 10115"/>
              <a:gd name="connsiteY10" fmla="*/ 10142 h 15707"/>
              <a:gd name="connsiteX11" fmla="*/ 9411 w 10115"/>
              <a:gd name="connsiteY11" fmla="*/ 3196 h 15707"/>
              <a:gd name="connsiteX12" fmla="*/ 7512 w 10115"/>
              <a:gd name="connsiteY12" fmla="*/ 7519 h 15707"/>
              <a:gd name="connsiteX13" fmla="*/ 7865 w 10115"/>
              <a:gd name="connsiteY13" fmla="*/ 8319 h 15707"/>
              <a:gd name="connsiteX14" fmla="*/ 7141 w 10115"/>
              <a:gd name="connsiteY14" fmla="*/ 5261 h 15707"/>
              <a:gd name="connsiteX15" fmla="*/ 6764 w 10115"/>
              <a:gd name="connsiteY15" fmla="*/ 1806 h 15707"/>
              <a:gd name="connsiteX16" fmla="*/ 5649 w 10115"/>
              <a:gd name="connsiteY16" fmla="*/ 4011 h 15707"/>
              <a:gd name="connsiteX17" fmla="*/ 4705 w 10115"/>
              <a:gd name="connsiteY17" fmla="*/ 1111 h 15707"/>
              <a:gd name="connsiteX18" fmla="*/ 3529 w 10115"/>
              <a:gd name="connsiteY18" fmla="*/ 1111 h 15707"/>
              <a:gd name="connsiteX19" fmla="*/ 2352 w 10115"/>
              <a:gd name="connsiteY19" fmla="*/ 0 h 15707"/>
              <a:gd name="connsiteX20" fmla="*/ 2941 w 10115"/>
              <a:gd name="connsiteY20" fmla="*/ 5281 h 15707"/>
              <a:gd name="connsiteX21" fmla="*/ 1764 w 10115"/>
              <a:gd name="connsiteY21" fmla="*/ 5281 h 15707"/>
              <a:gd name="connsiteX22" fmla="*/ 1176 w 10115"/>
              <a:gd name="connsiteY22" fmla="*/ 3891 h 15707"/>
              <a:gd name="connsiteX23" fmla="*/ 882 w 10115"/>
              <a:gd name="connsiteY23" fmla="*/ 5976 h 15707"/>
              <a:gd name="connsiteX24" fmla="*/ 0 w 10115"/>
              <a:gd name="connsiteY24" fmla="*/ 5976 h 15707"/>
              <a:gd name="connsiteX0" fmla="*/ 918 w 9233"/>
              <a:gd name="connsiteY0" fmla="*/ 8769 h 15707"/>
              <a:gd name="connsiteX1" fmla="*/ 1672 w 9233"/>
              <a:gd name="connsiteY1" fmla="*/ 13317 h 15707"/>
              <a:gd name="connsiteX2" fmla="*/ 1355 w 9233"/>
              <a:gd name="connsiteY2" fmla="*/ 13475 h 15707"/>
              <a:gd name="connsiteX3" fmla="*/ 1176 w 9233"/>
              <a:gd name="connsiteY3" fmla="*/ 15707 h 15707"/>
              <a:gd name="connsiteX4" fmla="*/ 2647 w 9233"/>
              <a:gd name="connsiteY4" fmla="*/ 15707 h 15707"/>
              <a:gd name="connsiteX5" fmla="*/ 2941 w 9233"/>
              <a:gd name="connsiteY5" fmla="*/ 12927 h 15707"/>
              <a:gd name="connsiteX6" fmla="*/ 4706 w 9233"/>
              <a:gd name="connsiteY6" fmla="*/ 13622 h 15707"/>
              <a:gd name="connsiteX7" fmla="*/ 5882 w 9233"/>
              <a:gd name="connsiteY7" fmla="*/ 12927 h 15707"/>
              <a:gd name="connsiteX8" fmla="*/ 6765 w 9233"/>
              <a:gd name="connsiteY8" fmla="*/ 10147 h 15707"/>
              <a:gd name="connsiteX9" fmla="*/ 8397 w 9233"/>
              <a:gd name="connsiteY9" fmla="*/ 12364 h 15707"/>
              <a:gd name="connsiteX10" fmla="*/ 9233 w 9233"/>
              <a:gd name="connsiteY10" fmla="*/ 10142 h 15707"/>
              <a:gd name="connsiteX11" fmla="*/ 8529 w 9233"/>
              <a:gd name="connsiteY11" fmla="*/ 3196 h 15707"/>
              <a:gd name="connsiteX12" fmla="*/ 6630 w 9233"/>
              <a:gd name="connsiteY12" fmla="*/ 7519 h 15707"/>
              <a:gd name="connsiteX13" fmla="*/ 6983 w 9233"/>
              <a:gd name="connsiteY13" fmla="*/ 8319 h 15707"/>
              <a:gd name="connsiteX14" fmla="*/ 6259 w 9233"/>
              <a:gd name="connsiteY14" fmla="*/ 5261 h 15707"/>
              <a:gd name="connsiteX15" fmla="*/ 5882 w 9233"/>
              <a:gd name="connsiteY15" fmla="*/ 1806 h 15707"/>
              <a:gd name="connsiteX16" fmla="*/ 4767 w 9233"/>
              <a:gd name="connsiteY16" fmla="*/ 4011 h 15707"/>
              <a:gd name="connsiteX17" fmla="*/ 3823 w 9233"/>
              <a:gd name="connsiteY17" fmla="*/ 1111 h 15707"/>
              <a:gd name="connsiteX18" fmla="*/ 2647 w 9233"/>
              <a:gd name="connsiteY18" fmla="*/ 1111 h 15707"/>
              <a:gd name="connsiteX19" fmla="*/ 1470 w 9233"/>
              <a:gd name="connsiteY19" fmla="*/ 0 h 15707"/>
              <a:gd name="connsiteX20" fmla="*/ 2059 w 9233"/>
              <a:gd name="connsiteY20" fmla="*/ 5281 h 15707"/>
              <a:gd name="connsiteX21" fmla="*/ 882 w 9233"/>
              <a:gd name="connsiteY21" fmla="*/ 5281 h 15707"/>
              <a:gd name="connsiteX22" fmla="*/ 294 w 9233"/>
              <a:gd name="connsiteY22" fmla="*/ 3891 h 15707"/>
              <a:gd name="connsiteX23" fmla="*/ 0 w 9233"/>
              <a:gd name="connsiteY23" fmla="*/ 5976 h 15707"/>
              <a:gd name="connsiteX24" fmla="*/ 918 w 9233"/>
              <a:gd name="connsiteY24" fmla="*/ 8769 h 15707"/>
              <a:gd name="connsiteX0" fmla="*/ 994 w 10000"/>
              <a:gd name="connsiteY0" fmla="*/ 5080 h 9497"/>
              <a:gd name="connsiteX1" fmla="*/ 1811 w 10000"/>
              <a:gd name="connsiteY1" fmla="*/ 7975 h 9497"/>
              <a:gd name="connsiteX2" fmla="*/ 1468 w 10000"/>
              <a:gd name="connsiteY2" fmla="*/ 8076 h 9497"/>
              <a:gd name="connsiteX3" fmla="*/ 1274 w 10000"/>
              <a:gd name="connsiteY3" fmla="*/ 9497 h 9497"/>
              <a:gd name="connsiteX4" fmla="*/ 2867 w 10000"/>
              <a:gd name="connsiteY4" fmla="*/ 9497 h 9497"/>
              <a:gd name="connsiteX5" fmla="*/ 3185 w 10000"/>
              <a:gd name="connsiteY5" fmla="*/ 7727 h 9497"/>
              <a:gd name="connsiteX6" fmla="*/ 5097 w 10000"/>
              <a:gd name="connsiteY6" fmla="*/ 8170 h 9497"/>
              <a:gd name="connsiteX7" fmla="*/ 6371 w 10000"/>
              <a:gd name="connsiteY7" fmla="*/ 7727 h 9497"/>
              <a:gd name="connsiteX8" fmla="*/ 7327 w 10000"/>
              <a:gd name="connsiteY8" fmla="*/ 5957 h 9497"/>
              <a:gd name="connsiteX9" fmla="*/ 9095 w 10000"/>
              <a:gd name="connsiteY9" fmla="*/ 7369 h 9497"/>
              <a:gd name="connsiteX10" fmla="*/ 10000 w 10000"/>
              <a:gd name="connsiteY10" fmla="*/ 5954 h 9497"/>
              <a:gd name="connsiteX11" fmla="*/ 9238 w 10000"/>
              <a:gd name="connsiteY11" fmla="*/ 1532 h 9497"/>
              <a:gd name="connsiteX12" fmla="*/ 7181 w 10000"/>
              <a:gd name="connsiteY12" fmla="*/ 4284 h 9497"/>
              <a:gd name="connsiteX13" fmla="*/ 7563 w 10000"/>
              <a:gd name="connsiteY13" fmla="*/ 4793 h 9497"/>
              <a:gd name="connsiteX14" fmla="*/ 6779 w 10000"/>
              <a:gd name="connsiteY14" fmla="*/ 2846 h 9497"/>
              <a:gd name="connsiteX15" fmla="*/ 6371 w 10000"/>
              <a:gd name="connsiteY15" fmla="*/ 647 h 9497"/>
              <a:gd name="connsiteX16" fmla="*/ 5163 w 10000"/>
              <a:gd name="connsiteY16" fmla="*/ 2051 h 9497"/>
              <a:gd name="connsiteX17" fmla="*/ 4141 w 10000"/>
              <a:gd name="connsiteY17" fmla="*/ 204 h 9497"/>
              <a:gd name="connsiteX18" fmla="*/ 2867 w 10000"/>
              <a:gd name="connsiteY18" fmla="*/ 204 h 9497"/>
              <a:gd name="connsiteX19" fmla="*/ 2347 w 10000"/>
              <a:gd name="connsiteY19" fmla="*/ 2200 h 9497"/>
              <a:gd name="connsiteX20" fmla="*/ 2230 w 10000"/>
              <a:gd name="connsiteY20" fmla="*/ 2859 h 9497"/>
              <a:gd name="connsiteX21" fmla="*/ 955 w 10000"/>
              <a:gd name="connsiteY21" fmla="*/ 2859 h 9497"/>
              <a:gd name="connsiteX22" fmla="*/ 318 w 10000"/>
              <a:gd name="connsiteY22" fmla="*/ 1974 h 9497"/>
              <a:gd name="connsiteX23" fmla="*/ 0 w 10000"/>
              <a:gd name="connsiteY23" fmla="*/ 3302 h 9497"/>
              <a:gd name="connsiteX24" fmla="*/ 994 w 10000"/>
              <a:gd name="connsiteY24" fmla="*/ 5080 h 9497"/>
              <a:gd name="connsiteX0" fmla="*/ 994 w 10000"/>
              <a:gd name="connsiteY0" fmla="*/ 5349 h 10000"/>
              <a:gd name="connsiteX1" fmla="*/ 1811 w 10000"/>
              <a:gd name="connsiteY1" fmla="*/ 8397 h 10000"/>
              <a:gd name="connsiteX2" fmla="*/ 1468 w 10000"/>
              <a:gd name="connsiteY2" fmla="*/ 8504 h 10000"/>
              <a:gd name="connsiteX3" fmla="*/ 1274 w 10000"/>
              <a:gd name="connsiteY3" fmla="*/ 10000 h 10000"/>
              <a:gd name="connsiteX4" fmla="*/ 2867 w 10000"/>
              <a:gd name="connsiteY4" fmla="*/ 10000 h 10000"/>
              <a:gd name="connsiteX5" fmla="*/ 3185 w 10000"/>
              <a:gd name="connsiteY5" fmla="*/ 8136 h 10000"/>
              <a:gd name="connsiteX6" fmla="*/ 5097 w 10000"/>
              <a:gd name="connsiteY6" fmla="*/ 8603 h 10000"/>
              <a:gd name="connsiteX7" fmla="*/ 6371 w 10000"/>
              <a:gd name="connsiteY7" fmla="*/ 8136 h 10000"/>
              <a:gd name="connsiteX8" fmla="*/ 7327 w 10000"/>
              <a:gd name="connsiteY8" fmla="*/ 6273 h 10000"/>
              <a:gd name="connsiteX9" fmla="*/ 9095 w 10000"/>
              <a:gd name="connsiteY9" fmla="*/ 7759 h 10000"/>
              <a:gd name="connsiteX10" fmla="*/ 10000 w 10000"/>
              <a:gd name="connsiteY10" fmla="*/ 6269 h 10000"/>
              <a:gd name="connsiteX11" fmla="*/ 9238 w 10000"/>
              <a:gd name="connsiteY11" fmla="*/ 1613 h 10000"/>
              <a:gd name="connsiteX12" fmla="*/ 7181 w 10000"/>
              <a:gd name="connsiteY12" fmla="*/ 4511 h 10000"/>
              <a:gd name="connsiteX13" fmla="*/ 7563 w 10000"/>
              <a:gd name="connsiteY13" fmla="*/ 5047 h 10000"/>
              <a:gd name="connsiteX14" fmla="*/ 6779 w 10000"/>
              <a:gd name="connsiteY14" fmla="*/ 2997 h 10000"/>
              <a:gd name="connsiteX15" fmla="*/ 6371 w 10000"/>
              <a:gd name="connsiteY15" fmla="*/ 681 h 10000"/>
              <a:gd name="connsiteX16" fmla="*/ 5163 w 10000"/>
              <a:gd name="connsiteY16" fmla="*/ 2160 h 10000"/>
              <a:gd name="connsiteX17" fmla="*/ 4141 w 10000"/>
              <a:gd name="connsiteY17" fmla="*/ 215 h 10000"/>
              <a:gd name="connsiteX18" fmla="*/ 2867 w 10000"/>
              <a:gd name="connsiteY18" fmla="*/ 215 h 10000"/>
              <a:gd name="connsiteX19" fmla="*/ 2347 w 10000"/>
              <a:gd name="connsiteY19" fmla="*/ 2317 h 10000"/>
              <a:gd name="connsiteX20" fmla="*/ 2230 w 10000"/>
              <a:gd name="connsiteY20" fmla="*/ 3010 h 10000"/>
              <a:gd name="connsiteX21" fmla="*/ 955 w 10000"/>
              <a:gd name="connsiteY21" fmla="*/ 3010 h 10000"/>
              <a:gd name="connsiteX22" fmla="*/ 1237 w 10000"/>
              <a:gd name="connsiteY22" fmla="*/ 3729 h 10000"/>
              <a:gd name="connsiteX23" fmla="*/ 0 w 10000"/>
              <a:gd name="connsiteY23" fmla="*/ 3477 h 10000"/>
              <a:gd name="connsiteX24" fmla="*/ 994 w 10000"/>
              <a:gd name="connsiteY24" fmla="*/ 5349 h 10000"/>
              <a:gd name="connsiteX0" fmla="*/ 76 w 9082"/>
              <a:gd name="connsiteY0" fmla="*/ 5349 h 10000"/>
              <a:gd name="connsiteX1" fmla="*/ 893 w 9082"/>
              <a:gd name="connsiteY1" fmla="*/ 8397 h 10000"/>
              <a:gd name="connsiteX2" fmla="*/ 550 w 9082"/>
              <a:gd name="connsiteY2" fmla="*/ 8504 h 10000"/>
              <a:gd name="connsiteX3" fmla="*/ 356 w 9082"/>
              <a:gd name="connsiteY3" fmla="*/ 10000 h 10000"/>
              <a:gd name="connsiteX4" fmla="*/ 1949 w 9082"/>
              <a:gd name="connsiteY4" fmla="*/ 10000 h 10000"/>
              <a:gd name="connsiteX5" fmla="*/ 2267 w 9082"/>
              <a:gd name="connsiteY5" fmla="*/ 8136 h 10000"/>
              <a:gd name="connsiteX6" fmla="*/ 4179 w 9082"/>
              <a:gd name="connsiteY6" fmla="*/ 8603 h 10000"/>
              <a:gd name="connsiteX7" fmla="*/ 5453 w 9082"/>
              <a:gd name="connsiteY7" fmla="*/ 8136 h 10000"/>
              <a:gd name="connsiteX8" fmla="*/ 6409 w 9082"/>
              <a:gd name="connsiteY8" fmla="*/ 6273 h 10000"/>
              <a:gd name="connsiteX9" fmla="*/ 8177 w 9082"/>
              <a:gd name="connsiteY9" fmla="*/ 7759 h 10000"/>
              <a:gd name="connsiteX10" fmla="*/ 9082 w 9082"/>
              <a:gd name="connsiteY10" fmla="*/ 6269 h 10000"/>
              <a:gd name="connsiteX11" fmla="*/ 8320 w 9082"/>
              <a:gd name="connsiteY11" fmla="*/ 1613 h 10000"/>
              <a:gd name="connsiteX12" fmla="*/ 6263 w 9082"/>
              <a:gd name="connsiteY12" fmla="*/ 4511 h 10000"/>
              <a:gd name="connsiteX13" fmla="*/ 6645 w 9082"/>
              <a:gd name="connsiteY13" fmla="*/ 5047 h 10000"/>
              <a:gd name="connsiteX14" fmla="*/ 5861 w 9082"/>
              <a:gd name="connsiteY14" fmla="*/ 2997 h 10000"/>
              <a:gd name="connsiteX15" fmla="*/ 5453 w 9082"/>
              <a:gd name="connsiteY15" fmla="*/ 681 h 10000"/>
              <a:gd name="connsiteX16" fmla="*/ 4245 w 9082"/>
              <a:gd name="connsiteY16" fmla="*/ 2160 h 10000"/>
              <a:gd name="connsiteX17" fmla="*/ 3223 w 9082"/>
              <a:gd name="connsiteY17" fmla="*/ 215 h 10000"/>
              <a:gd name="connsiteX18" fmla="*/ 1949 w 9082"/>
              <a:gd name="connsiteY18" fmla="*/ 215 h 10000"/>
              <a:gd name="connsiteX19" fmla="*/ 1429 w 9082"/>
              <a:gd name="connsiteY19" fmla="*/ 2317 h 10000"/>
              <a:gd name="connsiteX20" fmla="*/ 1312 w 9082"/>
              <a:gd name="connsiteY20" fmla="*/ 3010 h 10000"/>
              <a:gd name="connsiteX21" fmla="*/ 37 w 9082"/>
              <a:gd name="connsiteY21" fmla="*/ 3010 h 10000"/>
              <a:gd name="connsiteX22" fmla="*/ 319 w 9082"/>
              <a:gd name="connsiteY22" fmla="*/ 3729 h 10000"/>
              <a:gd name="connsiteX23" fmla="*/ 310 w 9082"/>
              <a:gd name="connsiteY23" fmla="*/ 5046 h 10000"/>
              <a:gd name="connsiteX24" fmla="*/ 76 w 9082"/>
              <a:gd name="connsiteY24" fmla="*/ 5349 h 10000"/>
              <a:gd name="connsiteX0" fmla="*/ 84 w 10000"/>
              <a:gd name="connsiteY0" fmla="*/ 5349 h 10000"/>
              <a:gd name="connsiteX1" fmla="*/ 983 w 10000"/>
              <a:gd name="connsiteY1" fmla="*/ 8397 h 10000"/>
              <a:gd name="connsiteX2" fmla="*/ 606 w 10000"/>
              <a:gd name="connsiteY2" fmla="*/ 8504 h 10000"/>
              <a:gd name="connsiteX3" fmla="*/ 392 w 10000"/>
              <a:gd name="connsiteY3" fmla="*/ 10000 h 10000"/>
              <a:gd name="connsiteX4" fmla="*/ 2146 w 10000"/>
              <a:gd name="connsiteY4" fmla="*/ 10000 h 10000"/>
              <a:gd name="connsiteX5" fmla="*/ 2496 w 10000"/>
              <a:gd name="connsiteY5" fmla="*/ 8136 h 10000"/>
              <a:gd name="connsiteX6" fmla="*/ 4601 w 10000"/>
              <a:gd name="connsiteY6" fmla="*/ 8603 h 10000"/>
              <a:gd name="connsiteX7" fmla="*/ 6004 w 10000"/>
              <a:gd name="connsiteY7" fmla="*/ 8136 h 10000"/>
              <a:gd name="connsiteX8" fmla="*/ 7057 w 10000"/>
              <a:gd name="connsiteY8" fmla="*/ 6273 h 10000"/>
              <a:gd name="connsiteX9" fmla="*/ 9004 w 10000"/>
              <a:gd name="connsiteY9" fmla="*/ 7759 h 10000"/>
              <a:gd name="connsiteX10" fmla="*/ 10000 w 10000"/>
              <a:gd name="connsiteY10" fmla="*/ 6269 h 10000"/>
              <a:gd name="connsiteX11" fmla="*/ 9161 w 10000"/>
              <a:gd name="connsiteY11" fmla="*/ 1613 h 10000"/>
              <a:gd name="connsiteX12" fmla="*/ 6896 w 10000"/>
              <a:gd name="connsiteY12" fmla="*/ 4511 h 10000"/>
              <a:gd name="connsiteX13" fmla="*/ 7317 w 10000"/>
              <a:gd name="connsiteY13" fmla="*/ 5047 h 10000"/>
              <a:gd name="connsiteX14" fmla="*/ 5683 w 10000"/>
              <a:gd name="connsiteY14" fmla="*/ 3757 h 10000"/>
              <a:gd name="connsiteX15" fmla="*/ 6004 w 10000"/>
              <a:gd name="connsiteY15" fmla="*/ 681 h 10000"/>
              <a:gd name="connsiteX16" fmla="*/ 4674 w 10000"/>
              <a:gd name="connsiteY16" fmla="*/ 2160 h 10000"/>
              <a:gd name="connsiteX17" fmla="*/ 3549 w 10000"/>
              <a:gd name="connsiteY17" fmla="*/ 215 h 10000"/>
              <a:gd name="connsiteX18" fmla="*/ 2146 w 10000"/>
              <a:gd name="connsiteY18" fmla="*/ 215 h 10000"/>
              <a:gd name="connsiteX19" fmla="*/ 1573 w 10000"/>
              <a:gd name="connsiteY19" fmla="*/ 2317 h 10000"/>
              <a:gd name="connsiteX20" fmla="*/ 1445 w 10000"/>
              <a:gd name="connsiteY20" fmla="*/ 3010 h 10000"/>
              <a:gd name="connsiteX21" fmla="*/ 41 w 10000"/>
              <a:gd name="connsiteY21" fmla="*/ 3010 h 10000"/>
              <a:gd name="connsiteX22" fmla="*/ 351 w 10000"/>
              <a:gd name="connsiteY22" fmla="*/ 3729 h 10000"/>
              <a:gd name="connsiteX23" fmla="*/ 341 w 10000"/>
              <a:gd name="connsiteY23" fmla="*/ 5046 h 10000"/>
              <a:gd name="connsiteX24" fmla="*/ 84 w 10000"/>
              <a:gd name="connsiteY24" fmla="*/ 5349 h 10000"/>
              <a:gd name="connsiteX0" fmla="*/ 84 w 10000"/>
              <a:gd name="connsiteY0" fmla="*/ 5349 h 10000"/>
              <a:gd name="connsiteX1" fmla="*/ 983 w 10000"/>
              <a:gd name="connsiteY1" fmla="*/ 8397 h 10000"/>
              <a:gd name="connsiteX2" fmla="*/ 606 w 10000"/>
              <a:gd name="connsiteY2" fmla="*/ 8504 h 10000"/>
              <a:gd name="connsiteX3" fmla="*/ 392 w 10000"/>
              <a:gd name="connsiteY3" fmla="*/ 10000 h 10000"/>
              <a:gd name="connsiteX4" fmla="*/ 2146 w 10000"/>
              <a:gd name="connsiteY4" fmla="*/ 10000 h 10000"/>
              <a:gd name="connsiteX5" fmla="*/ 2496 w 10000"/>
              <a:gd name="connsiteY5" fmla="*/ 8136 h 10000"/>
              <a:gd name="connsiteX6" fmla="*/ 4601 w 10000"/>
              <a:gd name="connsiteY6" fmla="*/ 8603 h 10000"/>
              <a:gd name="connsiteX7" fmla="*/ 6004 w 10000"/>
              <a:gd name="connsiteY7" fmla="*/ 8136 h 10000"/>
              <a:gd name="connsiteX8" fmla="*/ 7057 w 10000"/>
              <a:gd name="connsiteY8" fmla="*/ 6273 h 10000"/>
              <a:gd name="connsiteX9" fmla="*/ 9004 w 10000"/>
              <a:gd name="connsiteY9" fmla="*/ 7759 h 10000"/>
              <a:gd name="connsiteX10" fmla="*/ 10000 w 10000"/>
              <a:gd name="connsiteY10" fmla="*/ 6269 h 10000"/>
              <a:gd name="connsiteX11" fmla="*/ 9161 w 10000"/>
              <a:gd name="connsiteY11" fmla="*/ 1613 h 10000"/>
              <a:gd name="connsiteX12" fmla="*/ 6896 w 10000"/>
              <a:gd name="connsiteY12" fmla="*/ 4511 h 10000"/>
              <a:gd name="connsiteX13" fmla="*/ 7317 w 10000"/>
              <a:gd name="connsiteY13" fmla="*/ 5047 h 10000"/>
              <a:gd name="connsiteX14" fmla="*/ 5683 w 10000"/>
              <a:gd name="connsiteY14" fmla="*/ 3757 h 10000"/>
              <a:gd name="connsiteX15" fmla="*/ 5128 w 10000"/>
              <a:gd name="connsiteY15" fmla="*/ 2454 h 10000"/>
              <a:gd name="connsiteX16" fmla="*/ 4674 w 10000"/>
              <a:gd name="connsiteY16" fmla="*/ 2160 h 10000"/>
              <a:gd name="connsiteX17" fmla="*/ 3549 w 10000"/>
              <a:gd name="connsiteY17" fmla="*/ 215 h 10000"/>
              <a:gd name="connsiteX18" fmla="*/ 2146 w 10000"/>
              <a:gd name="connsiteY18" fmla="*/ 215 h 10000"/>
              <a:gd name="connsiteX19" fmla="*/ 1573 w 10000"/>
              <a:gd name="connsiteY19" fmla="*/ 2317 h 10000"/>
              <a:gd name="connsiteX20" fmla="*/ 1445 w 10000"/>
              <a:gd name="connsiteY20" fmla="*/ 3010 h 10000"/>
              <a:gd name="connsiteX21" fmla="*/ 41 w 10000"/>
              <a:gd name="connsiteY21" fmla="*/ 3010 h 10000"/>
              <a:gd name="connsiteX22" fmla="*/ 351 w 10000"/>
              <a:gd name="connsiteY22" fmla="*/ 3729 h 10000"/>
              <a:gd name="connsiteX23" fmla="*/ 341 w 10000"/>
              <a:gd name="connsiteY23" fmla="*/ 5046 h 10000"/>
              <a:gd name="connsiteX24" fmla="*/ 84 w 10000"/>
              <a:gd name="connsiteY24" fmla="*/ 5349 h 10000"/>
              <a:gd name="connsiteX0" fmla="*/ 84 w 10000"/>
              <a:gd name="connsiteY0" fmla="*/ 5349 h 10000"/>
              <a:gd name="connsiteX1" fmla="*/ 983 w 10000"/>
              <a:gd name="connsiteY1" fmla="*/ 8397 h 10000"/>
              <a:gd name="connsiteX2" fmla="*/ 606 w 10000"/>
              <a:gd name="connsiteY2" fmla="*/ 8504 h 10000"/>
              <a:gd name="connsiteX3" fmla="*/ 392 w 10000"/>
              <a:gd name="connsiteY3" fmla="*/ 10000 h 10000"/>
              <a:gd name="connsiteX4" fmla="*/ 2146 w 10000"/>
              <a:gd name="connsiteY4" fmla="*/ 10000 h 10000"/>
              <a:gd name="connsiteX5" fmla="*/ 2496 w 10000"/>
              <a:gd name="connsiteY5" fmla="*/ 8136 h 10000"/>
              <a:gd name="connsiteX6" fmla="*/ 4601 w 10000"/>
              <a:gd name="connsiteY6" fmla="*/ 8603 h 10000"/>
              <a:gd name="connsiteX7" fmla="*/ 6004 w 10000"/>
              <a:gd name="connsiteY7" fmla="*/ 8136 h 10000"/>
              <a:gd name="connsiteX8" fmla="*/ 7057 w 10000"/>
              <a:gd name="connsiteY8" fmla="*/ 6273 h 10000"/>
              <a:gd name="connsiteX9" fmla="*/ 9004 w 10000"/>
              <a:gd name="connsiteY9" fmla="*/ 7759 h 10000"/>
              <a:gd name="connsiteX10" fmla="*/ 10000 w 10000"/>
              <a:gd name="connsiteY10" fmla="*/ 6269 h 10000"/>
              <a:gd name="connsiteX11" fmla="*/ 9161 w 10000"/>
              <a:gd name="connsiteY11" fmla="*/ 1613 h 10000"/>
              <a:gd name="connsiteX12" fmla="*/ 6896 w 10000"/>
              <a:gd name="connsiteY12" fmla="*/ 4511 h 10000"/>
              <a:gd name="connsiteX13" fmla="*/ 7317 w 10000"/>
              <a:gd name="connsiteY13" fmla="*/ 5047 h 10000"/>
              <a:gd name="connsiteX14" fmla="*/ 5683 w 10000"/>
              <a:gd name="connsiteY14" fmla="*/ 3757 h 10000"/>
              <a:gd name="connsiteX15" fmla="*/ 5128 w 10000"/>
              <a:gd name="connsiteY15" fmla="*/ 2454 h 10000"/>
              <a:gd name="connsiteX16" fmla="*/ 5062 w 10000"/>
              <a:gd name="connsiteY16" fmla="*/ 833 h 10000"/>
              <a:gd name="connsiteX17" fmla="*/ 3549 w 10000"/>
              <a:gd name="connsiteY17" fmla="*/ 215 h 10000"/>
              <a:gd name="connsiteX18" fmla="*/ 2146 w 10000"/>
              <a:gd name="connsiteY18" fmla="*/ 215 h 10000"/>
              <a:gd name="connsiteX19" fmla="*/ 1573 w 10000"/>
              <a:gd name="connsiteY19" fmla="*/ 2317 h 10000"/>
              <a:gd name="connsiteX20" fmla="*/ 1445 w 10000"/>
              <a:gd name="connsiteY20" fmla="*/ 3010 h 10000"/>
              <a:gd name="connsiteX21" fmla="*/ 41 w 10000"/>
              <a:gd name="connsiteY21" fmla="*/ 3010 h 10000"/>
              <a:gd name="connsiteX22" fmla="*/ 351 w 10000"/>
              <a:gd name="connsiteY22" fmla="*/ 3729 h 10000"/>
              <a:gd name="connsiteX23" fmla="*/ 341 w 10000"/>
              <a:gd name="connsiteY23" fmla="*/ 5046 h 10000"/>
              <a:gd name="connsiteX24" fmla="*/ 84 w 10000"/>
              <a:gd name="connsiteY24" fmla="*/ 5349 h 10000"/>
              <a:gd name="connsiteX0" fmla="*/ 84 w 10000"/>
              <a:gd name="connsiteY0" fmla="*/ 5349 h 10000"/>
              <a:gd name="connsiteX1" fmla="*/ 983 w 10000"/>
              <a:gd name="connsiteY1" fmla="*/ 8397 h 10000"/>
              <a:gd name="connsiteX2" fmla="*/ 606 w 10000"/>
              <a:gd name="connsiteY2" fmla="*/ 8504 h 10000"/>
              <a:gd name="connsiteX3" fmla="*/ 1061 w 10000"/>
              <a:gd name="connsiteY3" fmla="*/ 8358 h 10000"/>
              <a:gd name="connsiteX4" fmla="*/ 2146 w 10000"/>
              <a:gd name="connsiteY4" fmla="*/ 10000 h 10000"/>
              <a:gd name="connsiteX5" fmla="*/ 2496 w 10000"/>
              <a:gd name="connsiteY5" fmla="*/ 8136 h 10000"/>
              <a:gd name="connsiteX6" fmla="*/ 4601 w 10000"/>
              <a:gd name="connsiteY6" fmla="*/ 8603 h 10000"/>
              <a:gd name="connsiteX7" fmla="*/ 6004 w 10000"/>
              <a:gd name="connsiteY7" fmla="*/ 8136 h 10000"/>
              <a:gd name="connsiteX8" fmla="*/ 7057 w 10000"/>
              <a:gd name="connsiteY8" fmla="*/ 6273 h 10000"/>
              <a:gd name="connsiteX9" fmla="*/ 9004 w 10000"/>
              <a:gd name="connsiteY9" fmla="*/ 7759 h 10000"/>
              <a:gd name="connsiteX10" fmla="*/ 10000 w 10000"/>
              <a:gd name="connsiteY10" fmla="*/ 6269 h 10000"/>
              <a:gd name="connsiteX11" fmla="*/ 9161 w 10000"/>
              <a:gd name="connsiteY11" fmla="*/ 1613 h 10000"/>
              <a:gd name="connsiteX12" fmla="*/ 6896 w 10000"/>
              <a:gd name="connsiteY12" fmla="*/ 4511 h 10000"/>
              <a:gd name="connsiteX13" fmla="*/ 7317 w 10000"/>
              <a:gd name="connsiteY13" fmla="*/ 5047 h 10000"/>
              <a:gd name="connsiteX14" fmla="*/ 5683 w 10000"/>
              <a:gd name="connsiteY14" fmla="*/ 3757 h 10000"/>
              <a:gd name="connsiteX15" fmla="*/ 5128 w 10000"/>
              <a:gd name="connsiteY15" fmla="*/ 2454 h 10000"/>
              <a:gd name="connsiteX16" fmla="*/ 5062 w 10000"/>
              <a:gd name="connsiteY16" fmla="*/ 833 h 10000"/>
              <a:gd name="connsiteX17" fmla="*/ 3549 w 10000"/>
              <a:gd name="connsiteY17" fmla="*/ 215 h 10000"/>
              <a:gd name="connsiteX18" fmla="*/ 2146 w 10000"/>
              <a:gd name="connsiteY18" fmla="*/ 215 h 10000"/>
              <a:gd name="connsiteX19" fmla="*/ 1573 w 10000"/>
              <a:gd name="connsiteY19" fmla="*/ 2317 h 10000"/>
              <a:gd name="connsiteX20" fmla="*/ 1445 w 10000"/>
              <a:gd name="connsiteY20" fmla="*/ 3010 h 10000"/>
              <a:gd name="connsiteX21" fmla="*/ 41 w 10000"/>
              <a:gd name="connsiteY21" fmla="*/ 3010 h 10000"/>
              <a:gd name="connsiteX22" fmla="*/ 351 w 10000"/>
              <a:gd name="connsiteY22" fmla="*/ 3729 h 10000"/>
              <a:gd name="connsiteX23" fmla="*/ 341 w 10000"/>
              <a:gd name="connsiteY23" fmla="*/ 5046 h 10000"/>
              <a:gd name="connsiteX24" fmla="*/ 84 w 10000"/>
              <a:gd name="connsiteY24" fmla="*/ 5349 h 10000"/>
              <a:gd name="connsiteX0" fmla="*/ 84 w 10000"/>
              <a:gd name="connsiteY0" fmla="*/ 5349 h 8633"/>
              <a:gd name="connsiteX1" fmla="*/ 983 w 10000"/>
              <a:gd name="connsiteY1" fmla="*/ 8397 h 8633"/>
              <a:gd name="connsiteX2" fmla="*/ 606 w 10000"/>
              <a:gd name="connsiteY2" fmla="*/ 8504 h 8633"/>
              <a:gd name="connsiteX3" fmla="*/ 1061 w 10000"/>
              <a:gd name="connsiteY3" fmla="*/ 8358 h 8633"/>
              <a:gd name="connsiteX4" fmla="*/ 2401 w 10000"/>
              <a:gd name="connsiteY4" fmla="*/ 8622 h 8633"/>
              <a:gd name="connsiteX5" fmla="*/ 2496 w 10000"/>
              <a:gd name="connsiteY5" fmla="*/ 8136 h 8633"/>
              <a:gd name="connsiteX6" fmla="*/ 4601 w 10000"/>
              <a:gd name="connsiteY6" fmla="*/ 8603 h 8633"/>
              <a:gd name="connsiteX7" fmla="*/ 6004 w 10000"/>
              <a:gd name="connsiteY7" fmla="*/ 8136 h 8633"/>
              <a:gd name="connsiteX8" fmla="*/ 7057 w 10000"/>
              <a:gd name="connsiteY8" fmla="*/ 6273 h 8633"/>
              <a:gd name="connsiteX9" fmla="*/ 9004 w 10000"/>
              <a:gd name="connsiteY9" fmla="*/ 7759 h 8633"/>
              <a:gd name="connsiteX10" fmla="*/ 10000 w 10000"/>
              <a:gd name="connsiteY10" fmla="*/ 6269 h 8633"/>
              <a:gd name="connsiteX11" fmla="*/ 9161 w 10000"/>
              <a:gd name="connsiteY11" fmla="*/ 1613 h 8633"/>
              <a:gd name="connsiteX12" fmla="*/ 6896 w 10000"/>
              <a:gd name="connsiteY12" fmla="*/ 4511 h 8633"/>
              <a:gd name="connsiteX13" fmla="*/ 7317 w 10000"/>
              <a:gd name="connsiteY13" fmla="*/ 5047 h 8633"/>
              <a:gd name="connsiteX14" fmla="*/ 5683 w 10000"/>
              <a:gd name="connsiteY14" fmla="*/ 3757 h 8633"/>
              <a:gd name="connsiteX15" fmla="*/ 5128 w 10000"/>
              <a:gd name="connsiteY15" fmla="*/ 2454 h 8633"/>
              <a:gd name="connsiteX16" fmla="*/ 5062 w 10000"/>
              <a:gd name="connsiteY16" fmla="*/ 833 h 8633"/>
              <a:gd name="connsiteX17" fmla="*/ 3549 w 10000"/>
              <a:gd name="connsiteY17" fmla="*/ 215 h 8633"/>
              <a:gd name="connsiteX18" fmla="*/ 2146 w 10000"/>
              <a:gd name="connsiteY18" fmla="*/ 215 h 8633"/>
              <a:gd name="connsiteX19" fmla="*/ 1573 w 10000"/>
              <a:gd name="connsiteY19" fmla="*/ 2317 h 8633"/>
              <a:gd name="connsiteX20" fmla="*/ 1445 w 10000"/>
              <a:gd name="connsiteY20" fmla="*/ 3010 h 8633"/>
              <a:gd name="connsiteX21" fmla="*/ 41 w 10000"/>
              <a:gd name="connsiteY21" fmla="*/ 3010 h 8633"/>
              <a:gd name="connsiteX22" fmla="*/ 351 w 10000"/>
              <a:gd name="connsiteY22" fmla="*/ 3729 h 8633"/>
              <a:gd name="connsiteX23" fmla="*/ 341 w 10000"/>
              <a:gd name="connsiteY23" fmla="*/ 5046 h 8633"/>
              <a:gd name="connsiteX24" fmla="*/ 84 w 10000"/>
              <a:gd name="connsiteY24" fmla="*/ 5349 h 8633"/>
              <a:gd name="connsiteX0" fmla="*/ 59 w 9975"/>
              <a:gd name="connsiteY0" fmla="*/ 6196 h 10000"/>
              <a:gd name="connsiteX1" fmla="*/ 958 w 9975"/>
              <a:gd name="connsiteY1" fmla="*/ 9727 h 10000"/>
              <a:gd name="connsiteX2" fmla="*/ 581 w 9975"/>
              <a:gd name="connsiteY2" fmla="*/ 9851 h 10000"/>
              <a:gd name="connsiteX3" fmla="*/ 1036 w 9975"/>
              <a:gd name="connsiteY3" fmla="*/ 9681 h 10000"/>
              <a:gd name="connsiteX4" fmla="*/ 2376 w 9975"/>
              <a:gd name="connsiteY4" fmla="*/ 9987 h 10000"/>
              <a:gd name="connsiteX5" fmla="*/ 2471 w 9975"/>
              <a:gd name="connsiteY5" fmla="*/ 9424 h 10000"/>
              <a:gd name="connsiteX6" fmla="*/ 4576 w 9975"/>
              <a:gd name="connsiteY6" fmla="*/ 9965 h 10000"/>
              <a:gd name="connsiteX7" fmla="*/ 5979 w 9975"/>
              <a:gd name="connsiteY7" fmla="*/ 9424 h 10000"/>
              <a:gd name="connsiteX8" fmla="*/ 7032 w 9975"/>
              <a:gd name="connsiteY8" fmla="*/ 7266 h 10000"/>
              <a:gd name="connsiteX9" fmla="*/ 8979 w 9975"/>
              <a:gd name="connsiteY9" fmla="*/ 8988 h 10000"/>
              <a:gd name="connsiteX10" fmla="*/ 9975 w 9975"/>
              <a:gd name="connsiteY10" fmla="*/ 7262 h 10000"/>
              <a:gd name="connsiteX11" fmla="*/ 9136 w 9975"/>
              <a:gd name="connsiteY11" fmla="*/ 1868 h 10000"/>
              <a:gd name="connsiteX12" fmla="*/ 6871 w 9975"/>
              <a:gd name="connsiteY12" fmla="*/ 5225 h 10000"/>
              <a:gd name="connsiteX13" fmla="*/ 7292 w 9975"/>
              <a:gd name="connsiteY13" fmla="*/ 5846 h 10000"/>
              <a:gd name="connsiteX14" fmla="*/ 5658 w 9975"/>
              <a:gd name="connsiteY14" fmla="*/ 4352 h 10000"/>
              <a:gd name="connsiteX15" fmla="*/ 5103 w 9975"/>
              <a:gd name="connsiteY15" fmla="*/ 2843 h 10000"/>
              <a:gd name="connsiteX16" fmla="*/ 5037 w 9975"/>
              <a:gd name="connsiteY16" fmla="*/ 965 h 10000"/>
              <a:gd name="connsiteX17" fmla="*/ 3524 w 9975"/>
              <a:gd name="connsiteY17" fmla="*/ 249 h 10000"/>
              <a:gd name="connsiteX18" fmla="*/ 2121 w 9975"/>
              <a:gd name="connsiteY18" fmla="*/ 249 h 10000"/>
              <a:gd name="connsiteX19" fmla="*/ 1548 w 9975"/>
              <a:gd name="connsiteY19" fmla="*/ 2684 h 10000"/>
              <a:gd name="connsiteX20" fmla="*/ 1420 w 9975"/>
              <a:gd name="connsiteY20" fmla="*/ 3487 h 10000"/>
              <a:gd name="connsiteX21" fmla="*/ 16 w 9975"/>
              <a:gd name="connsiteY21" fmla="*/ 3487 h 10000"/>
              <a:gd name="connsiteX22" fmla="*/ 1668 w 9975"/>
              <a:gd name="connsiteY22" fmla="*/ 4423 h 10000"/>
              <a:gd name="connsiteX23" fmla="*/ 316 w 9975"/>
              <a:gd name="connsiteY23" fmla="*/ 5845 h 10000"/>
              <a:gd name="connsiteX24" fmla="*/ 59 w 9975"/>
              <a:gd name="connsiteY24" fmla="*/ 6196 h 10000"/>
              <a:gd name="connsiteX0" fmla="*/ 1197 w 10000"/>
              <a:gd name="connsiteY0" fmla="*/ 6453 h 10000"/>
              <a:gd name="connsiteX1" fmla="*/ 960 w 10000"/>
              <a:gd name="connsiteY1" fmla="*/ 9727 h 10000"/>
              <a:gd name="connsiteX2" fmla="*/ 582 w 10000"/>
              <a:gd name="connsiteY2" fmla="*/ 9851 h 10000"/>
              <a:gd name="connsiteX3" fmla="*/ 1039 w 10000"/>
              <a:gd name="connsiteY3" fmla="*/ 9681 h 10000"/>
              <a:gd name="connsiteX4" fmla="*/ 2382 w 10000"/>
              <a:gd name="connsiteY4" fmla="*/ 9987 h 10000"/>
              <a:gd name="connsiteX5" fmla="*/ 2477 w 10000"/>
              <a:gd name="connsiteY5" fmla="*/ 9424 h 10000"/>
              <a:gd name="connsiteX6" fmla="*/ 4587 w 10000"/>
              <a:gd name="connsiteY6" fmla="*/ 9965 h 10000"/>
              <a:gd name="connsiteX7" fmla="*/ 5994 w 10000"/>
              <a:gd name="connsiteY7" fmla="*/ 9424 h 10000"/>
              <a:gd name="connsiteX8" fmla="*/ 7050 w 10000"/>
              <a:gd name="connsiteY8" fmla="*/ 7266 h 10000"/>
              <a:gd name="connsiteX9" fmla="*/ 9002 w 10000"/>
              <a:gd name="connsiteY9" fmla="*/ 8988 h 10000"/>
              <a:gd name="connsiteX10" fmla="*/ 10000 w 10000"/>
              <a:gd name="connsiteY10" fmla="*/ 7262 h 10000"/>
              <a:gd name="connsiteX11" fmla="*/ 9159 w 10000"/>
              <a:gd name="connsiteY11" fmla="*/ 1868 h 10000"/>
              <a:gd name="connsiteX12" fmla="*/ 6888 w 10000"/>
              <a:gd name="connsiteY12" fmla="*/ 5225 h 10000"/>
              <a:gd name="connsiteX13" fmla="*/ 7310 w 10000"/>
              <a:gd name="connsiteY13" fmla="*/ 5846 h 10000"/>
              <a:gd name="connsiteX14" fmla="*/ 5672 w 10000"/>
              <a:gd name="connsiteY14" fmla="*/ 4352 h 10000"/>
              <a:gd name="connsiteX15" fmla="*/ 5116 w 10000"/>
              <a:gd name="connsiteY15" fmla="*/ 2843 h 10000"/>
              <a:gd name="connsiteX16" fmla="*/ 5050 w 10000"/>
              <a:gd name="connsiteY16" fmla="*/ 965 h 10000"/>
              <a:gd name="connsiteX17" fmla="*/ 3533 w 10000"/>
              <a:gd name="connsiteY17" fmla="*/ 249 h 10000"/>
              <a:gd name="connsiteX18" fmla="*/ 2126 w 10000"/>
              <a:gd name="connsiteY18" fmla="*/ 249 h 10000"/>
              <a:gd name="connsiteX19" fmla="*/ 1552 w 10000"/>
              <a:gd name="connsiteY19" fmla="*/ 2684 h 10000"/>
              <a:gd name="connsiteX20" fmla="*/ 1424 w 10000"/>
              <a:gd name="connsiteY20" fmla="*/ 3487 h 10000"/>
              <a:gd name="connsiteX21" fmla="*/ 16 w 10000"/>
              <a:gd name="connsiteY21" fmla="*/ 3487 h 10000"/>
              <a:gd name="connsiteX22" fmla="*/ 1672 w 10000"/>
              <a:gd name="connsiteY22" fmla="*/ 4423 h 10000"/>
              <a:gd name="connsiteX23" fmla="*/ 317 w 10000"/>
              <a:gd name="connsiteY23" fmla="*/ 5845 h 10000"/>
              <a:gd name="connsiteX24" fmla="*/ 1197 w 10000"/>
              <a:gd name="connsiteY24" fmla="*/ 6453 h 10000"/>
              <a:gd name="connsiteX0" fmla="*/ 880 w 9683"/>
              <a:gd name="connsiteY0" fmla="*/ 6453 h 10000"/>
              <a:gd name="connsiteX1" fmla="*/ 643 w 9683"/>
              <a:gd name="connsiteY1" fmla="*/ 9727 h 10000"/>
              <a:gd name="connsiteX2" fmla="*/ 265 w 9683"/>
              <a:gd name="connsiteY2" fmla="*/ 9851 h 10000"/>
              <a:gd name="connsiteX3" fmla="*/ 722 w 9683"/>
              <a:gd name="connsiteY3" fmla="*/ 9681 h 10000"/>
              <a:gd name="connsiteX4" fmla="*/ 2065 w 9683"/>
              <a:gd name="connsiteY4" fmla="*/ 9987 h 10000"/>
              <a:gd name="connsiteX5" fmla="*/ 2160 w 9683"/>
              <a:gd name="connsiteY5" fmla="*/ 9424 h 10000"/>
              <a:gd name="connsiteX6" fmla="*/ 4270 w 9683"/>
              <a:gd name="connsiteY6" fmla="*/ 9965 h 10000"/>
              <a:gd name="connsiteX7" fmla="*/ 5677 w 9683"/>
              <a:gd name="connsiteY7" fmla="*/ 9424 h 10000"/>
              <a:gd name="connsiteX8" fmla="*/ 6733 w 9683"/>
              <a:gd name="connsiteY8" fmla="*/ 7266 h 10000"/>
              <a:gd name="connsiteX9" fmla="*/ 8685 w 9683"/>
              <a:gd name="connsiteY9" fmla="*/ 8988 h 10000"/>
              <a:gd name="connsiteX10" fmla="*/ 9683 w 9683"/>
              <a:gd name="connsiteY10" fmla="*/ 7262 h 10000"/>
              <a:gd name="connsiteX11" fmla="*/ 8842 w 9683"/>
              <a:gd name="connsiteY11" fmla="*/ 1868 h 10000"/>
              <a:gd name="connsiteX12" fmla="*/ 6571 w 9683"/>
              <a:gd name="connsiteY12" fmla="*/ 5225 h 10000"/>
              <a:gd name="connsiteX13" fmla="*/ 6993 w 9683"/>
              <a:gd name="connsiteY13" fmla="*/ 5846 h 10000"/>
              <a:gd name="connsiteX14" fmla="*/ 5355 w 9683"/>
              <a:gd name="connsiteY14" fmla="*/ 4352 h 10000"/>
              <a:gd name="connsiteX15" fmla="*/ 4799 w 9683"/>
              <a:gd name="connsiteY15" fmla="*/ 2843 h 10000"/>
              <a:gd name="connsiteX16" fmla="*/ 4733 w 9683"/>
              <a:gd name="connsiteY16" fmla="*/ 965 h 10000"/>
              <a:gd name="connsiteX17" fmla="*/ 3216 w 9683"/>
              <a:gd name="connsiteY17" fmla="*/ 249 h 10000"/>
              <a:gd name="connsiteX18" fmla="*/ 1809 w 9683"/>
              <a:gd name="connsiteY18" fmla="*/ 249 h 10000"/>
              <a:gd name="connsiteX19" fmla="*/ 1235 w 9683"/>
              <a:gd name="connsiteY19" fmla="*/ 2684 h 10000"/>
              <a:gd name="connsiteX20" fmla="*/ 1107 w 9683"/>
              <a:gd name="connsiteY20" fmla="*/ 3487 h 10000"/>
              <a:gd name="connsiteX21" fmla="*/ 954 w 9683"/>
              <a:gd name="connsiteY21" fmla="*/ 4284 h 10000"/>
              <a:gd name="connsiteX22" fmla="*/ 1355 w 9683"/>
              <a:gd name="connsiteY22" fmla="*/ 4423 h 10000"/>
              <a:gd name="connsiteX23" fmla="*/ 0 w 9683"/>
              <a:gd name="connsiteY23" fmla="*/ 5845 h 10000"/>
              <a:gd name="connsiteX24" fmla="*/ 880 w 9683"/>
              <a:gd name="connsiteY24" fmla="*/ 6453 h 10000"/>
              <a:gd name="connsiteX0" fmla="*/ 909 w 10000"/>
              <a:gd name="connsiteY0" fmla="*/ 6453 h 10000"/>
              <a:gd name="connsiteX1" fmla="*/ 664 w 10000"/>
              <a:gd name="connsiteY1" fmla="*/ 9727 h 10000"/>
              <a:gd name="connsiteX2" fmla="*/ 274 w 10000"/>
              <a:gd name="connsiteY2" fmla="*/ 9851 h 10000"/>
              <a:gd name="connsiteX3" fmla="*/ 746 w 10000"/>
              <a:gd name="connsiteY3" fmla="*/ 9681 h 10000"/>
              <a:gd name="connsiteX4" fmla="*/ 2133 w 10000"/>
              <a:gd name="connsiteY4" fmla="*/ 9987 h 10000"/>
              <a:gd name="connsiteX5" fmla="*/ 2231 w 10000"/>
              <a:gd name="connsiteY5" fmla="*/ 9424 h 10000"/>
              <a:gd name="connsiteX6" fmla="*/ 4410 w 10000"/>
              <a:gd name="connsiteY6" fmla="*/ 9965 h 10000"/>
              <a:gd name="connsiteX7" fmla="*/ 5863 w 10000"/>
              <a:gd name="connsiteY7" fmla="*/ 9424 h 10000"/>
              <a:gd name="connsiteX8" fmla="*/ 6953 w 10000"/>
              <a:gd name="connsiteY8" fmla="*/ 7266 h 10000"/>
              <a:gd name="connsiteX9" fmla="*/ 8612 w 10000"/>
              <a:gd name="connsiteY9" fmla="*/ 8836 h 10000"/>
              <a:gd name="connsiteX10" fmla="*/ 10000 w 10000"/>
              <a:gd name="connsiteY10" fmla="*/ 7262 h 10000"/>
              <a:gd name="connsiteX11" fmla="*/ 9131 w 10000"/>
              <a:gd name="connsiteY11" fmla="*/ 1868 h 10000"/>
              <a:gd name="connsiteX12" fmla="*/ 6786 w 10000"/>
              <a:gd name="connsiteY12" fmla="*/ 5225 h 10000"/>
              <a:gd name="connsiteX13" fmla="*/ 7222 w 10000"/>
              <a:gd name="connsiteY13" fmla="*/ 5846 h 10000"/>
              <a:gd name="connsiteX14" fmla="*/ 5530 w 10000"/>
              <a:gd name="connsiteY14" fmla="*/ 4352 h 10000"/>
              <a:gd name="connsiteX15" fmla="*/ 4956 w 10000"/>
              <a:gd name="connsiteY15" fmla="*/ 2843 h 10000"/>
              <a:gd name="connsiteX16" fmla="*/ 4888 w 10000"/>
              <a:gd name="connsiteY16" fmla="*/ 965 h 10000"/>
              <a:gd name="connsiteX17" fmla="*/ 3321 w 10000"/>
              <a:gd name="connsiteY17" fmla="*/ 249 h 10000"/>
              <a:gd name="connsiteX18" fmla="*/ 1868 w 10000"/>
              <a:gd name="connsiteY18" fmla="*/ 249 h 10000"/>
              <a:gd name="connsiteX19" fmla="*/ 1275 w 10000"/>
              <a:gd name="connsiteY19" fmla="*/ 2684 h 10000"/>
              <a:gd name="connsiteX20" fmla="*/ 1143 w 10000"/>
              <a:gd name="connsiteY20" fmla="*/ 3487 h 10000"/>
              <a:gd name="connsiteX21" fmla="*/ 985 w 10000"/>
              <a:gd name="connsiteY21" fmla="*/ 4284 h 10000"/>
              <a:gd name="connsiteX22" fmla="*/ 1399 w 10000"/>
              <a:gd name="connsiteY22" fmla="*/ 4423 h 10000"/>
              <a:gd name="connsiteX23" fmla="*/ 0 w 10000"/>
              <a:gd name="connsiteY23" fmla="*/ 5845 h 10000"/>
              <a:gd name="connsiteX24" fmla="*/ 909 w 10000"/>
              <a:gd name="connsiteY24" fmla="*/ 6453 h 10000"/>
              <a:gd name="connsiteX0" fmla="*/ 909 w 9202"/>
              <a:gd name="connsiteY0" fmla="*/ 6453 h 10000"/>
              <a:gd name="connsiteX1" fmla="*/ 664 w 9202"/>
              <a:gd name="connsiteY1" fmla="*/ 9727 h 10000"/>
              <a:gd name="connsiteX2" fmla="*/ 274 w 9202"/>
              <a:gd name="connsiteY2" fmla="*/ 9851 h 10000"/>
              <a:gd name="connsiteX3" fmla="*/ 746 w 9202"/>
              <a:gd name="connsiteY3" fmla="*/ 9681 h 10000"/>
              <a:gd name="connsiteX4" fmla="*/ 2133 w 9202"/>
              <a:gd name="connsiteY4" fmla="*/ 9987 h 10000"/>
              <a:gd name="connsiteX5" fmla="*/ 2231 w 9202"/>
              <a:gd name="connsiteY5" fmla="*/ 9424 h 10000"/>
              <a:gd name="connsiteX6" fmla="*/ 4410 w 9202"/>
              <a:gd name="connsiteY6" fmla="*/ 9965 h 10000"/>
              <a:gd name="connsiteX7" fmla="*/ 5863 w 9202"/>
              <a:gd name="connsiteY7" fmla="*/ 9424 h 10000"/>
              <a:gd name="connsiteX8" fmla="*/ 6953 w 9202"/>
              <a:gd name="connsiteY8" fmla="*/ 7266 h 10000"/>
              <a:gd name="connsiteX9" fmla="*/ 8612 w 9202"/>
              <a:gd name="connsiteY9" fmla="*/ 8836 h 10000"/>
              <a:gd name="connsiteX10" fmla="*/ 9003 w 9202"/>
              <a:gd name="connsiteY10" fmla="*/ 6266 h 10000"/>
              <a:gd name="connsiteX11" fmla="*/ 9131 w 9202"/>
              <a:gd name="connsiteY11" fmla="*/ 1868 h 10000"/>
              <a:gd name="connsiteX12" fmla="*/ 6786 w 9202"/>
              <a:gd name="connsiteY12" fmla="*/ 5225 h 10000"/>
              <a:gd name="connsiteX13" fmla="*/ 7222 w 9202"/>
              <a:gd name="connsiteY13" fmla="*/ 5846 h 10000"/>
              <a:gd name="connsiteX14" fmla="*/ 5530 w 9202"/>
              <a:gd name="connsiteY14" fmla="*/ 4352 h 10000"/>
              <a:gd name="connsiteX15" fmla="*/ 4956 w 9202"/>
              <a:gd name="connsiteY15" fmla="*/ 2843 h 10000"/>
              <a:gd name="connsiteX16" fmla="*/ 4888 w 9202"/>
              <a:gd name="connsiteY16" fmla="*/ 965 h 10000"/>
              <a:gd name="connsiteX17" fmla="*/ 3321 w 9202"/>
              <a:gd name="connsiteY17" fmla="*/ 249 h 10000"/>
              <a:gd name="connsiteX18" fmla="*/ 1868 w 9202"/>
              <a:gd name="connsiteY18" fmla="*/ 249 h 10000"/>
              <a:gd name="connsiteX19" fmla="*/ 1275 w 9202"/>
              <a:gd name="connsiteY19" fmla="*/ 2684 h 10000"/>
              <a:gd name="connsiteX20" fmla="*/ 1143 w 9202"/>
              <a:gd name="connsiteY20" fmla="*/ 3487 h 10000"/>
              <a:gd name="connsiteX21" fmla="*/ 985 w 9202"/>
              <a:gd name="connsiteY21" fmla="*/ 4284 h 10000"/>
              <a:gd name="connsiteX22" fmla="*/ 1399 w 9202"/>
              <a:gd name="connsiteY22" fmla="*/ 4423 h 10000"/>
              <a:gd name="connsiteX23" fmla="*/ 0 w 9202"/>
              <a:gd name="connsiteY23" fmla="*/ 5845 h 10000"/>
              <a:gd name="connsiteX24" fmla="*/ 909 w 9202"/>
              <a:gd name="connsiteY24" fmla="*/ 6453 h 10000"/>
              <a:gd name="connsiteX0" fmla="*/ 988 w 9784"/>
              <a:gd name="connsiteY0" fmla="*/ 6453 h 10000"/>
              <a:gd name="connsiteX1" fmla="*/ 722 w 9784"/>
              <a:gd name="connsiteY1" fmla="*/ 9727 h 10000"/>
              <a:gd name="connsiteX2" fmla="*/ 298 w 9784"/>
              <a:gd name="connsiteY2" fmla="*/ 9851 h 10000"/>
              <a:gd name="connsiteX3" fmla="*/ 811 w 9784"/>
              <a:gd name="connsiteY3" fmla="*/ 9681 h 10000"/>
              <a:gd name="connsiteX4" fmla="*/ 2318 w 9784"/>
              <a:gd name="connsiteY4" fmla="*/ 9987 h 10000"/>
              <a:gd name="connsiteX5" fmla="*/ 2424 w 9784"/>
              <a:gd name="connsiteY5" fmla="*/ 9424 h 10000"/>
              <a:gd name="connsiteX6" fmla="*/ 4792 w 9784"/>
              <a:gd name="connsiteY6" fmla="*/ 9965 h 10000"/>
              <a:gd name="connsiteX7" fmla="*/ 6371 w 9784"/>
              <a:gd name="connsiteY7" fmla="*/ 9424 h 10000"/>
              <a:gd name="connsiteX8" fmla="*/ 7556 w 9784"/>
              <a:gd name="connsiteY8" fmla="*/ 7266 h 10000"/>
              <a:gd name="connsiteX9" fmla="*/ 9359 w 9784"/>
              <a:gd name="connsiteY9" fmla="*/ 8836 h 10000"/>
              <a:gd name="connsiteX10" fmla="*/ 9784 w 9784"/>
              <a:gd name="connsiteY10" fmla="*/ 6266 h 10000"/>
              <a:gd name="connsiteX11" fmla="*/ 9092 w 9784"/>
              <a:gd name="connsiteY11" fmla="*/ 4080 h 10000"/>
              <a:gd name="connsiteX12" fmla="*/ 7374 w 9784"/>
              <a:gd name="connsiteY12" fmla="*/ 5225 h 10000"/>
              <a:gd name="connsiteX13" fmla="*/ 7848 w 9784"/>
              <a:gd name="connsiteY13" fmla="*/ 5846 h 10000"/>
              <a:gd name="connsiteX14" fmla="*/ 6010 w 9784"/>
              <a:gd name="connsiteY14" fmla="*/ 4352 h 10000"/>
              <a:gd name="connsiteX15" fmla="*/ 5386 w 9784"/>
              <a:gd name="connsiteY15" fmla="*/ 2843 h 10000"/>
              <a:gd name="connsiteX16" fmla="*/ 5312 w 9784"/>
              <a:gd name="connsiteY16" fmla="*/ 965 h 10000"/>
              <a:gd name="connsiteX17" fmla="*/ 3609 w 9784"/>
              <a:gd name="connsiteY17" fmla="*/ 249 h 10000"/>
              <a:gd name="connsiteX18" fmla="*/ 2030 w 9784"/>
              <a:gd name="connsiteY18" fmla="*/ 249 h 10000"/>
              <a:gd name="connsiteX19" fmla="*/ 1386 w 9784"/>
              <a:gd name="connsiteY19" fmla="*/ 2684 h 10000"/>
              <a:gd name="connsiteX20" fmla="*/ 1242 w 9784"/>
              <a:gd name="connsiteY20" fmla="*/ 3487 h 10000"/>
              <a:gd name="connsiteX21" fmla="*/ 1070 w 9784"/>
              <a:gd name="connsiteY21" fmla="*/ 4284 h 10000"/>
              <a:gd name="connsiteX22" fmla="*/ 1520 w 9784"/>
              <a:gd name="connsiteY22" fmla="*/ 4423 h 10000"/>
              <a:gd name="connsiteX23" fmla="*/ 0 w 9784"/>
              <a:gd name="connsiteY23" fmla="*/ 5845 h 10000"/>
              <a:gd name="connsiteX24" fmla="*/ 988 w 9784"/>
              <a:gd name="connsiteY24" fmla="*/ 6453 h 10000"/>
              <a:gd name="connsiteX0" fmla="*/ 1010 w 10000"/>
              <a:gd name="connsiteY0" fmla="*/ 6453 h 10000"/>
              <a:gd name="connsiteX1" fmla="*/ 738 w 10000"/>
              <a:gd name="connsiteY1" fmla="*/ 9727 h 10000"/>
              <a:gd name="connsiteX2" fmla="*/ 305 w 10000"/>
              <a:gd name="connsiteY2" fmla="*/ 9851 h 10000"/>
              <a:gd name="connsiteX3" fmla="*/ 829 w 10000"/>
              <a:gd name="connsiteY3" fmla="*/ 9681 h 10000"/>
              <a:gd name="connsiteX4" fmla="*/ 2369 w 10000"/>
              <a:gd name="connsiteY4" fmla="*/ 9987 h 10000"/>
              <a:gd name="connsiteX5" fmla="*/ 2478 w 10000"/>
              <a:gd name="connsiteY5" fmla="*/ 9424 h 10000"/>
              <a:gd name="connsiteX6" fmla="*/ 4898 w 10000"/>
              <a:gd name="connsiteY6" fmla="*/ 9965 h 10000"/>
              <a:gd name="connsiteX7" fmla="*/ 6512 w 10000"/>
              <a:gd name="connsiteY7" fmla="*/ 9424 h 10000"/>
              <a:gd name="connsiteX8" fmla="*/ 7723 w 10000"/>
              <a:gd name="connsiteY8" fmla="*/ 7266 h 10000"/>
              <a:gd name="connsiteX9" fmla="*/ 9566 w 10000"/>
              <a:gd name="connsiteY9" fmla="*/ 8836 h 10000"/>
              <a:gd name="connsiteX10" fmla="*/ 10000 w 10000"/>
              <a:gd name="connsiteY10" fmla="*/ 6266 h 10000"/>
              <a:gd name="connsiteX11" fmla="*/ 9293 w 10000"/>
              <a:gd name="connsiteY11" fmla="*/ 4080 h 10000"/>
              <a:gd name="connsiteX12" fmla="*/ 7273 w 10000"/>
              <a:gd name="connsiteY12" fmla="*/ 6329 h 10000"/>
              <a:gd name="connsiteX13" fmla="*/ 8021 w 10000"/>
              <a:gd name="connsiteY13" fmla="*/ 5846 h 10000"/>
              <a:gd name="connsiteX14" fmla="*/ 6143 w 10000"/>
              <a:gd name="connsiteY14" fmla="*/ 4352 h 10000"/>
              <a:gd name="connsiteX15" fmla="*/ 5505 w 10000"/>
              <a:gd name="connsiteY15" fmla="*/ 2843 h 10000"/>
              <a:gd name="connsiteX16" fmla="*/ 5429 w 10000"/>
              <a:gd name="connsiteY16" fmla="*/ 965 h 10000"/>
              <a:gd name="connsiteX17" fmla="*/ 3689 w 10000"/>
              <a:gd name="connsiteY17" fmla="*/ 249 h 10000"/>
              <a:gd name="connsiteX18" fmla="*/ 2075 w 10000"/>
              <a:gd name="connsiteY18" fmla="*/ 249 h 10000"/>
              <a:gd name="connsiteX19" fmla="*/ 1417 w 10000"/>
              <a:gd name="connsiteY19" fmla="*/ 2684 h 10000"/>
              <a:gd name="connsiteX20" fmla="*/ 1269 w 10000"/>
              <a:gd name="connsiteY20" fmla="*/ 3487 h 10000"/>
              <a:gd name="connsiteX21" fmla="*/ 1094 w 10000"/>
              <a:gd name="connsiteY21" fmla="*/ 4284 h 10000"/>
              <a:gd name="connsiteX22" fmla="*/ 1554 w 10000"/>
              <a:gd name="connsiteY22" fmla="*/ 4423 h 10000"/>
              <a:gd name="connsiteX23" fmla="*/ 0 w 10000"/>
              <a:gd name="connsiteY23" fmla="*/ 5845 h 10000"/>
              <a:gd name="connsiteX24" fmla="*/ 1010 w 10000"/>
              <a:gd name="connsiteY24" fmla="*/ 6453 h 10000"/>
              <a:gd name="connsiteX0" fmla="*/ 1010 w 10000"/>
              <a:gd name="connsiteY0" fmla="*/ 6453 h 10000"/>
              <a:gd name="connsiteX1" fmla="*/ 738 w 10000"/>
              <a:gd name="connsiteY1" fmla="*/ 9727 h 10000"/>
              <a:gd name="connsiteX2" fmla="*/ 305 w 10000"/>
              <a:gd name="connsiteY2" fmla="*/ 9851 h 10000"/>
              <a:gd name="connsiteX3" fmla="*/ 829 w 10000"/>
              <a:gd name="connsiteY3" fmla="*/ 9681 h 10000"/>
              <a:gd name="connsiteX4" fmla="*/ 2369 w 10000"/>
              <a:gd name="connsiteY4" fmla="*/ 9987 h 10000"/>
              <a:gd name="connsiteX5" fmla="*/ 2478 w 10000"/>
              <a:gd name="connsiteY5" fmla="*/ 9424 h 10000"/>
              <a:gd name="connsiteX6" fmla="*/ 4898 w 10000"/>
              <a:gd name="connsiteY6" fmla="*/ 9965 h 10000"/>
              <a:gd name="connsiteX7" fmla="*/ 6512 w 10000"/>
              <a:gd name="connsiteY7" fmla="*/ 9424 h 10000"/>
              <a:gd name="connsiteX8" fmla="*/ 7723 w 10000"/>
              <a:gd name="connsiteY8" fmla="*/ 7266 h 10000"/>
              <a:gd name="connsiteX9" fmla="*/ 9566 w 10000"/>
              <a:gd name="connsiteY9" fmla="*/ 8836 h 10000"/>
              <a:gd name="connsiteX10" fmla="*/ 10000 w 10000"/>
              <a:gd name="connsiteY10" fmla="*/ 6266 h 10000"/>
              <a:gd name="connsiteX11" fmla="*/ 9293 w 10000"/>
              <a:gd name="connsiteY11" fmla="*/ 4080 h 10000"/>
              <a:gd name="connsiteX12" fmla="*/ 7273 w 10000"/>
              <a:gd name="connsiteY12" fmla="*/ 6329 h 10000"/>
              <a:gd name="connsiteX13" fmla="*/ 8021 w 10000"/>
              <a:gd name="connsiteY13" fmla="*/ 5846 h 10000"/>
              <a:gd name="connsiteX14" fmla="*/ 6143 w 10000"/>
              <a:gd name="connsiteY14" fmla="*/ 4352 h 10000"/>
              <a:gd name="connsiteX15" fmla="*/ 5505 w 10000"/>
              <a:gd name="connsiteY15" fmla="*/ 2843 h 10000"/>
              <a:gd name="connsiteX16" fmla="*/ 5429 w 10000"/>
              <a:gd name="connsiteY16" fmla="*/ 965 h 10000"/>
              <a:gd name="connsiteX17" fmla="*/ 3689 w 10000"/>
              <a:gd name="connsiteY17" fmla="*/ 249 h 10000"/>
              <a:gd name="connsiteX18" fmla="*/ 2075 w 10000"/>
              <a:gd name="connsiteY18" fmla="*/ 249 h 10000"/>
              <a:gd name="connsiteX19" fmla="*/ 1417 w 10000"/>
              <a:gd name="connsiteY19" fmla="*/ 2684 h 10000"/>
              <a:gd name="connsiteX20" fmla="*/ 1269 w 10000"/>
              <a:gd name="connsiteY20" fmla="*/ 3487 h 10000"/>
              <a:gd name="connsiteX21" fmla="*/ 1094 w 10000"/>
              <a:gd name="connsiteY21" fmla="*/ 4284 h 10000"/>
              <a:gd name="connsiteX22" fmla="*/ 1554 w 10000"/>
              <a:gd name="connsiteY22" fmla="*/ 4423 h 10000"/>
              <a:gd name="connsiteX23" fmla="*/ 0 w 10000"/>
              <a:gd name="connsiteY23" fmla="*/ 5845 h 10000"/>
              <a:gd name="connsiteX24" fmla="*/ 1010 w 10000"/>
              <a:gd name="connsiteY24" fmla="*/ 6453 h 10000"/>
              <a:gd name="connsiteX0" fmla="*/ 1010 w 10000"/>
              <a:gd name="connsiteY0" fmla="*/ 6453 h 10000"/>
              <a:gd name="connsiteX1" fmla="*/ 738 w 10000"/>
              <a:gd name="connsiteY1" fmla="*/ 9727 h 10000"/>
              <a:gd name="connsiteX2" fmla="*/ 305 w 10000"/>
              <a:gd name="connsiteY2" fmla="*/ 9851 h 10000"/>
              <a:gd name="connsiteX3" fmla="*/ 829 w 10000"/>
              <a:gd name="connsiteY3" fmla="*/ 9681 h 10000"/>
              <a:gd name="connsiteX4" fmla="*/ 2369 w 10000"/>
              <a:gd name="connsiteY4" fmla="*/ 9987 h 10000"/>
              <a:gd name="connsiteX5" fmla="*/ 2478 w 10000"/>
              <a:gd name="connsiteY5" fmla="*/ 9424 h 10000"/>
              <a:gd name="connsiteX6" fmla="*/ 4898 w 10000"/>
              <a:gd name="connsiteY6" fmla="*/ 9965 h 10000"/>
              <a:gd name="connsiteX7" fmla="*/ 6512 w 10000"/>
              <a:gd name="connsiteY7" fmla="*/ 9424 h 10000"/>
              <a:gd name="connsiteX8" fmla="*/ 7723 w 10000"/>
              <a:gd name="connsiteY8" fmla="*/ 7266 h 10000"/>
              <a:gd name="connsiteX9" fmla="*/ 9566 w 10000"/>
              <a:gd name="connsiteY9" fmla="*/ 8836 h 10000"/>
              <a:gd name="connsiteX10" fmla="*/ 10000 w 10000"/>
              <a:gd name="connsiteY10" fmla="*/ 6266 h 10000"/>
              <a:gd name="connsiteX11" fmla="*/ 9293 w 10000"/>
              <a:gd name="connsiteY11" fmla="*/ 4080 h 10000"/>
              <a:gd name="connsiteX12" fmla="*/ 7273 w 10000"/>
              <a:gd name="connsiteY12" fmla="*/ 6329 h 10000"/>
              <a:gd name="connsiteX13" fmla="*/ 8021 w 10000"/>
              <a:gd name="connsiteY13" fmla="*/ 5846 h 10000"/>
              <a:gd name="connsiteX14" fmla="*/ 6143 w 10000"/>
              <a:gd name="connsiteY14" fmla="*/ 4352 h 10000"/>
              <a:gd name="connsiteX15" fmla="*/ 5505 w 10000"/>
              <a:gd name="connsiteY15" fmla="*/ 2843 h 10000"/>
              <a:gd name="connsiteX16" fmla="*/ 5260 w 10000"/>
              <a:gd name="connsiteY16" fmla="*/ 2740 h 10000"/>
              <a:gd name="connsiteX17" fmla="*/ 3689 w 10000"/>
              <a:gd name="connsiteY17" fmla="*/ 249 h 10000"/>
              <a:gd name="connsiteX18" fmla="*/ 2075 w 10000"/>
              <a:gd name="connsiteY18" fmla="*/ 249 h 10000"/>
              <a:gd name="connsiteX19" fmla="*/ 1417 w 10000"/>
              <a:gd name="connsiteY19" fmla="*/ 2684 h 10000"/>
              <a:gd name="connsiteX20" fmla="*/ 1269 w 10000"/>
              <a:gd name="connsiteY20" fmla="*/ 3487 h 10000"/>
              <a:gd name="connsiteX21" fmla="*/ 1094 w 10000"/>
              <a:gd name="connsiteY21" fmla="*/ 4284 h 10000"/>
              <a:gd name="connsiteX22" fmla="*/ 1554 w 10000"/>
              <a:gd name="connsiteY22" fmla="*/ 4423 h 10000"/>
              <a:gd name="connsiteX23" fmla="*/ 0 w 10000"/>
              <a:gd name="connsiteY23" fmla="*/ 5845 h 10000"/>
              <a:gd name="connsiteX24" fmla="*/ 1010 w 10000"/>
              <a:gd name="connsiteY24" fmla="*/ 6453 h 10000"/>
              <a:gd name="connsiteX0" fmla="*/ 1010 w 10000"/>
              <a:gd name="connsiteY0" fmla="*/ 6204 h 9751"/>
              <a:gd name="connsiteX1" fmla="*/ 738 w 10000"/>
              <a:gd name="connsiteY1" fmla="*/ 9478 h 9751"/>
              <a:gd name="connsiteX2" fmla="*/ 305 w 10000"/>
              <a:gd name="connsiteY2" fmla="*/ 9602 h 9751"/>
              <a:gd name="connsiteX3" fmla="*/ 829 w 10000"/>
              <a:gd name="connsiteY3" fmla="*/ 9432 h 9751"/>
              <a:gd name="connsiteX4" fmla="*/ 2369 w 10000"/>
              <a:gd name="connsiteY4" fmla="*/ 9738 h 9751"/>
              <a:gd name="connsiteX5" fmla="*/ 2478 w 10000"/>
              <a:gd name="connsiteY5" fmla="*/ 9175 h 9751"/>
              <a:gd name="connsiteX6" fmla="*/ 4898 w 10000"/>
              <a:gd name="connsiteY6" fmla="*/ 9716 h 9751"/>
              <a:gd name="connsiteX7" fmla="*/ 6512 w 10000"/>
              <a:gd name="connsiteY7" fmla="*/ 9175 h 9751"/>
              <a:gd name="connsiteX8" fmla="*/ 7723 w 10000"/>
              <a:gd name="connsiteY8" fmla="*/ 7017 h 9751"/>
              <a:gd name="connsiteX9" fmla="*/ 9566 w 10000"/>
              <a:gd name="connsiteY9" fmla="*/ 8587 h 9751"/>
              <a:gd name="connsiteX10" fmla="*/ 10000 w 10000"/>
              <a:gd name="connsiteY10" fmla="*/ 6017 h 9751"/>
              <a:gd name="connsiteX11" fmla="*/ 9293 w 10000"/>
              <a:gd name="connsiteY11" fmla="*/ 3831 h 9751"/>
              <a:gd name="connsiteX12" fmla="*/ 7273 w 10000"/>
              <a:gd name="connsiteY12" fmla="*/ 6080 h 9751"/>
              <a:gd name="connsiteX13" fmla="*/ 8021 w 10000"/>
              <a:gd name="connsiteY13" fmla="*/ 5597 h 9751"/>
              <a:gd name="connsiteX14" fmla="*/ 6143 w 10000"/>
              <a:gd name="connsiteY14" fmla="*/ 4103 h 9751"/>
              <a:gd name="connsiteX15" fmla="*/ 5505 w 10000"/>
              <a:gd name="connsiteY15" fmla="*/ 2594 h 9751"/>
              <a:gd name="connsiteX16" fmla="*/ 5260 w 10000"/>
              <a:gd name="connsiteY16" fmla="*/ 2491 h 9751"/>
              <a:gd name="connsiteX17" fmla="*/ 4325 w 10000"/>
              <a:gd name="connsiteY17" fmla="*/ 2274 h 9751"/>
              <a:gd name="connsiteX18" fmla="*/ 2075 w 10000"/>
              <a:gd name="connsiteY18" fmla="*/ 0 h 9751"/>
              <a:gd name="connsiteX19" fmla="*/ 1417 w 10000"/>
              <a:gd name="connsiteY19" fmla="*/ 2435 h 9751"/>
              <a:gd name="connsiteX20" fmla="*/ 1269 w 10000"/>
              <a:gd name="connsiteY20" fmla="*/ 3238 h 9751"/>
              <a:gd name="connsiteX21" fmla="*/ 1094 w 10000"/>
              <a:gd name="connsiteY21" fmla="*/ 4035 h 9751"/>
              <a:gd name="connsiteX22" fmla="*/ 1554 w 10000"/>
              <a:gd name="connsiteY22" fmla="*/ 4174 h 9751"/>
              <a:gd name="connsiteX23" fmla="*/ 0 w 10000"/>
              <a:gd name="connsiteY23" fmla="*/ 5596 h 9751"/>
              <a:gd name="connsiteX24" fmla="*/ 1010 w 10000"/>
              <a:gd name="connsiteY24" fmla="*/ 6204 h 9751"/>
              <a:gd name="connsiteX0" fmla="*/ 1010 w 10000"/>
              <a:gd name="connsiteY0" fmla="*/ 6362 h 10000"/>
              <a:gd name="connsiteX1" fmla="*/ 738 w 10000"/>
              <a:gd name="connsiteY1" fmla="*/ 9720 h 10000"/>
              <a:gd name="connsiteX2" fmla="*/ 305 w 10000"/>
              <a:gd name="connsiteY2" fmla="*/ 9847 h 10000"/>
              <a:gd name="connsiteX3" fmla="*/ 829 w 10000"/>
              <a:gd name="connsiteY3" fmla="*/ 9673 h 10000"/>
              <a:gd name="connsiteX4" fmla="*/ 2369 w 10000"/>
              <a:gd name="connsiteY4" fmla="*/ 9987 h 10000"/>
              <a:gd name="connsiteX5" fmla="*/ 2478 w 10000"/>
              <a:gd name="connsiteY5" fmla="*/ 9409 h 10000"/>
              <a:gd name="connsiteX6" fmla="*/ 4898 w 10000"/>
              <a:gd name="connsiteY6" fmla="*/ 9964 h 10000"/>
              <a:gd name="connsiteX7" fmla="*/ 6512 w 10000"/>
              <a:gd name="connsiteY7" fmla="*/ 9409 h 10000"/>
              <a:gd name="connsiteX8" fmla="*/ 7723 w 10000"/>
              <a:gd name="connsiteY8" fmla="*/ 7196 h 10000"/>
              <a:gd name="connsiteX9" fmla="*/ 9566 w 10000"/>
              <a:gd name="connsiteY9" fmla="*/ 8806 h 10000"/>
              <a:gd name="connsiteX10" fmla="*/ 10000 w 10000"/>
              <a:gd name="connsiteY10" fmla="*/ 6171 h 10000"/>
              <a:gd name="connsiteX11" fmla="*/ 9293 w 10000"/>
              <a:gd name="connsiteY11" fmla="*/ 3929 h 10000"/>
              <a:gd name="connsiteX12" fmla="*/ 7273 w 10000"/>
              <a:gd name="connsiteY12" fmla="*/ 6235 h 10000"/>
              <a:gd name="connsiteX13" fmla="*/ 8021 w 10000"/>
              <a:gd name="connsiteY13" fmla="*/ 5740 h 10000"/>
              <a:gd name="connsiteX14" fmla="*/ 6143 w 10000"/>
              <a:gd name="connsiteY14" fmla="*/ 4208 h 10000"/>
              <a:gd name="connsiteX15" fmla="*/ 5505 w 10000"/>
              <a:gd name="connsiteY15" fmla="*/ 2660 h 10000"/>
              <a:gd name="connsiteX16" fmla="*/ 5260 w 10000"/>
              <a:gd name="connsiteY16" fmla="*/ 2555 h 10000"/>
              <a:gd name="connsiteX17" fmla="*/ 4325 w 10000"/>
              <a:gd name="connsiteY17" fmla="*/ 2332 h 10000"/>
              <a:gd name="connsiteX18" fmla="*/ 2075 w 10000"/>
              <a:gd name="connsiteY18" fmla="*/ 0 h 10000"/>
              <a:gd name="connsiteX19" fmla="*/ 2472 w 10000"/>
              <a:gd name="connsiteY19" fmla="*/ 3303 h 10000"/>
              <a:gd name="connsiteX20" fmla="*/ 1269 w 10000"/>
              <a:gd name="connsiteY20" fmla="*/ 3321 h 10000"/>
              <a:gd name="connsiteX21" fmla="*/ 1094 w 10000"/>
              <a:gd name="connsiteY21" fmla="*/ 4138 h 10000"/>
              <a:gd name="connsiteX22" fmla="*/ 1554 w 10000"/>
              <a:gd name="connsiteY22" fmla="*/ 4281 h 10000"/>
              <a:gd name="connsiteX23" fmla="*/ 0 w 10000"/>
              <a:gd name="connsiteY23" fmla="*/ 5739 h 10000"/>
              <a:gd name="connsiteX24" fmla="*/ 1010 w 10000"/>
              <a:gd name="connsiteY24" fmla="*/ 6362 h 10000"/>
              <a:gd name="connsiteX0" fmla="*/ 1010 w 10000"/>
              <a:gd name="connsiteY0" fmla="*/ 4499 h 8137"/>
              <a:gd name="connsiteX1" fmla="*/ 738 w 10000"/>
              <a:gd name="connsiteY1" fmla="*/ 7857 h 8137"/>
              <a:gd name="connsiteX2" fmla="*/ 305 w 10000"/>
              <a:gd name="connsiteY2" fmla="*/ 7984 h 8137"/>
              <a:gd name="connsiteX3" fmla="*/ 829 w 10000"/>
              <a:gd name="connsiteY3" fmla="*/ 7810 h 8137"/>
              <a:gd name="connsiteX4" fmla="*/ 2369 w 10000"/>
              <a:gd name="connsiteY4" fmla="*/ 8124 h 8137"/>
              <a:gd name="connsiteX5" fmla="*/ 2478 w 10000"/>
              <a:gd name="connsiteY5" fmla="*/ 7546 h 8137"/>
              <a:gd name="connsiteX6" fmla="*/ 4898 w 10000"/>
              <a:gd name="connsiteY6" fmla="*/ 8101 h 8137"/>
              <a:gd name="connsiteX7" fmla="*/ 6512 w 10000"/>
              <a:gd name="connsiteY7" fmla="*/ 7546 h 8137"/>
              <a:gd name="connsiteX8" fmla="*/ 7723 w 10000"/>
              <a:gd name="connsiteY8" fmla="*/ 5333 h 8137"/>
              <a:gd name="connsiteX9" fmla="*/ 9566 w 10000"/>
              <a:gd name="connsiteY9" fmla="*/ 6943 h 8137"/>
              <a:gd name="connsiteX10" fmla="*/ 10000 w 10000"/>
              <a:gd name="connsiteY10" fmla="*/ 4308 h 8137"/>
              <a:gd name="connsiteX11" fmla="*/ 9293 w 10000"/>
              <a:gd name="connsiteY11" fmla="*/ 2066 h 8137"/>
              <a:gd name="connsiteX12" fmla="*/ 7273 w 10000"/>
              <a:gd name="connsiteY12" fmla="*/ 4372 h 8137"/>
              <a:gd name="connsiteX13" fmla="*/ 8021 w 10000"/>
              <a:gd name="connsiteY13" fmla="*/ 3877 h 8137"/>
              <a:gd name="connsiteX14" fmla="*/ 6143 w 10000"/>
              <a:gd name="connsiteY14" fmla="*/ 2345 h 8137"/>
              <a:gd name="connsiteX15" fmla="*/ 5505 w 10000"/>
              <a:gd name="connsiteY15" fmla="*/ 797 h 8137"/>
              <a:gd name="connsiteX16" fmla="*/ 5260 w 10000"/>
              <a:gd name="connsiteY16" fmla="*/ 692 h 8137"/>
              <a:gd name="connsiteX17" fmla="*/ 4325 w 10000"/>
              <a:gd name="connsiteY17" fmla="*/ 469 h 8137"/>
              <a:gd name="connsiteX18" fmla="*/ 3171 w 10000"/>
              <a:gd name="connsiteY18" fmla="*/ 0 h 8137"/>
              <a:gd name="connsiteX19" fmla="*/ 2472 w 10000"/>
              <a:gd name="connsiteY19" fmla="*/ 1440 h 8137"/>
              <a:gd name="connsiteX20" fmla="*/ 1269 w 10000"/>
              <a:gd name="connsiteY20" fmla="*/ 1458 h 8137"/>
              <a:gd name="connsiteX21" fmla="*/ 1094 w 10000"/>
              <a:gd name="connsiteY21" fmla="*/ 2275 h 8137"/>
              <a:gd name="connsiteX22" fmla="*/ 1554 w 10000"/>
              <a:gd name="connsiteY22" fmla="*/ 2418 h 8137"/>
              <a:gd name="connsiteX23" fmla="*/ 0 w 10000"/>
              <a:gd name="connsiteY23" fmla="*/ 3876 h 8137"/>
              <a:gd name="connsiteX24" fmla="*/ 1010 w 10000"/>
              <a:gd name="connsiteY24" fmla="*/ 4499 h 8137"/>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1094 w 10000"/>
              <a:gd name="connsiteY21" fmla="*/ 2796 h 10000"/>
              <a:gd name="connsiteX22" fmla="*/ 1554 w 10000"/>
              <a:gd name="connsiteY22" fmla="*/ 2972 h 10000"/>
              <a:gd name="connsiteX23" fmla="*/ 0 w 10000"/>
              <a:gd name="connsiteY23" fmla="*/ 4763 h 10000"/>
              <a:gd name="connsiteX24" fmla="*/ 1010 w 10000"/>
              <a:gd name="connsiteY24" fmla="*/ 5529 h 10000"/>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1094 w 10000"/>
              <a:gd name="connsiteY21" fmla="*/ 2796 h 10000"/>
              <a:gd name="connsiteX22" fmla="*/ 2331 w 10000"/>
              <a:gd name="connsiteY22" fmla="*/ 4409 h 10000"/>
              <a:gd name="connsiteX23" fmla="*/ 1554 w 10000"/>
              <a:gd name="connsiteY23" fmla="*/ 2972 h 10000"/>
              <a:gd name="connsiteX24" fmla="*/ 0 w 10000"/>
              <a:gd name="connsiteY24" fmla="*/ 4763 h 10000"/>
              <a:gd name="connsiteX25" fmla="*/ 1010 w 10000"/>
              <a:gd name="connsiteY25" fmla="*/ 5529 h 10000"/>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2267 w 10000"/>
              <a:gd name="connsiteY21" fmla="*/ 3898 h 10000"/>
              <a:gd name="connsiteX22" fmla="*/ 1094 w 10000"/>
              <a:gd name="connsiteY22" fmla="*/ 2796 h 10000"/>
              <a:gd name="connsiteX23" fmla="*/ 2331 w 10000"/>
              <a:gd name="connsiteY23" fmla="*/ 4409 h 10000"/>
              <a:gd name="connsiteX24" fmla="*/ 1554 w 10000"/>
              <a:gd name="connsiteY24" fmla="*/ 2972 h 10000"/>
              <a:gd name="connsiteX25" fmla="*/ 0 w 10000"/>
              <a:gd name="connsiteY25" fmla="*/ 4763 h 10000"/>
              <a:gd name="connsiteX26" fmla="*/ 1010 w 10000"/>
              <a:gd name="connsiteY26" fmla="*/ 5529 h 10000"/>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2267 w 10000"/>
              <a:gd name="connsiteY21" fmla="*/ 3898 h 10000"/>
              <a:gd name="connsiteX22" fmla="*/ 2454 w 10000"/>
              <a:gd name="connsiteY22" fmla="*/ 3694 h 10000"/>
              <a:gd name="connsiteX23" fmla="*/ 2331 w 10000"/>
              <a:gd name="connsiteY23" fmla="*/ 4409 h 10000"/>
              <a:gd name="connsiteX24" fmla="*/ 1554 w 10000"/>
              <a:gd name="connsiteY24" fmla="*/ 2972 h 10000"/>
              <a:gd name="connsiteX25" fmla="*/ 0 w 10000"/>
              <a:gd name="connsiteY25" fmla="*/ 4763 h 10000"/>
              <a:gd name="connsiteX26" fmla="*/ 1010 w 10000"/>
              <a:gd name="connsiteY26" fmla="*/ 5529 h 10000"/>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2267 w 10000"/>
              <a:gd name="connsiteY21" fmla="*/ 3898 h 10000"/>
              <a:gd name="connsiteX22" fmla="*/ 2454 w 10000"/>
              <a:gd name="connsiteY22" fmla="*/ 3694 h 10000"/>
              <a:gd name="connsiteX23" fmla="*/ 2331 w 10000"/>
              <a:gd name="connsiteY23" fmla="*/ 4409 h 10000"/>
              <a:gd name="connsiteX24" fmla="*/ 2156 w 10000"/>
              <a:gd name="connsiteY24" fmla="*/ 3663 h 10000"/>
              <a:gd name="connsiteX25" fmla="*/ 0 w 10000"/>
              <a:gd name="connsiteY25" fmla="*/ 4763 h 10000"/>
              <a:gd name="connsiteX26" fmla="*/ 1010 w 10000"/>
              <a:gd name="connsiteY26" fmla="*/ 5529 h 10000"/>
              <a:gd name="connsiteX0" fmla="*/ 713 w 9703"/>
              <a:gd name="connsiteY0" fmla="*/ 5529 h 10000"/>
              <a:gd name="connsiteX1" fmla="*/ 441 w 9703"/>
              <a:gd name="connsiteY1" fmla="*/ 9656 h 10000"/>
              <a:gd name="connsiteX2" fmla="*/ 8 w 9703"/>
              <a:gd name="connsiteY2" fmla="*/ 9812 h 10000"/>
              <a:gd name="connsiteX3" fmla="*/ 532 w 9703"/>
              <a:gd name="connsiteY3" fmla="*/ 9598 h 10000"/>
              <a:gd name="connsiteX4" fmla="*/ 2072 w 9703"/>
              <a:gd name="connsiteY4" fmla="*/ 9984 h 10000"/>
              <a:gd name="connsiteX5" fmla="*/ 2181 w 9703"/>
              <a:gd name="connsiteY5" fmla="*/ 9274 h 10000"/>
              <a:gd name="connsiteX6" fmla="*/ 4601 w 9703"/>
              <a:gd name="connsiteY6" fmla="*/ 9956 h 10000"/>
              <a:gd name="connsiteX7" fmla="*/ 6215 w 9703"/>
              <a:gd name="connsiteY7" fmla="*/ 9274 h 10000"/>
              <a:gd name="connsiteX8" fmla="*/ 7426 w 9703"/>
              <a:gd name="connsiteY8" fmla="*/ 6554 h 10000"/>
              <a:gd name="connsiteX9" fmla="*/ 9269 w 9703"/>
              <a:gd name="connsiteY9" fmla="*/ 8533 h 10000"/>
              <a:gd name="connsiteX10" fmla="*/ 9703 w 9703"/>
              <a:gd name="connsiteY10" fmla="*/ 5294 h 10000"/>
              <a:gd name="connsiteX11" fmla="*/ 8996 w 9703"/>
              <a:gd name="connsiteY11" fmla="*/ 2539 h 10000"/>
              <a:gd name="connsiteX12" fmla="*/ 6976 w 9703"/>
              <a:gd name="connsiteY12" fmla="*/ 5373 h 10000"/>
              <a:gd name="connsiteX13" fmla="*/ 7724 w 9703"/>
              <a:gd name="connsiteY13" fmla="*/ 4765 h 10000"/>
              <a:gd name="connsiteX14" fmla="*/ 5846 w 9703"/>
              <a:gd name="connsiteY14" fmla="*/ 2882 h 10000"/>
              <a:gd name="connsiteX15" fmla="*/ 5208 w 9703"/>
              <a:gd name="connsiteY15" fmla="*/ 979 h 10000"/>
              <a:gd name="connsiteX16" fmla="*/ 4963 w 9703"/>
              <a:gd name="connsiteY16" fmla="*/ 850 h 10000"/>
              <a:gd name="connsiteX17" fmla="*/ 4028 w 9703"/>
              <a:gd name="connsiteY17" fmla="*/ 576 h 10000"/>
              <a:gd name="connsiteX18" fmla="*/ 2874 w 9703"/>
              <a:gd name="connsiteY18" fmla="*/ 0 h 10000"/>
              <a:gd name="connsiteX19" fmla="*/ 2175 w 9703"/>
              <a:gd name="connsiteY19" fmla="*/ 1770 h 10000"/>
              <a:gd name="connsiteX20" fmla="*/ 1946 w 9703"/>
              <a:gd name="connsiteY20" fmla="*/ 3463 h 10000"/>
              <a:gd name="connsiteX21" fmla="*/ 1970 w 9703"/>
              <a:gd name="connsiteY21" fmla="*/ 3898 h 10000"/>
              <a:gd name="connsiteX22" fmla="*/ 2157 w 9703"/>
              <a:gd name="connsiteY22" fmla="*/ 3694 h 10000"/>
              <a:gd name="connsiteX23" fmla="*/ 2034 w 9703"/>
              <a:gd name="connsiteY23" fmla="*/ 4409 h 10000"/>
              <a:gd name="connsiteX24" fmla="*/ 1859 w 9703"/>
              <a:gd name="connsiteY24" fmla="*/ 3663 h 10000"/>
              <a:gd name="connsiteX25" fmla="*/ 2057 w 9703"/>
              <a:gd name="connsiteY25" fmla="*/ 4703 h 10000"/>
              <a:gd name="connsiteX26" fmla="*/ 713 w 9703"/>
              <a:gd name="connsiteY26" fmla="*/ 5529 h 10000"/>
              <a:gd name="connsiteX0" fmla="*/ 2050 w 10000"/>
              <a:gd name="connsiteY0" fmla="*/ 6546 h 10000"/>
              <a:gd name="connsiteX1" fmla="*/ 454 w 10000"/>
              <a:gd name="connsiteY1" fmla="*/ 9656 h 10000"/>
              <a:gd name="connsiteX2" fmla="*/ 8 w 10000"/>
              <a:gd name="connsiteY2" fmla="*/ 9812 h 10000"/>
              <a:gd name="connsiteX3" fmla="*/ 548 w 10000"/>
              <a:gd name="connsiteY3" fmla="*/ 9598 h 10000"/>
              <a:gd name="connsiteX4" fmla="*/ 2135 w 10000"/>
              <a:gd name="connsiteY4" fmla="*/ 9984 h 10000"/>
              <a:gd name="connsiteX5" fmla="*/ 2248 w 10000"/>
              <a:gd name="connsiteY5" fmla="*/ 9274 h 10000"/>
              <a:gd name="connsiteX6" fmla="*/ 4742 w 10000"/>
              <a:gd name="connsiteY6" fmla="*/ 9956 h 10000"/>
              <a:gd name="connsiteX7" fmla="*/ 6405 w 10000"/>
              <a:gd name="connsiteY7" fmla="*/ 9274 h 10000"/>
              <a:gd name="connsiteX8" fmla="*/ 7653 w 10000"/>
              <a:gd name="connsiteY8" fmla="*/ 6554 h 10000"/>
              <a:gd name="connsiteX9" fmla="*/ 9553 w 10000"/>
              <a:gd name="connsiteY9" fmla="*/ 8533 h 10000"/>
              <a:gd name="connsiteX10" fmla="*/ 10000 w 10000"/>
              <a:gd name="connsiteY10" fmla="*/ 5294 h 10000"/>
              <a:gd name="connsiteX11" fmla="*/ 9271 w 10000"/>
              <a:gd name="connsiteY11" fmla="*/ 2539 h 10000"/>
              <a:gd name="connsiteX12" fmla="*/ 7190 w 10000"/>
              <a:gd name="connsiteY12" fmla="*/ 5373 h 10000"/>
              <a:gd name="connsiteX13" fmla="*/ 7960 w 10000"/>
              <a:gd name="connsiteY13" fmla="*/ 4765 h 10000"/>
              <a:gd name="connsiteX14" fmla="*/ 6025 w 10000"/>
              <a:gd name="connsiteY14" fmla="*/ 2882 h 10000"/>
              <a:gd name="connsiteX15" fmla="*/ 5367 w 10000"/>
              <a:gd name="connsiteY15" fmla="*/ 979 h 10000"/>
              <a:gd name="connsiteX16" fmla="*/ 5115 w 10000"/>
              <a:gd name="connsiteY16" fmla="*/ 850 h 10000"/>
              <a:gd name="connsiteX17" fmla="*/ 4151 w 10000"/>
              <a:gd name="connsiteY17" fmla="*/ 576 h 10000"/>
              <a:gd name="connsiteX18" fmla="*/ 2962 w 10000"/>
              <a:gd name="connsiteY18" fmla="*/ 0 h 10000"/>
              <a:gd name="connsiteX19" fmla="*/ 2242 w 10000"/>
              <a:gd name="connsiteY19" fmla="*/ 1770 h 10000"/>
              <a:gd name="connsiteX20" fmla="*/ 2006 w 10000"/>
              <a:gd name="connsiteY20" fmla="*/ 3463 h 10000"/>
              <a:gd name="connsiteX21" fmla="*/ 2030 w 10000"/>
              <a:gd name="connsiteY21" fmla="*/ 3898 h 10000"/>
              <a:gd name="connsiteX22" fmla="*/ 2223 w 10000"/>
              <a:gd name="connsiteY22" fmla="*/ 3694 h 10000"/>
              <a:gd name="connsiteX23" fmla="*/ 2096 w 10000"/>
              <a:gd name="connsiteY23" fmla="*/ 4409 h 10000"/>
              <a:gd name="connsiteX24" fmla="*/ 1916 w 10000"/>
              <a:gd name="connsiteY24" fmla="*/ 3663 h 10000"/>
              <a:gd name="connsiteX25" fmla="*/ 2120 w 10000"/>
              <a:gd name="connsiteY25" fmla="*/ 4703 h 10000"/>
              <a:gd name="connsiteX26" fmla="*/ 2050 w 10000"/>
              <a:gd name="connsiteY26" fmla="*/ 6546 h 10000"/>
              <a:gd name="connsiteX0" fmla="*/ 2045 w 9995"/>
              <a:gd name="connsiteY0" fmla="*/ 6546 h 9984"/>
              <a:gd name="connsiteX1" fmla="*/ 449 w 9995"/>
              <a:gd name="connsiteY1" fmla="*/ 9656 h 9984"/>
              <a:gd name="connsiteX2" fmla="*/ 3 w 9995"/>
              <a:gd name="connsiteY2" fmla="*/ 9812 h 9984"/>
              <a:gd name="connsiteX3" fmla="*/ 2077 w 9995"/>
              <a:gd name="connsiteY3" fmla="*/ 6960 h 9984"/>
              <a:gd name="connsiteX4" fmla="*/ 2130 w 9995"/>
              <a:gd name="connsiteY4" fmla="*/ 9984 h 9984"/>
              <a:gd name="connsiteX5" fmla="*/ 2243 w 9995"/>
              <a:gd name="connsiteY5" fmla="*/ 9274 h 9984"/>
              <a:gd name="connsiteX6" fmla="*/ 4737 w 9995"/>
              <a:gd name="connsiteY6" fmla="*/ 9956 h 9984"/>
              <a:gd name="connsiteX7" fmla="*/ 6400 w 9995"/>
              <a:gd name="connsiteY7" fmla="*/ 9274 h 9984"/>
              <a:gd name="connsiteX8" fmla="*/ 7648 w 9995"/>
              <a:gd name="connsiteY8" fmla="*/ 6554 h 9984"/>
              <a:gd name="connsiteX9" fmla="*/ 9548 w 9995"/>
              <a:gd name="connsiteY9" fmla="*/ 8533 h 9984"/>
              <a:gd name="connsiteX10" fmla="*/ 9995 w 9995"/>
              <a:gd name="connsiteY10" fmla="*/ 5294 h 9984"/>
              <a:gd name="connsiteX11" fmla="*/ 9266 w 9995"/>
              <a:gd name="connsiteY11" fmla="*/ 2539 h 9984"/>
              <a:gd name="connsiteX12" fmla="*/ 7185 w 9995"/>
              <a:gd name="connsiteY12" fmla="*/ 5373 h 9984"/>
              <a:gd name="connsiteX13" fmla="*/ 7955 w 9995"/>
              <a:gd name="connsiteY13" fmla="*/ 4765 h 9984"/>
              <a:gd name="connsiteX14" fmla="*/ 6020 w 9995"/>
              <a:gd name="connsiteY14" fmla="*/ 2882 h 9984"/>
              <a:gd name="connsiteX15" fmla="*/ 5362 w 9995"/>
              <a:gd name="connsiteY15" fmla="*/ 979 h 9984"/>
              <a:gd name="connsiteX16" fmla="*/ 5110 w 9995"/>
              <a:gd name="connsiteY16" fmla="*/ 850 h 9984"/>
              <a:gd name="connsiteX17" fmla="*/ 4146 w 9995"/>
              <a:gd name="connsiteY17" fmla="*/ 576 h 9984"/>
              <a:gd name="connsiteX18" fmla="*/ 2957 w 9995"/>
              <a:gd name="connsiteY18" fmla="*/ 0 h 9984"/>
              <a:gd name="connsiteX19" fmla="*/ 2237 w 9995"/>
              <a:gd name="connsiteY19" fmla="*/ 1770 h 9984"/>
              <a:gd name="connsiteX20" fmla="*/ 2001 w 9995"/>
              <a:gd name="connsiteY20" fmla="*/ 3463 h 9984"/>
              <a:gd name="connsiteX21" fmla="*/ 2025 w 9995"/>
              <a:gd name="connsiteY21" fmla="*/ 3898 h 9984"/>
              <a:gd name="connsiteX22" fmla="*/ 2218 w 9995"/>
              <a:gd name="connsiteY22" fmla="*/ 3694 h 9984"/>
              <a:gd name="connsiteX23" fmla="*/ 2091 w 9995"/>
              <a:gd name="connsiteY23" fmla="*/ 4409 h 9984"/>
              <a:gd name="connsiteX24" fmla="*/ 1911 w 9995"/>
              <a:gd name="connsiteY24" fmla="*/ 3663 h 9984"/>
              <a:gd name="connsiteX25" fmla="*/ 2115 w 9995"/>
              <a:gd name="connsiteY25" fmla="*/ 4703 h 9984"/>
              <a:gd name="connsiteX26" fmla="*/ 2045 w 9995"/>
              <a:gd name="connsiteY26" fmla="*/ 6546 h 9984"/>
              <a:gd name="connsiteX0" fmla="*/ 1603 w 9557"/>
              <a:gd name="connsiteY0" fmla="*/ 6556 h 10000"/>
              <a:gd name="connsiteX1" fmla="*/ 6 w 9557"/>
              <a:gd name="connsiteY1" fmla="*/ 9671 h 10000"/>
              <a:gd name="connsiteX2" fmla="*/ 2233 w 9557"/>
              <a:gd name="connsiteY2" fmla="*/ 7881 h 10000"/>
              <a:gd name="connsiteX3" fmla="*/ 1635 w 9557"/>
              <a:gd name="connsiteY3" fmla="*/ 6971 h 10000"/>
              <a:gd name="connsiteX4" fmla="*/ 1688 w 9557"/>
              <a:gd name="connsiteY4" fmla="*/ 10000 h 10000"/>
              <a:gd name="connsiteX5" fmla="*/ 1801 w 9557"/>
              <a:gd name="connsiteY5" fmla="*/ 9289 h 10000"/>
              <a:gd name="connsiteX6" fmla="*/ 4296 w 9557"/>
              <a:gd name="connsiteY6" fmla="*/ 9972 h 10000"/>
              <a:gd name="connsiteX7" fmla="*/ 5960 w 9557"/>
              <a:gd name="connsiteY7" fmla="*/ 9289 h 10000"/>
              <a:gd name="connsiteX8" fmla="*/ 7209 w 9557"/>
              <a:gd name="connsiteY8" fmla="*/ 6565 h 10000"/>
              <a:gd name="connsiteX9" fmla="*/ 9110 w 9557"/>
              <a:gd name="connsiteY9" fmla="*/ 8547 h 10000"/>
              <a:gd name="connsiteX10" fmla="*/ 9557 w 9557"/>
              <a:gd name="connsiteY10" fmla="*/ 5302 h 10000"/>
              <a:gd name="connsiteX11" fmla="*/ 8828 w 9557"/>
              <a:gd name="connsiteY11" fmla="*/ 2543 h 10000"/>
              <a:gd name="connsiteX12" fmla="*/ 6746 w 9557"/>
              <a:gd name="connsiteY12" fmla="*/ 5382 h 10000"/>
              <a:gd name="connsiteX13" fmla="*/ 7516 w 9557"/>
              <a:gd name="connsiteY13" fmla="*/ 4773 h 10000"/>
              <a:gd name="connsiteX14" fmla="*/ 5580 w 9557"/>
              <a:gd name="connsiteY14" fmla="*/ 2887 h 10000"/>
              <a:gd name="connsiteX15" fmla="*/ 4922 w 9557"/>
              <a:gd name="connsiteY15" fmla="*/ 981 h 10000"/>
              <a:gd name="connsiteX16" fmla="*/ 4670 w 9557"/>
              <a:gd name="connsiteY16" fmla="*/ 851 h 10000"/>
              <a:gd name="connsiteX17" fmla="*/ 3705 w 9557"/>
              <a:gd name="connsiteY17" fmla="*/ 577 h 10000"/>
              <a:gd name="connsiteX18" fmla="*/ 2515 w 9557"/>
              <a:gd name="connsiteY18" fmla="*/ 0 h 10000"/>
              <a:gd name="connsiteX19" fmla="*/ 1795 w 9557"/>
              <a:gd name="connsiteY19" fmla="*/ 1773 h 10000"/>
              <a:gd name="connsiteX20" fmla="*/ 1559 w 9557"/>
              <a:gd name="connsiteY20" fmla="*/ 3469 h 10000"/>
              <a:gd name="connsiteX21" fmla="*/ 1583 w 9557"/>
              <a:gd name="connsiteY21" fmla="*/ 3904 h 10000"/>
              <a:gd name="connsiteX22" fmla="*/ 1776 w 9557"/>
              <a:gd name="connsiteY22" fmla="*/ 3700 h 10000"/>
              <a:gd name="connsiteX23" fmla="*/ 1649 w 9557"/>
              <a:gd name="connsiteY23" fmla="*/ 4416 h 10000"/>
              <a:gd name="connsiteX24" fmla="*/ 1469 w 9557"/>
              <a:gd name="connsiteY24" fmla="*/ 3669 h 10000"/>
              <a:gd name="connsiteX25" fmla="*/ 1673 w 9557"/>
              <a:gd name="connsiteY25" fmla="*/ 4711 h 10000"/>
              <a:gd name="connsiteX26" fmla="*/ 1603 w 9557"/>
              <a:gd name="connsiteY26" fmla="*/ 6556 h 10000"/>
              <a:gd name="connsiteX0" fmla="*/ 141 w 8464"/>
              <a:gd name="connsiteY0" fmla="*/ 6556 h 10000"/>
              <a:gd name="connsiteX1" fmla="*/ 373 w 8464"/>
              <a:gd name="connsiteY1" fmla="*/ 7883 h 10000"/>
              <a:gd name="connsiteX2" fmla="*/ 801 w 8464"/>
              <a:gd name="connsiteY2" fmla="*/ 7881 h 10000"/>
              <a:gd name="connsiteX3" fmla="*/ 175 w 8464"/>
              <a:gd name="connsiteY3" fmla="*/ 6971 h 10000"/>
              <a:gd name="connsiteX4" fmla="*/ 230 w 8464"/>
              <a:gd name="connsiteY4" fmla="*/ 10000 h 10000"/>
              <a:gd name="connsiteX5" fmla="*/ 348 w 8464"/>
              <a:gd name="connsiteY5" fmla="*/ 9289 h 10000"/>
              <a:gd name="connsiteX6" fmla="*/ 2959 w 8464"/>
              <a:gd name="connsiteY6" fmla="*/ 9972 h 10000"/>
              <a:gd name="connsiteX7" fmla="*/ 4700 w 8464"/>
              <a:gd name="connsiteY7" fmla="*/ 9289 h 10000"/>
              <a:gd name="connsiteX8" fmla="*/ 6007 w 8464"/>
              <a:gd name="connsiteY8" fmla="*/ 6565 h 10000"/>
              <a:gd name="connsiteX9" fmla="*/ 7996 w 8464"/>
              <a:gd name="connsiteY9" fmla="*/ 8547 h 10000"/>
              <a:gd name="connsiteX10" fmla="*/ 8464 w 8464"/>
              <a:gd name="connsiteY10" fmla="*/ 5302 h 10000"/>
              <a:gd name="connsiteX11" fmla="*/ 7701 w 8464"/>
              <a:gd name="connsiteY11" fmla="*/ 2543 h 10000"/>
              <a:gd name="connsiteX12" fmla="*/ 5523 w 8464"/>
              <a:gd name="connsiteY12" fmla="*/ 5382 h 10000"/>
              <a:gd name="connsiteX13" fmla="*/ 6328 w 8464"/>
              <a:gd name="connsiteY13" fmla="*/ 4773 h 10000"/>
              <a:gd name="connsiteX14" fmla="*/ 4303 w 8464"/>
              <a:gd name="connsiteY14" fmla="*/ 2887 h 10000"/>
              <a:gd name="connsiteX15" fmla="*/ 3614 w 8464"/>
              <a:gd name="connsiteY15" fmla="*/ 981 h 10000"/>
              <a:gd name="connsiteX16" fmla="*/ 3350 w 8464"/>
              <a:gd name="connsiteY16" fmla="*/ 851 h 10000"/>
              <a:gd name="connsiteX17" fmla="*/ 2341 w 8464"/>
              <a:gd name="connsiteY17" fmla="*/ 577 h 10000"/>
              <a:gd name="connsiteX18" fmla="*/ 1096 w 8464"/>
              <a:gd name="connsiteY18" fmla="*/ 0 h 10000"/>
              <a:gd name="connsiteX19" fmla="*/ 342 w 8464"/>
              <a:gd name="connsiteY19" fmla="*/ 1773 h 10000"/>
              <a:gd name="connsiteX20" fmla="*/ 95 w 8464"/>
              <a:gd name="connsiteY20" fmla="*/ 3469 h 10000"/>
              <a:gd name="connsiteX21" fmla="*/ 120 w 8464"/>
              <a:gd name="connsiteY21" fmla="*/ 3904 h 10000"/>
              <a:gd name="connsiteX22" fmla="*/ 322 w 8464"/>
              <a:gd name="connsiteY22" fmla="*/ 3700 h 10000"/>
              <a:gd name="connsiteX23" fmla="*/ 189 w 8464"/>
              <a:gd name="connsiteY23" fmla="*/ 4416 h 10000"/>
              <a:gd name="connsiteX24" fmla="*/ 1 w 8464"/>
              <a:gd name="connsiteY24" fmla="*/ 3669 h 10000"/>
              <a:gd name="connsiteX25" fmla="*/ 215 w 8464"/>
              <a:gd name="connsiteY25" fmla="*/ 4711 h 10000"/>
              <a:gd name="connsiteX26" fmla="*/ 141 w 8464"/>
              <a:gd name="connsiteY26" fmla="*/ 6556 h 10000"/>
              <a:gd name="connsiteX0" fmla="*/ 167 w 10000"/>
              <a:gd name="connsiteY0" fmla="*/ 6556 h 9972"/>
              <a:gd name="connsiteX1" fmla="*/ 441 w 10000"/>
              <a:gd name="connsiteY1" fmla="*/ 7883 h 9972"/>
              <a:gd name="connsiteX2" fmla="*/ 946 w 10000"/>
              <a:gd name="connsiteY2" fmla="*/ 7881 h 9972"/>
              <a:gd name="connsiteX3" fmla="*/ 207 w 10000"/>
              <a:gd name="connsiteY3" fmla="*/ 6971 h 9972"/>
              <a:gd name="connsiteX4" fmla="*/ 1069 w 10000"/>
              <a:gd name="connsiteY4" fmla="*/ 8621 h 9972"/>
              <a:gd name="connsiteX5" fmla="*/ 411 w 10000"/>
              <a:gd name="connsiteY5" fmla="*/ 9289 h 9972"/>
              <a:gd name="connsiteX6" fmla="*/ 3496 w 10000"/>
              <a:gd name="connsiteY6" fmla="*/ 9972 h 9972"/>
              <a:gd name="connsiteX7" fmla="*/ 5553 w 10000"/>
              <a:gd name="connsiteY7" fmla="*/ 9289 h 9972"/>
              <a:gd name="connsiteX8" fmla="*/ 7097 w 10000"/>
              <a:gd name="connsiteY8" fmla="*/ 6565 h 9972"/>
              <a:gd name="connsiteX9" fmla="*/ 9447 w 10000"/>
              <a:gd name="connsiteY9" fmla="*/ 8547 h 9972"/>
              <a:gd name="connsiteX10" fmla="*/ 10000 w 10000"/>
              <a:gd name="connsiteY10" fmla="*/ 5302 h 9972"/>
              <a:gd name="connsiteX11" fmla="*/ 9099 w 10000"/>
              <a:gd name="connsiteY11" fmla="*/ 2543 h 9972"/>
              <a:gd name="connsiteX12" fmla="*/ 6525 w 10000"/>
              <a:gd name="connsiteY12" fmla="*/ 5382 h 9972"/>
              <a:gd name="connsiteX13" fmla="*/ 7476 w 10000"/>
              <a:gd name="connsiteY13" fmla="*/ 4773 h 9972"/>
              <a:gd name="connsiteX14" fmla="*/ 5084 w 10000"/>
              <a:gd name="connsiteY14" fmla="*/ 2887 h 9972"/>
              <a:gd name="connsiteX15" fmla="*/ 4270 w 10000"/>
              <a:gd name="connsiteY15" fmla="*/ 981 h 9972"/>
              <a:gd name="connsiteX16" fmla="*/ 3958 w 10000"/>
              <a:gd name="connsiteY16" fmla="*/ 851 h 9972"/>
              <a:gd name="connsiteX17" fmla="*/ 2766 w 10000"/>
              <a:gd name="connsiteY17" fmla="*/ 577 h 9972"/>
              <a:gd name="connsiteX18" fmla="*/ 1295 w 10000"/>
              <a:gd name="connsiteY18" fmla="*/ 0 h 9972"/>
              <a:gd name="connsiteX19" fmla="*/ 404 w 10000"/>
              <a:gd name="connsiteY19" fmla="*/ 1773 h 9972"/>
              <a:gd name="connsiteX20" fmla="*/ 112 w 10000"/>
              <a:gd name="connsiteY20" fmla="*/ 3469 h 9972"/>
              <a:gd name="connsiteX21" fmla="*/ 142 w 10000"/>
              <a:gd name="connsiteY21" fmla="*/ 3904 h 9972"/>
              <a:gd name="connsiteX22" fmla="*/ 380 w 10000"/>
              <a:gd name="connsiteY22" fmla="*/ 3700 h 9972"/>
              <a:gd name="connsiteX23" fmla="*/ 223 w 10000"/>
              <a:gd name="connsiteY23" fmla="*/ 4416 h 9972"/>
              <a:gd name="connsiteX24" fmla="*/ 1 w 10000"/>
              <a:gd name="connsiteY24" fmla="*/ 3669 h 9972"/>
              <a:gd name="connsiteX25" fmla="*/ 254 w 10000"/>
              <a:gd name="connsiteY25" fmla="*/ 4711 h 9972"/>
              <a:gd name="connsiteX26" fmla="*/ 167 w 10000"/>
              <a:gd name="connsiteY26" fmla="*/ 6556 h 9972"/>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6525 w 10000"/>
              <a:gd name="connsiteY12" fmla="*/ 5397 h 10000"/>
              <a:gd name="connsiteX13" fmla="*/ 7476 w 10000"/>
              <a:gd name="connsiteY13" fmla="*/ 4786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7476 w 10000"/>
              <a:gd name="connsiteY13" fmla="*/ 4786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6206 w 10000"/>
              <a:gd name="connsiteY13" fmla="*/ 647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6206 w 10000"/>
              <a:gd name="connsiteY13" fmla="*/ 647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6729 w 10000"/>
              <a:gd name="connsiteY13" fmla="*/ 6188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6313 w 10000"/>
              <a:gd name="connsiteY13" fmla="*/ 635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6179 w 10000"/>
              <a:gd name="connsiteY12" fmla="*/ 6389 h 10000"/>
              <a:gd name="connsiteX13" fmla="*/ 6313 w 10000"/>
              <a:gd name="connsiteY13" fmla="*/ 635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1177 w 10000"/>
              <a:gd name="connsiteY5" fmla="*/ 8724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6179 w 10000"/>
              <a:gd name="connsiteY12" fmla="*/ 6389 h 10000"/>
              <a:gd name="connsiteX13" fmla="*/ 6313 w 10000"/>
              <a:gd name="connsiteY13" fmla="*/ 635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000" h="10000">
                <a:moveTo>
                  <a:pt x="167" y="6574"/>
                </a:moveTo>
                <a:cubicBezTo>
                  <a:pt x="314" y="8031"/>
                  <a:pt x="292" y="6449"/>
                  <a:pt x="441" y="7905"/>
                </a:cubicBezTo>
                <a:lnTo>
                  <a:pt x="946" y="7903"/>
                </a:lnTo>
                <a:cubicBezTo>
                  <a:pt x="840" y="8635"/>
                  <a:pt x="312" y="6259"/>
                  <a:pt x="207" y="6991"/>
                </a:cubicBezTo>
                <a:cubicBezTo>
                  <a:pt x="229" y="8003"/>
                  <a:pt x="1046" y="7632"/>
                  <a:pt x="1069" y="8645"/>
                </a:cubicBezTo>
                <a:cubicBezTo>
                  <a:pt x="1239" y="7735"/>
                  <a:pt x="1007" y="9636"/>
                  <a:pt x="1177" y="8724"/>
                </a:cubicBezTo>
                <a:lnTo>
                  <a:pt x="3496" y="10000"/>
                </a:lnTo>
                <a:lnTo>
                  <a:pt x="5327" y="7864"/>
                </a:lnTo>
                <a:lnTo>
                  <a:pt x="7097" y="6583"/>
                </a:lnTo>
                <a:lnTo>
                  <a:pt x="9447" y="8571"/>
                </a:lnTo>
                <a:cubicBezTo>
                  <a:pt x="9630" y="7485"/>
                  <a:pt x="9816" y="6403"/>
                  <a:pt x="10000" y="5317"/>
                </a:cubicBezTo>
                <a:cubicBezTo>
                  <a:pt x="9589" y="3042"/>
                  <a:pt x="9511" y="4827"/>
                  <a:pt x="9099" y="2550"/>
                </a:cubicBezTo>
                <a:cubicBezTo>
                  <a:pt x="8241" y="3500"/>
                  <a:pt x="6012" y="6092"/>
                  <a:pt x="6179" y="6389"/>
                </a:cubicBezTo>
                <a:cubicBezTo>
                  <a:pt x="6359" y="6187"/>
                  <a:pt x="6430" y="6826"/>
                  <a:pt x="6313" y="6350"/>
                </a:cubicBezTo>
                <a:lnTo>
                  <a:pt x="5084" y="2895"/>
                </a:lnTo>
                <a:cubicBezTo>
                  <a:pt x="4863" y="1763"/>
                  <a:pt x="4490" y="2115"/>
                  <a:pt x="4270" y="984"/>
                </a:cubicBezTo>
                <a:cubicBezTo>
                  <a:pt x="4106" y="1068"/>
                  <a:pt x="4123" y="770"/>
                  <a:pt x="3958" y="853"/>
                </a:cubicBezTo>
                <a:lnTo>
                  <a:pt x="2766" y="579"/>
                </a:lnTo>
                <a:cubicBezTo>
                  <a:pt x="2598" y="-513"/>
                  <a:pt x="1465" y="1093"/>
                  <a:pt x="1295" y="0"/>
                </a:cubicBezTo>
                <a:cubicBezTo>
                  <a:pt x="1464" y="1359"/>
                  <a:pt x="236" y="419"/>
                  <a:pt x="404" y="1778"/>
                </a:cubicBezTo>
                <a:cubicBezTo>
                  <a:pt x="825" y="4373"/>
                  <a:pt x="-310" y="880"/>
                  <a:pt x="112" y="3479"/>
                </a:cubicBezTo>
                <a:cubicBezTo>
                  <a:pt x="-104" y="3661"/>
                  <a:pt x="388" y="4026"/>
                  <a:pt x="142" y="3915"/>
                </a:cubicBezTo>
                <a:cubicBezTo>
                  <a:pt x="-102" y="3804"/>
                  <a:pt x="195" y="3453"/>
                  <a:pt x="380" y="3710"/>
                </a:cubicBezTo>
                <a:cubicBezTo>
                  <a:pt x="175" y="3609"/>
                  <a:pt x="128" y="4399"/>
                  <a:pt x="223" y="4428"/>
                </a:cubicBezTo>
                <a:cubicBezTo>
                  <a:pt x="321" y="4457"/>
                  <a:pt x="271" y="3360"/>
                  <a:pt x="1" y="3679"/>
                </a:cubicBezTo>
                <a:cubicBezTo>
                  <a:pt x="-4" y="4323"/>
                  <a:pt x="258" y="4080"/>
                  <a:pt x="254" y="4724"/>
                </a:cubicBezTo>
                <a:cubicBezTo>
                  <a:pt x="224" y="5341"/>
                  <a:pt x="195" y="5959"/>
                  <a:pt x="167" y="6574"/>
                </a:cubicBezTo>
                <a:close/>
              </a:path>
            </a:pathLst>
          </a:custGeom>
          <a:solidFill>
            <a:srgbClr val="FAFAFA"/>
          </a:solidFill>
          <a:ln w="3175">
            <a:solidFill>
              <a:schemeClr val="bg1"/>
            </a:solidFill>
            <a:headEnd/>
            <a:tailEnd/>
          </a:ln>
        </p:spPr>
        <p:style>
          <a:lnRef idx="2">
            <a:schemeClr val="dk1"/>
          </a:lnRef>
          <a:fillRef idx="1">
            <a:schemeClr val="lt1"/>
          </a:fillRef>
          <a:effectRef idx="0">
            <a:schemeClr val="dk1"/>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eaLnBrk="0" fontAlgn="auto" hangingPunct="0">
              <a:spcBef>
                <a:spcPts val="0"/>
              </a:spcBef>
              <a:spcAft>
                <a:spcPts val="0"/>
              </a:spcAft>
              <a:defRPr/>
            </a:pPr>
            <a:endParaRPr lang="en-IE" sz="2400" b="1" dirty="0">
              <a:solidFill>
                <a:srgbClr val="000000"/>
              </a:solidFill>
            </a:endParaRPr>
          </a:p>
        </p:txBody>
      </p:sp>
      <p:cxnSp>
        <p:nvCxnSpPr>
          <p:cNvPr id="52" name="Connecteur droit 51"/>
          <p:cNvCxnSpPr>
            <a:stCxn id="97" idx="15"/>
            <a:endCxn id="103" idx="40"/>
          </p:cNvCxnSpPr>
          <p:nvPr/>
        </p:nvCxnSpPr>
        <p:spPr bwMode="auto">
          <a:xfrm>
            <a:off x="4578350" y="3584575"/>
            <a:ext cx="160338" cy="207963"/>
          </a:xfrm>
          <a:prstGeom prst="line">
            <a:avLst/>
          </a:prstGeom>
          <a:ln w="25400">
            <a:solidFill>
              <a:schemeClr val="bg1"/>
            </a:solidFill>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3" name="Connecteur droit 52"/>
          <p:cNvCxnSpPr>
            <a:stCxn id="76" idx="8"/>
            <a:endCxn id="72" idx="5"/>
          </p:cNvCxnSpPr>
          <p:nvPr/>
        </p:nvCxnSpPr>
        <p:spPr>
          <a:xfrm>
            <a:off x="6650985" y="5490144"/>
            <a:ext cx="263633" cy="148359"/>
          </a:xfrm>
          <a:prstGeom prst="line">
            <a:avLst/>
          </a:prstGeom>
          <a:ln w="25400">
            <a:solidFill>
              <a:schemeClr val="bg1"/>
            </a:solidFill>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4" name="Connecteur droit 53"/>
          <p:cNvCxnSpPr>
            <a:stCxn id="104" idx="17"/>
          </p:cNvCxnSpPr>
          <p:nvPr/>
        </p:nvCxnSpPr>
        <p:spPr bwMode="auto">
          <a:xfrm>
            <a:off x="4268360" y="3134602"/>
            <a:ext cx="132190" cy="138603"/>
          </a:xfrm>
          <a:prstGeom prst="line">
            <a:avLst/>
          </a:prstGeom>
          <a:ln w="25400">
            <a:solidFill>
              <a:schemeClr val="bg1"/>
            </a:solidFill>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sp>
        <p:nvSpPr>
          <p:cNvPr id="2" name="Espace réservé du titre 1"/>
          <p:cNvSpPr>
            <a:spLocks noGrp="1"/>
          </p:cNvSpPr>
          <p:nvPr userDrawn="1">
            <p:ph type="title"/>
          </p:nvPr>
        </p:nvSpPr>
        <p:spPr>
          <a:xfrm>
            <a:off x="457200" y="274638"/>
            <a:ext cx="8229600" cy="562074"/>
          </a:xfrm>
          <a:prstGeom prst="rect">
            <a:avLst/>
          </a:prstGeom>
        </p:spPr>
        <p:txBody>
          <a:bodyPr vert="horz" lIns="91440" tIns="45720" rIns="91440" bIns="45720" rtlCol="0" anchor="ctr">
            <a:normAutofit/>
          </a:bodyPr>
          <a:lstStyle/>
          <a:p>
            <a:r>
              <a:rPr lang="fr-FR" dirty="0"/>
              <a:t>Cliquez pour modifier le style du titre</a:t>
            </a:r>
          </a:p>
        </p:txBody>
      </p:sp>
      <p:sp>
        <p:nvSpPr>
          <p:cNvPr id="3" name="Espace réservé du texte 2"/>
          <p:cNvSpPr>
            <a:spLocks noGrp="1"/>
          </p:cNvSpPr>
          <p:nvPr userDrawn="1">
            <p:ph type="body" idx="1"/>
          </p:nvPr>
        </p:nvSpPr>
        <p:spPr>
          <a:xfrm>
            <a:off x="457200" y="1600200"/>
            <a:ext cx="8229600" cy="4525963"/>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userDrawn="1">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2ECADC-9CA4-4FA1-98E1-297E3B9BCDFA}" type="datetime1">
              <a:rPr lang="fr-FR" smtClean="0"/>
              <a:t>23/04/2024</a:t>
            </a:fld>
            <a:endParaRPr lang="fr-FR"/>
          </a:p>
        </p:txBody>
      </p:sp>
      <p:sp>
        <p:nvSpPr>
          <p:cNvPr id="5" name="Espace réservé du pied de page 4"/>
          <p:cNvSpPr>
            <a:spLocks noGrp="1"/>
          </p:cNvSpPr>
          <p:nvPr userDrawn="1">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userDrawn="1">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CA6A39B-2923-4814-8F57-BD84643AD2B4}" type="slidenum">
              <a:rPr lang="fr-FR" smtClean="0"/>
              <a:pPr/>
              <a:t>‹#›</a:t>
            </a:fld>
            <a:endParaRPr lang="fr-FR"/>
          </a:p>
        </p:txBody>
      </p:sp>
      <p:cxnSp>
        <p:nvCxnSpPr>
          <p:cNvPr id="8" name="Connecteur droit 7"/>
          <p:cNvCxnSpPr/>
          <p:nvPr userDrawn="1"/>
        </p:nvCxnSpPr>
        <p:spPr>
          <a:xfrm>
            <a:off x="324000" y="980728"/>
            <a:ext cx="8496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50" r:id="rId2"/>
    <p:sldLayoutId id="2147483664" r:id="rId3"/>
    <p:sldLayoutId id="2147483654" r:id="rId4"/>
    <p:sldLayoutId id="2147483655" r:id="rId5"/>
    <p:sldLayoutId id="2147483663" r:id="rId6"/>
    <p:sldLayoutId id="2147483665" r:id="rId7"/>
  </p:sldLayoutIdLst>
  <p:hf hdr="0" ftr="0"/>
  <p:txStyles>
    <p:titleStyle>
      <a:lvl1pPr algn="l" defTabSz="914400" rtl="0" eaLnBrk="1" latinLnBrk="0" hangingPunct="1">
        <a:spcBef>
          <a:spcPct val="0"/>
        </a:spcBef>
        <a:buNone/>
        <a:defRPr sz="2800" b="1" kern="1200">
          <a:solidFill>
            <a:schemeClr val="tx2"/>
          </a:solidFill>
          <a:latin typeface="+mj-lt"/>
          <a:ea typeface="+mj-ea"/>
          <a:cs typeface="+mj-cs"/>
        </a:defRPr>
      </a:lvl1pPr>
    </p:titleStyle>
    <p:bodyStyle>
      <a:lvl1pPr marL="342900" indent="-342900" algn="l" defTabSz="914400" rtl="0" eaLnBrk="1" latinLnBrk="0" hangingPunct="1">
        <a:spcBef>
          <a:spcPct val="20000"/>
        </a:spcBef>
        <a:buClr>
          <a:schemeClr val="tx2"/>
        </a:buClr>
        <a:buFont typeface="Wingdings" panose="05000000000000000000" pitchFamily="2" charset="2"/>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5394A534-FE3C-4784-A40C-064FBC20480F}"/>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fr-FR"/>
              <a:t>Modifiez le style du titre</a:t>
            </a:r>
            <a:endParaRPr lang="en-GB"/>
          </a:p>
        </p:txBody>
      </p:sp>
      <p:sp>
        <p:nvSpPr>
          <p:cNvPr id="3" name="Espace réservé du texte 2">
            <a:extLst>
              <a:ext uri="{FF2B5EF4-FFF2-40B4-BE49-F238E27FC236}">
                <a16:creationId xmlns:a16="http://schemas.microsoft.com/office/drawing/2014/main" id="{F18FBDDA-2B52-457A-A808-D82D0C3687AA}"/>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e la date 3">
            <a:extLst>
              <a:ext uri="{FF2B5EF4-FFF2-40B4-BE49-F238E27FC236}">
                <a16:creationId xmlns:a16="http://schemas.microsoft.com/office/drawing/2014/main" id="{8D6C7006-3C82-4581-98F9-3A8C23A136EC}"/>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A101903-EEB7-46AD-9CF2-2520EA3A19DC}" type="datetimeFigureOut">
              <a:rPr lang="en-GB" smtClean="0"/>
              <a:t>23/04/2024</a:t>
            </a:fld>
            <a:endParaRPr lang="en-GB"/>
          </a:p>
        </p:txBody>
      </p:sp>
      <p:sp>
        <p:nvSpPr>
          <p:cNvPr id="5" name="Espace réservé du pied de page 4">
            <a:extLst>
              <a:ext uri="{FF2B5EF4-FFF2-40B4-BE49-F238E27FC236}">
                <a16:creationId xmlns:a16="http://schemas.microsoft.com/office/drawing/2014/main" id="{D31FBABF-E788-4FCF-93C8-929967CB7DC1}"/>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Espace réservé du numéro de diapositive 5">
            <a:extLst>
              <a:ext uri="{FF2B5EF4-FFF2-40B4-BE49-F238E27FC236}">
                <a16:creationId xmlns:a16="http://schemas.microsoft.com/office/drawing/2014/main" id="{31698D90-1DB5-4732-A1FA-33BE76FBF24F}"/>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26A6F9-03C7-432C-A512-008236AA45CE}" type="slidenum">
              <a:rPr lang="en-GB" smtClean="0"/>
              <a:t>‹#›</a:t>
            </a:fld>
            <a:endParaRPr lang="en-GB"/>
          </a:p>
        </p:txBody>
      </p:sp>
    </p:spTree>
    <p:extLst>
      <p:ext uri="{BB962C8B-B14F-4D97-AF65-F5344CB8AC3E}">
        <p14:creationId xmlns:p14="http://schemas.microsoft.com/office/powerpoint/2010/main" val="280096530"/>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BB6A2AC-3DF5-4863-BFA7-6F0465EAA034}"/>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fr-FR"/>
              <a:t>Modifiez le style du titre</a:t>
            </a:r>
            <a:endParaRPr lang="en-GB"/>
          </a:p>
        </p:txBody>
      </p:sp>
      <p:sp>
        <p:nvSpPr>
          <p:cNvPr id="3" name="Espace réservé du texte 2">
            <a:extLst>
              <a:ext uri="{FF2B5EF4-FFF2-40B4-BE49-F238E27FC236}">
                <a16:creationId xmlns:a16="http://schemas.microsoft.com/office/drawing/2014/main" id="{B3110EA9-47E8-4FE5-B23A-391B52623B85}"/>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4" name="Espace réservé de la date 3">
            <a:extLst>
              <a:ext uri="{FF2B5EF4-FFF2-40B4-BE49-F238E27FC236}">
                <a16:creationId xmlns:a16="http://schemas.microsoft.com/office/drawing/2014/main" id="{185C2D65-6693-4198-8416-8C9451129D68}"/>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19D08A-E398-452A-873C-00F43250A6F8}" type="datetimeFigureOut">
              <a:rPr lang="en-GB" smtClean="0"/>
              <a:t>23/04/2024</a:t>
            </a:fld>
            <a:endParaRPr lang="en-GB"/>
          </a:p>
        </p:txBody>
      </p:sp>
      <p:sp>
        <p:nvSpPr>
          <p:cNvPr id="5" name="Espace réservé du pied de page 4">
            <a:extLst>
              <a:ext uri="{FF2B5EF4-FFF2-40B4-BE49-F238E27FC236}">
                <a16:creationId xmlns:a16="http://schemas.microsoft.com/office/drawing/2014/main" id="{5E4AB32B-0E36-41F4-A060-91A5DF16EE0E}"/>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Espace réservé du numéro de diapositive 5">
            <a:extLst>
              <a:ext uri="{FF2B5EF4-FFF2-40B4-BE49-F238E27FC236}">
                <a16:creationId xmlns:a16="http://schemas.microsoft.com/office/drawing/2014/main" id="{D48084EC-439A-488A-A402-CBF38E9D2C97}"/>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4D30AF0-30DF-4DE4-90AA-A53A4F43D726}" type="slidenum">
              <a:rPr lang="en-GB" smtClean="0"/>
              <a:t>‹#›</a:t>
            </a:fld>
            <a:endParaRPr lang="en-GB"/>
          </a:p>
        </p:txBody>
      </p:sp>
    </p:spTree>
    <p:extLst>
      <p:ext uri="{BB962C8B-B14F-4D97-AF65-F5344CB8AC3E}">
        <p14:creationId xmlns:p14="http://schemas.microsoft.com/office/powerpoint/2010/main" val="2771806050"/>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1.png"/><Relationship Id="rId7" Type="http://schemas.openxmlformats.org/officeDocument/2006/relationships/image" Target="../media/image4.png"/><Relationship Id="rId12"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microsoft.com/office/2007/relationships/hdphoto" Target="../media/hdphoto1.wdp"/><Relationship Id="rId11" Type="http://schemas.openxmlformats.org/officeDocument/2006/relationships/image" Target="../media/image7.png"/><Relationship Id="rId5" Type="http://schemas.openxmlformats.org/officeDocument/2006/relationships/image" Target="../media/image3.png"/><Relationship Id="rId10" Type="http://schemas.openxmlformats.org/officeDocument/2006/relationships/image" Target="../media/image6.png"/><Relationship Id="rId4" Type="http://schemas.openxmlformats.org/officeDocument/2006/relationships/image" Target="../media/image2.png"/><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9" Type="http://schemas.openxmlformats.org/officeDocument/2006/relationships/package" Target="../embeddings/Microsoft_Excel_Worksheet.xlsx"/><Relationship Id="rId21" Type="http://schemas.openxmlformats.org/officeDocument/2006/relationships/tags" Target="../tags/tag22.xml"/><Relationship Id="rId34" Type="http://schemas.openxmlformats.org/officeDocument/2006/relationships/tags" Target="../tags/tag35.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notesSlide" Target="../notesSlides/notesSlide2.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tags" Target="../tags/tag30.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slideLayout" Target="../slideLayouts/slideLayout3.xml"/><Relationship Id="rId40" Type="http://schemas.openxmlformats.org/officeDocument/2006/relationships/image" Target="../media/image9.wmf"/><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tags" Target="../tags/tag3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 Id="rId8" Type="http://schemas.openxmlformats.org/officeDocument/2006/relationships/tags" Target="../tags/tag9.xml"/><Relationship Id="rId3" Type="http://schemas.openxmlformats.org/officeDocument/2006/relationships/tags" Target="../tags/tag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38.xml"/><Relationship Id="rId5" Type="http://schemas.openxmlformats.org/officeDocument/2006/relationships/image" Target="../media/image10.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Layout" Target="../slideLayouts/slideLayout3.xml"/><Relationship Id="rId6" Type="http://schemas.microsoft.com/office/2007/relationships/hdphoto" Target="../media/hdphoto3.wdp"/><Relationship Id="rId5" Type="http://schemas.openxmlformats.org/officeDocument/2006/relationships/image" Target="../media/image14.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251520" y="1526927"/>
            <a:ext cx="3428918" cy="1470025"/>
          </a:xfrm>
        </p:spPr>
        <p:txBody>
          <a:bodyPr>
            <a:normAutofit fontScale="90000"/>
          </a:bodyPr>
          <a:lstStyle/>
          <a:p>
            <a:pPr lvl="0" algn="ctr">
              <a:spcBef>
                <a:spcPts val="0"/>
              </a:spcBef>
            </a:pPr>
            <a:r>
              <a:rPr lang="en-US" sz="4400" dirty="0">
                <a:solidFill>
                  <a:srgbClr val="1F497D"/>
                </a:solidFill>
                <a:ea typeface="+mn-ea"/>
                <a:cs typeface="Arial" pitchFamily="34" charset="0"/>
              </a:rPr>
              <a:t>TERRE</a:t>
            </a:r>
            <a:r>
              <a:rPr lang="en-US" sz="4000" dirty="0">
                <a:solidFill>
                  <a:srgbClr val="1F497D"/>
                </a:solidFill>
                <a:ea typeface="+mn-ea"/>
                <a:cs typeface="Arial" pitchFamily="34" charset="0"/>
              </a:rPr>
              <a:t> </a:t>
            </a:r>
            <a:br>
              <a:rPr lang="en-US" sz="4000" dirty="0">
                <a:solidFill>
                  <a:srgbClr val="1F497D"/>
                </a:solidFill>
                <a:ea typeface="+mn-ea"/>
                <a:cs typeface="Arial" pitchFamily="34" charset="0"/>
              </a:rPr>
            </a:br>
            <a:r>
              <a:rPr lang="en-US" sz="3100" i="1" dirty="0">
                <a:solidFill>
                  <a:prstClr val="black">
                    <a:lumMod val="65000"/>
                    <a:lumOff val="35000"/>
                  </a:prstClr>
                </a:solidFill>
                <a:ea typeface="+mn-ea"/>
                <a:cs typeface="Arial" pitchFamily="34" charset="0"/>
              </a:rPr>
              <a:t>T</a:t>
            </a:r>
            <a:r>
              <a:rPr lang="en-US" sz="3100" b="0" i="1" dirty="0">
                <a:solidFill>
                  <a:prstClr val="black">
                    <a:lumMod val="65000"/>
                    <a:lumOff val="35000"/>
                  </a:prstClr>
                </a:solidFill>
                <a:ea typeface="+mn-ea"/>
                <a:cs typeface="Arial" pitchFamily="34" charset="0"/>
              </a:rPr>
              <a:t>rans </a:t>
            </a:r>
            <a:r>
              <a:rPr lang="en-US" sz="3100" i="1" dirty="0">
                <a:solidFill>
                  <a:prstClr val="black">
                    <a:lumMod val="65000"/>
                    <a:lumOff val="35000"/>
                  </a:prstClr>
                </a:solidFill>
                <a:ea typeface="+mn-ea"/>
                <a:cs typeface="Arial" pitchFamily="34" charset="0"/>
              </a:rPr>
              <a:t>E</a:t>
            </a:r>
            <a:r>
              <a:rPr lang="en-US" sz="3100" b="0" i="1" dirty="0">
                <a:solidFill>
                  <a:prstClr val="black">
                    <a:lumMod val="65000"/>
                    <a:lumOff val="35000"/>
                  </a:prstClr>
                </a:solidFill>
                <a:ea typeface="+mn-ea"/>
                <a:cs typeface="Arial" pitchFamily="34" charset="0"/>
              </a:rPr>
              <a:t>uropean </a:t>
            </a:r>
            <a:r>
              <a:rPr lang="en-US" sz="3100" i="1" dirty="0">
                <a:solidFill>
                  <a:prstClr val="black">
                    <a:lumMod val="65000"/>
                    <a:lumOff val="35000"/>
                  </a:prstClr>
                </a:solidFill>
                <a:ea typeface="+mn-ea"/>
                <a:cs typeface="Arial" pitchFamily="34" charset="0"/>
              </a:rPr>
              <a:t>R</a:t>
            </a:r>
            <a:r>
              <a:rPr lang="en-US" sz="3100" b="0" i="1" dirty="0">
                <a:solidFill>
                  <a:prstClr val="black">
                    <a:lumMod val="65000"/>
                    <a:lumOff val="35000"/>
                  </a:prstClr>
                </a:solidFill>
                <a:ea typeface="+mn-ea"/>
                <a:cs typeface="Arial" pitchFamily="34" charset="0"/>
              </a:rPr>
              <a:t>eplacement </a:t>
            </a:r>
            <a:r>
              <a:rPr lang="en-US" sz="3100" i="1" dirty="0">
                <a:solidFill>
                  <a:prstClr val="black">
                    <a:lumMod val="65000"/>
                    <a:lumOff val="35000"/>
                  </a:prstClr>
                </a:solidFill>
                <a:ea typeface="+mn-ea"/>
                <a:cs typeface="Arial" pitchFamily="34" charset="0"/>
              </a:rPr>
              <a:t>R</a:t>
            </a:r>
            <a:r>
              <a:rPr lang="en-US" sz="3100" b="0" i="1" dirty="0">
                <a:solidFill>
                  <a:prstClr val="black">
                    <a:lumMod val="65000"/>
                    <a:lumOff val="35000"/>
                  </a:prstClr>
                </a:solidFill>
                <a:ea typeface="+mn-ea"/>
                <a:cs typeface="Arial" pitchFamily="34" charset="0"/>
              </a:rPr>
              <a:t>eserves </a:t>
            </a:r>
            <a:r>
              <a:rPr lang="en-US" sz="3100" i="1" dirty="0">
                <a:solidFill>
                  <a:prstClr val="black">
                    <a:lumMod val="65000"/>
                    <a:lumOff val="35000"/>
                  </a:prstClr>
                </a:solidFill>
                <a:ea typeface="+mn-ea"/>
                <a:cs typeface="Arial" pitchFamily="34" charset="0"/>
              </a:rPr>
              <a:t>E</a:t>
            </a:r>
            <a:r>
              <a:rPr lang="en-US" sz="3100" b="0" i="1" dirty="0">
                <a:solidFill>
                  <a:prstClr val="black">
                    <a:lumMod val="65000"/>
                    <a:lumOff val="35000"/>
                  </a:prstClr>
                </a:solidFill>
                <a:ea typeface="+mn-ea"/>
                <a:cs typeface="Arial" pitchFamily="34" charset="0"/>
              </a:rPr>
              <a:t>xchange</a:t>
            </a:r>
            <a:endParaRPr lang="en-US" i="1" dirty="0">
              <a:solidFill>
                <a:srgbClr val="F79646"/>
              </a:solidFill>
              <a:ea typeface="+mn-ea"/>
              <a:cs typeface="Arial" pitchFamily="34" charset="0"/>
            </a:endParaRPr>
          </a:p>
        </p:txBody>
      </p:sp>
      <p:pic>
        <p:nvPicPr>
          <p:cNvPr id="9" name="Picture 11"/>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5287318" y="4221087"/>
            <a:ext cx="519704" cy="288031"/>
          </a:xfrm>
          <a:prstGeom prst="rect">
            <a:avLst/>
          </a:prstGeom>
          <a:noFill/>
          <a:ln w="9525">
            <a:noFill/>
            <a:miter lim="800000"/>
            <a:headEnd/>
            <a:tailEnd/>
          </a:ln>
        </p:spPr>
      </p:pic>
      <p:pic>
        <p:nvPicPr>
          <p:cNvPr id="10" name="Picture 9"/>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4588368" y="3933056"/>
            <a:ext cx="514810" cy="506220"/>
          </a:xfrm>
          <a:prstGeom prst="rect">
            <a:avLst/>
          </a:prstGeom>
          <a:noFill/>
          <a:ln w="9525">
            <a:noFill/>
            <a:miter lim="800000"/>
            <a:headEnd/>
            <a:tailEnd/>
          </a:ln>
        </p:spPr>
      </p:pic>
      <p:pic>
        <p:nvPicPr>
          <p:cNvPr id="13" name="Picture 12">
            <a:extLst>
              <a:ext uri="{FF2B5EF4-FFF2-40B4-BE49-F238E27FC236}">
                <a16:creationId xmlns:a16="http://schemas.microsoft.com/office/drawing/2014/main" id="{B4CCCAD4-7CFD-42D6-8DC1-06C0EB1FAA0B}"/>
              </a:ext>
            </a:extLst>
          </p:cNvPr>
          <p:cNvPicPr>
            <a:picLocks noChangeAspect="1"/>
          </p:cNvPicPr>
          <p:nvPr/>
        </p:nvPicPr>
        <p:blipFill rotWithShape="1">
          <a:blip r:embed="rId5">
            <a:extLst>
              <a:ext uri="{BEBA8EAE-BF5A-486C-A8C5-ECC9F3942E4B}">
                <a14:imgProps xmlns:a14="http://schemas.microsoft.com/office/drawing/2010/main">
                  <a14:imgLayer r:embed="rId6">
                    <a14:imgEffect>
                      <a14:backgroundRemoval t="0" b="94595" l="0" r="32734">
                        <a14:foregroundMark x1="8633" y1="32432" x2="8633" y2="32432"/>
                        <a14:foregroundMark x1="22302" y1="43243" x2="22302" y2="43243"/>
                        <a14:foregroundMark x1="24820" y1="56757" x2="24820" y2="56757"/>
                        <a14:foregroundMark x1="29137" y1="32432" x2="29137" y2="32432"/>
                        <a14:foregroundMark x1="26978" y1="8108" x2="26978" y2="8108"/>
                        <a14:foregroundMark x1="20863" y1="83784" x2="20863" y2="83784"/>
                      </a14:backgroundRemoval>
                    </a14:imgEffect>
                  </a14:imgLayer>
                </a14:imgProps>
              </a:ext>
            </a:extLst>
          </a:blip>
          <a:srcRect t="-11295" r="66316" b="-1"/>
          <a:stretch/>
        </p:blipFill>
        <p:spPr>
          <a:xfrm>
            <a:off x="6588224" y="3573016"/>
            <a:ext cx="369565" cy="162521"/>
          </a:xfrm>
          <a:prstGeom prst="rect">
            <a:avLst/>
          </a:prstGeom>
        </p:spPr>
      </p:pic>
      <p:pic>
        <p:nvPicPr>
          <p:cNvPr id="14" name="Picture 13">
            <a:extLst>
              <a:ext uri="{FF2B5EF4-FFF2-40B4-BE49-F238E27FC236}">
                <a16:creationId xmlns:a16="http://schemas.microsoft.com/office/drawing/2014/main" id="{01EDCB41-C90E-45ED-9EC1-6ED588B31459}"/>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0" b="95122" l="893" r="98214">
                        <a14:foregroundMark x1="70536" y1="25610" x2="70536" y2="25610"/>
                        <a14:foregroundMark x1="30357" y1="76829" x2="30357" y2="76829"/>
                        <a14:foregroundMark x1="34821" y1="82927" x2="34821" y2="82927"/>
                        <a14:foregroundMark x1="46429" y1="80488" x2="46429" y2="80488"/>
                        <a14:foregroundMark x1="55357" y1="84146" x2="55357" y2="84146"/>
                        <a14:foregroundMark x1="64286" y1="79268" x2="64286" y2="79268"/>
                        <a14:foregroundMark x1="70536" y1="80488" x2="70536" y2="80488"/>
                        <a14:foregroundMark x1="21429" y1="80488" x2="21429" y2="80488"/>
                        <a14:foregroundMark x1="86607" y1="51220" x2="86607" y2="51220"/>
                        <a14:foregroundMark x1="33036" y1="69512" x2="33036" y2="69512"/>
                      </a14:backgroundRemoval>
                    </a14:imgEffect>
                  </a14:imgLayer>
                </a14:imgProps>
              </a:ext>
            </a:extLst>
          </a:blip>
          <a:stretch>
            <a:fillRect/>
          </a:stretch>
        </p:blipFill>
        <p:spPr>
          <a:xfrm>
            <a:off x="6627826" y="4332983"/>
            <a:ext cx="290360" cy="212585"/>
          </a:xfrm>
          <a:prstGeom prst="rect">
            <a:avLst/>
          </a:prstGeom>
        </p:spPr>
      </p:pic>
      <p:pic>
        <p:nvPicPr>
          <p:cNvPr id="21" name="Picture 20">
            <a:extLst>
              <a:ext uri="{FF2B5EF4-FFF2-40B4-BE49-F238E27FC236}">
                <a16:creationId xmlns:a16="http://schemas.microsoft.com/office/drawing/2014/main" id="{AE44823C-1C8D-4035-AF74-150F8CC0B2D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121488" y="3933056"/>
            <a:ext cx="470015" cy="282009"/>
          </a:xfrm>
          <a:prstGeom prst="rect">
            <a:avLst/>
          </a:prstGeom>
        </p:spPr>
      </p:pic>
      <p:pic>
        <p:nvPicPr>
          <p:cNvPr id="16" name="Image 15">
            <a:extLst>
              <a:ext uri="{FF2B5EF4-FFF2-40B4-BE49-F238E27FC236}">
                <a16:creationId xmlns:a16="http://schemas.microsoft.com/office/drawing/2014/main" id="{2941D79A-0AFD-4840-ACD2-34A3E4ADA59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998752" y="4891515"/>
            <a:ext cx="457123" cy="150686"/>
          </a:xfrm>
          <a:prstGeom prst="rect">
            <a:avLst/>
          </a:prstGeom>
        </p:spPr>
      </p:pic>
      <p:sp>
        <p:nvSpPr>
          <p:cNvPr id="18" name="Titre 1">
            <a:extLst>
              <a:ext uri="{FF2B5EF4-FFF2-40B4-BE49-F238E27FC236}">
                <a16:creationId xmlns:a16="http://schemas.microsoft.com/office/drawing/2014/main" id="{313E059A-8078-4892-AE1D-D7D592F864D7}"/>
              </a:ext>
            </a:extLst>
          </p:cNvPr>
          <p:cNvSpPr txBox="1">
            <a:spLocks/>
          </p:cNvSpPr>
          <p:nvPr/>
        </p:nvSpPr>
        <p:spPr bwMode="auto">
          <a:xfrm>
            <a:off x="477950" y="3018785"/>
            <a:ext cx="2797906" cy="3362543"/>
          </a:xfrm>
          <a:prstGeom prst="rect">
            <a:avLst/>
          </a:prstGeom>
          <a:noFill/>
          <a:ln w="9525">
            <a:noFill/>
            <a:miter lim="800000"/>
            <a:headEnd/>
            <a:tailEnd/>
          </a:ln>
        </p:spPr>
        <p:txBody>
          <a:bodyPr/>
          <a:lstStyle/>
          <a:p>
            <a:pPr algn="ctr"/>
            <a:endParaRPr lang="en-GB" sz="2000" b="1" i="1" dirty="0">
              <a:solidFill>
                <a:schemeClr val="accent6"/>
              </a:solidFill>
              <a:latin typeface="+mj-lt"/>
              <a:cs typeface="Arial" pitchFamily="34" charset="0"/>
            </a:endParaRPr>
          </a:p>
          <a:p>
            <a:pPr algn="ctr"/>
            <a:endParaRPr lang="en-GB" sz="2000" b="1" i="1" dirty="0">
              <a:solidFill>
                <a:schemeClr val="accent6"/>
              </a:solidFill>
              <a:latin typeface="+mj-lt"/>
              <a:cs typeface="Arial" pitchFamily="34" charset="0"/>
            </a:endParaRPr>
          </a:p>
          <a:p>
            <a:pPr algn="ctr"/>
            <a:r>
              <a:rPr lang="fr-FR" sz="2000" b="1" dirty="0">
                <a:solidFill>
                  <a:schemeClr val="accent6"/>
                </a:solidFill>
                <a:latin typeface="+mj-lt"/>
                <a:cs typeface="Arial" pitchFamily="34" charset="0"/>
              </a:rPr>
              <a:t>TERRE Stakeholder Workshop</a:t>
            </a:r>
            <a:endParaRPr lang="en-GB" sz="2000" b="1" dirty="0">
              <a:solidFill>
                <a:schemeClr val="accent6"/>
              </a:solidFill>
              <a:latin typeface="+mj-lt"/>
              <a:cs typeface="Arial" pitchFamily="34" charset="0"/>
            </a:endParaRPr>
          </a:p>
          <a:p>
            <a:pPr algn="ctr"/>
            <a:endParaRPr lang="en-GB" sz="2000" i="1" dirty="0">
              <a:cs typeface="Arial" pitchFamily="34" charset="0"/>
            </a:endParaRPr>
          </a:p>
          <a:p>
            <a:pPr algn="ctr"/>
            <a:r>
              <a:rPr lang="en-GB" sz="1600" i="1">
                <a:latin typeface="+mj-lt"/>
                <a:cs typeface="Arial" pitchFamily="34" charset="0"/>
              </a:rPr>
              <a:t>17</a:t>
            </a:r>
            <a:r>
              <a:rPr lang="en-GB" sz="1600" i="1" baseline="30000">
                <a:latin typeface="+mj-lt"/>
                <a:cs typeface="Arial" pitchFamily="34" charset="0"/>
              </a:rPr>
              <a:t>th</a:t>
            </a:r>
            <a:r>
              <a:rPr lang="en-GB" sz="1600" i="1">
                <a:latin typeface="+mj-lt"/>
                <a:cs typeface="Arial" pitchFamily="34" charset="0"/>
              </a:rPr>
              <a:t> May </a:t>
            </a:r>
            <a:r>
              <a:rPr lang="en-GB" sz="1600" i="1" dirty="0">
                <a:latin typeface="+mj-lt"/>
                <a:cs typeface="Arial" pitchFamily="34" charset="0"/>
              </a:rPr>
              <a:t>2024</a:t>
            </a:r>
          </a:p>
        </p:txBody>
      </p:sp>
      <p:pic>
        <p:nvPicPr>
          <p:cNvPr id="1026" name="Picture 2">
            <a:extLst>
              <a:ext uri="{FF2B5EF4-FFF2-40B4-BE49-F238E27FC236}">
                <a16:creationId xmlns:a16="http://schemas.microsoft.com/office/drawing/2014/main" id="{544E7758-C7BB-9FCF-E7C3-0BE494A190D1}"/>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581319" y="4891515"/>
            <a:ext cx="568172" cy="17558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FA373036-A759-13E1-E86A-13C7641D8D1E}"/>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680438" y="4901326"/>
            <a:ext cx="831960" cy="1029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19872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FAFAF-D484-48EC-9831-D5945E558298}"/>
              </a:ext>
            </a:extLst>
          </p:cNvPr>
          <p:cNvSpPr>
            <a:spLocks noGrp="1"/>
          </p:cNvSpPr>
          <p:nvPr>
            <p:ph type="title"/>
          </p:nvPr>
        </p:nvSpPr>
        <p:spPr/>
        <p:txBody>
          <a:bodyPr/>
          <a:lstStyle/>
          <a:p>
            <a:r>
              <a:rPr lang="en-US" dirty="0"/>
              <a:t>Information about the future of the project</a:t>
            </a:r>
            <a:endParaRPr lang="en-GB" dirty="0"/>
          </a:p>
        </p:txBody>
      </p:sp>
      <p:sp>
        <p:nvSpPr>
          <p:cNvPr id="5" name="Slide Number Placeholder 4">
            <a:extLst>
              <a:ext uri="{FF2B5EF4-FFF2-40B4-BE49-F238E27FC236}">
                <a16:creationId xmlns:a16="http://schemas.microsoft.com/office/drawing/2014/main" id="{CFF62232-DE18-4856-BC3F-A463C7430821}"/>
              </a:ext>
            </a:extLst>
          </p:cNvPr>
          <p:cNvSpPr>
            <a:spLocks noGrp="1"/>
          </p:cNvSpPr>
          <p:nvPr>
            <p:ph type="sldNum" sz="quarter" idx="12"/>
          </p:nvPr>
        </p:nvSpPr>
        <p:spPr/>
        <p:txBody>
          <a:bodyPr/>
          <a:lstStyle/>
          <a:p>
            <a:fld id="{6CA6A39B-2923-4814-8F57-BD84643AD2B4}" type="slidenum">
              <a:rPr lang="fr-FR" smtClean="0"/>
              <a:pPr/>
              <a:t>10</a:t>
            </a:fld>
            <a:endParaRPr lang="fr-FR" dirty="0"/>
          </a:p>
        </p:txBody>
      </p:sp>
      <p:sp>
        <p:nvSpPr>
          <p:cNvPr id="6" name="Text Placeholder 5">
            <a:extLst>
              <a:ext uri="{FF2B5EF4-FFF2-40B4-BE49-F238E27FC236}">
                <a16:creationId xmlns:a16="http://schemas.microsoft.com/office/drawing/2014/main" id="{41B01113-3305-4FEF-98D2-0DCB1A28B24E}"/>
              </a:ext>
            </a:extLst>
          </p:cNvPr>
          <p:cNvSpPr>
            <a:spLocks noGrp="1"/>
          </p:cNvSpPr>
          <p:nvPr>
            <p:ph type="body" sz="quarter" idx="13"/>
          </p:nvPr>
        </p:nvSpPr>
        <p:spPr/>
        <p:txBody>
          <a:bodyPr vert="horz" lIns="91440" tIns="45720" rIns="91440" bIns="45720" rtlCol="0" anchor="t">
            <a:noAutofit/>
          </a:bodyPr>
          <a:lstStyle/>
          <a:p>
            <a:r>
              <a:rPr lang="en-US" dirty="0"/>
              <a:t>Technical limitations and central platform implementations</a:t>
            </a:r>
            <a:endParaRPr lang="en-US" dirty="0">
              <a:cs typeface="Calibri"/>
            </a:endParaRPr>
          </a:p>
          <a:p>
            <a:endParaRPr lang="en-US" dirty="0">
              <a:cs typeface="Calibri"/>
            </a:endParaRPr>
          </a:p>
        </p:txBody>
      </p:sp>
      <p:sp>
        <p:nvSpPr>
          <p:cNvPr id="11" name="Content Placeholder 10">
            <a:extLst>
              <a:ext uri="{FF2B5EF4-FFF2-40B4-BE49-F238E27FC236}">
                <a16:creationId xmlns:a16="http://schemas.microsoft.com/office/drawing/2014/main" id="{B687894F-D645-43B8-8CA8-C0B1955F25FE}"/>
              </a:ext>
            </a:extLst>
          </p:cNvPr>
          <p:cNvSpPr>
            <a:spLocks noGrp="1"/>
          </p:cNvSpPr>
          <p:nvPr>
            <p:ph idx="1"/>
          </p:nvPr>
        </p:nvSpPr>
        <p:spPr>
          <a:xfrm>
            <a:off x="323528" y="1083790"/>
            <a:ext cx="8496944" cy="5176494"/>
          </a:xfrm>
        </p:spPr>
        <p:txBody>
          <a:bodyPr vert="horz" lIns="91440" tIns="45720" rIns="91440" bIns="45720" rtlCol="0" anchor="t">
            <a:normAutofit/>
          </a:bodyPr>
          <a:lstStyle/>
          <a:p>
            <a:pPr marL="285750" lvl="1" eaLnBrk="0" fontAlgn="base" hangingPunct="0">
              <a:spcBef>
                <a:spcPct val="0"/>
              </a:spcBef>
              <a:spcAft>
                <a:spcPct val="0"/>
              </a:spcAft>
              <a:buFont typeface="Wingdings" panose="05000000000000000000" pitchFamily="2" charset="2"/>
              <a:buChar char="§"/>
            </a:pPr>
            <a:r>
              <a:rPr lang="en-US" sz="1400" b="1" dirty="0">
                <a:solidFill>
                  <a:schemeClr val="tx2"/>
                </a:solidFill>
                <a:latin typeface="+mj-lt"/>
                <a:cs typeface="Times New Roman" panose="02020603050405020304" pitchFamily="18" charset="0"/>
              </a:rPr>
              <a:t>Technical limitations </a:t>
            </a:r>
          </a:p>
          <a:p>
            <a:pPr marL="0" lvl="1" indent="0" eaLnBrk="0" fontAlgn="base" hangingPunct="0">
              <a:spcBef>
                <a:spcPct val="0"/>
              </a:spcBef>
              <a:spcAft>
                <a:spcPct val="0"/>
              </a:spcAft>
              <a:buNone/>
            </a:pPr>
            <a:endParaRPr lang="en-US" sz="900" b="1" dirty="0">
              <a:solidFill>
                <a:schemeClr val="tx2"/>
              </a:solidFill>
              <a:latin typeface="+mj-lt"/>
              <a:cs typeface="Times New Roman" panose="02020603050405020304" pitchFamily="18" charset="0"/>
            </a:endParaRPr>
          </a:p>
          <a:p>
            <a:pPr marL="0" lvl="1" indent="0" eaLnBrk="0" fontAlgn="base" hangingPunct="0">
              <a:spcBef>
                <a:spcPct val="0"/>
              </a:spcBef>
              <a:spcAft>
                <a:spcPct val="0"/>
              </a:spcAft>
              <a:buNone/>
            </a:pPr>
            <a:r>
              <a:rPr lang="en-US" sz="1400" dirty="0">
                <a:latin typeface="Calibri" panose="020F0502020204030204" pitchFamily="34" charset="0"/>
                <a:ea typeface="Calibri" panose="020F0502020204030204" pitchFamily="34" charset="0"/>
              </a:rPr>
              <a:t>Today RR process allows a Full Activation Time (FAT) of 30 minutes and a delivery period up to 60 minutes.</a:t>
            </a:r>
          </a:p>
          <a:p>
            <a:pPr marL="0" lvl="1" indent="0" eaLnBrk="0" fontAlgn="base" hangingPunct="0">
              <a:spcBef>
                <a:spcPct val="0"/>
              </a:spcBef>
              <a:spcAft>
                <a:spcPct val="0"/>
              </a:spcAft>
              <a:buNone/>
            </a:pPr>
            <a:r>
              <a:rPr lang="en-US" sz="1400" dirty="0">
                <a:latin typeface="Calibri" panose="020F0502020204030204" pitchFamily="34" charset="0"/>
                <a:ea typeface="Calibri" panose="020F0502020204030204" pitchFamily="34" charset="0"/>
              </a:rPr>
              <a:t>The final design of the RR process with 96 clearings would still allow a FAT of 30 minutes but the maximum delivery period would only be 15 minutes as in MARI. That process with 96 clearings will cause significant</a:t>
            </a:r>
            <a:r>
              <a:rPr lang="en-US" sz="1400" dirty="0">
                <a:effectLst/>
                <a:latin typeface="Calibri" panose="020F0502020204030204" pitchFamily="34" charset="0"/>
                <a:ea typeface="Calibri" panose="020F0502020204030204" pitchFamily="34" charset="0"/>
              </a:rPr>
              <a:t> loss </a:t>
            </a:r>
            <a:r>
              <a:rPr lang="en-US" sz="1400" dirty="0">
                <a:latin typeface="Calibri" panose="020F0502020204030204" pitchFamily="34" charset="0"/>
                <a:ea typeface="Calibri" panose="020F0502020204030204" pitchFamily="34" charset="0"/>
              </a:rPr>
              <a:t>of liquidity and a very similar process to MARI. Then the added value of the RR process will be significantly lower than today (very different product, market and need than MARI).</a:t>
            </a:r>
          </a:p>
          <a:p>
            <a:pPr marL="0" lvl="1" indent="0" eaLnBrk="0" fontAlgn="base" hangingPunct="0">
              <a:spcBef>
                <a:spcPct val="0"/>
              </a:spcBef>
              <a:spcAft>
                <a:spcPct val="0"/>
              </a:spcAft>
              <a:buNone/>
            </a:pPr>
            <a:endParaRPr lang="en-US" sz="1050" b="1" dirty="0">
              <a:solidFill>
                <a:schemeClr val="tx2"/>
              </a:solidFill>
              <a:latin typeface="+mj-lt"/>
              <a:cs typeface="Times New Roman" panose="02020603050405020304" pitchFamily="18" charset="0"/>
            </a:endParaRPr>
          </a:p>
          <a:p>
            <a:pPr marL="285750" lvl="1" eaLnBrk="0" fontAlgn="base" hangingPunct="0">
              <a:spcBef>
                <a:spcPct val="0"/>
              </a:spcBef>
              <a:spcAft>
                <a:spcPct val="0"/>
              </a:spcAft>
              <a:buFont typeface="Wingdings" panose="05000000000000000000" pitchFamily="2" charset="2"/>
              <a:buChar char="§"/>
            </a:pPr>
            <a:r>
              <a:rPr lang="en-US" sz="1400" b="1" dirty="0">
                <a:solidFill>
                  <a:schemeClr val="tx2"/>
                </a:solidFill>
                <a:latin typeface="+mj-lt"/>
                <a:cs typeface="Times New Roman" panose="02020603050405020304" pitchFamily="18" charset="0"/>
              </a:rPr>
              <a:t>Cost of implementations</a:t>
            </a:r>
          </a:p>
          <a:p>
            <a:pPr marL="0" lvl="1" indent="0" eaLnBrk="0" fontAlgn="base" hangingPunct="0">
              <a:spcBef>
                <a:spcPct val="0"/>
              </a:spcBef>
              <a:spcAft>
                <a:spcPct val="0"/>
              </a:spcAft>
              <a:buNone/>
            </a:pPr>
            <a:endParaRPr lang="en-US" sz="800" b="1" dirty="0">
              <a:solidFill>
                <a:schemeClr val="tx2"/>
              </a:solidFill>
              <a:latin typeface="+mj-lt"/>
              <a:cs typeface="Times New Roman" panose="02020603050405020304" pitchFamily="18" charset="0"/>
            </a:endParaRPr>
          </a:p>
          <a:p>
            <a:pPr marL="685800" lvl="2" eaLnBrk="0" fontAlgn="base" hangingPunct="0">
              <a:spcBef>
                <a:spcPct val="0"/>
              </a:spcBef>
              <a:spcAft>
                <a:spcPct val="0"/>
              </a:spcAft>
            </a:pPr>
            <a:r>
              <a:rPr lang="en-US" sz="1400" b="1" dirty="0">
                <a:latin typeface="+mj-lt"/>
                <a:cs typeface="Times New Roman" panose="02020603050405020304" pitchFamily="18" charset="0"/>
              </a:rPr>
              <a:t>Central platform</a:t>
            </a:r>
          </a:p>
          <a:p>
            <a:pPr marL="0" indent="0">
              <a:buNone/>
            </a:pPr>
            <a:endParaRPr lang="en-US" sz="1600" b="1" dirty="0">
              <a:solidFill>
                <a:schemeClr val="tx2"/>
              </a:solidFill>
              <a:latin typeface="+mj-lt"/>
              <a:cs typeface="Times New Roman" panose="02020603050405020304" pitchFamily="18" charset="0"/>
            </a:endParaRPr>
          </a:p>
        </p:txBody>
      </p:sp>
      <p:sp>
        <p:nvSpPr>
          <p:cNvPr id="8" name="Date Placeholder 1">
            <a:extLst>
              <a:ext uri="{FF2B5EF4-FFF2-40B4-BE49-F238E27FC236}">
                <a16:creationId xmlns:a16="http://schemas.microsoft.com/office/drawing/2014/main" id="{CF3E491C-24C3-4781-B19C-B6A08EBEF640}"/>
              </a:ext>
            </a:extLst>
          </p:cNvPr>
          <p:cNvSpPr>
            <a:spLocks noGrp="1"/>
          </p:cNvSpPr>
          <p:nvPr>
            <p:ph type="dt" sz="half" idx="10"/>
          </p:nvPr>
        </p:nvSpPr>
        <p:spPr>
          <a:xfrm>
            <a:off x="457200" y="6356350"/>
            <a:ext cx="2133600" cy="365125"/>
          </a:xfrm>
        </p:spPr>
        <p:txBody>
          <a:bodyPr/>
          <a:lstStyle/>
          <a:p>
            <a:fld id="{0A7CBA9C-3313-448C-9E65-11E456116ACB}" type="datetime1">
              <a:rPr lang="fr-FR" smtClean="0"/>
              <a:t>23/04/2024</a:t>
            </a:fld>
            <a:endParaRPr lang="fr-FR" dirty="0"/>
          </a:p>
        </p:txBody>
      </p:sp>
      <p:pic>
        <p:nvPicPr>
          <p:cNvPr id="38" name="Picture 37">
            <a:extLst>
              <a:ext uri="{FF2B5EF4-FFF2-40B4-BE49-F238E27FC236}">
                <a16:creationId xmlns:a16="http://schemas.microsoft.com/office/drawing/2014/main" id="{510B0190-2912-028D-6B5A-E9E6B84C243D}"/>
              </a:ext>
            </a:extLst>
          </p:cNvPr>
          <p:cNvPicPr>
            <a:picLocks noChangeAspect="1"/>
          </p:cNvPicPr>
          <p:nvPr/>
        </p:nvPicPr>
        <p:blipFill>
          <a:blip r:embed="rId3"/>
          <a:stretch>
            <a:fillRect/>
          </a:stretch>
        </p:blipFill>
        <p:spPr>
          <a:xfrm>
            <a:off x="323528" y="3306216"/>
            <a:ext cx="5940152" cy="2599892"/>
          </a:xfrm>
          <a:prstGeom prst="rect">
            <a:avLst/>
          </a:prstGeom>
        </p:spPr>
      </p:pic>
      <p:grpSp>
        <p:nvGrpSpPr>
          <p:cNvPr id="39" name="Group 38">
            <a:extLst>
              <a:ext uri="{FF2B5EF4-FFF2-40B4-BE49-F238E27FC236}">
                <a16:creationId xmlns:a16="http://schemas.microsoft.com/office/drawing/2014/main" id="{CC102EF3-FDEE-92AE-D8FF-90B2B420067F}"/>
              </a:ext>
            </a:extLst>
          </p:cNvPr>
          <p:cNvGrpSpPr/>
          <p:nvPr/>
        </p:nvGrpSpPr>
        <p:grpSpPr>
          <a:xfrm>
            <a:off x="827584" y="5945341"/>
            <a:ext cx="4835114" cy="430887"/>
            <a:chOff x="3697326" y="1269921"/>
            <a:chExt cx="4835114" cy="430887"/>
          </a:xfrm>
        </p:grpSpPr>
        <p:grpSp>
          <p:nvGrpSpPr>
            <p:cNvPr id="40" name="Group 39">
              <a:extLst>
                <a:ext uri="{FF2B5EF4-FFF2-40B4-BE49-F238E27FC236}">
                  <a16:creationId xmlns:a16="http://schemas.microsoft.com/office/drawing/2014/main" id="{636E483A-D3D3-1782-CCC6-A4FF707A4C70}"/>
                </a:ext>
              </a:extLst>
            </p:cNvPr>
            <p:cNvGrpSpPr/>
            <p:nvPr/>
          </p:nvGrpSpPr>
          <p:grpSpPr>
            <a:xfrm>
              <a:off x="6228184" y="1333343"/>
              <a:ext cx="2304256" cy="261610"/>
              <a:chOff x="3203848" y="6407750"/>
              <a:chExt cx="2304256" cy="261610"/>
            </a:xfrm>
          </p:grpSpPr>
          <p:sp>
            <p:nvSpPr>
              <p:cNvPr id="44" name="TextBox 43">
                <a:extLst>
                  <a:ext uri="{FF2B5EF4-FFF2-40B4-BE49-F238E27FC236}">
                    <a16:creationId xmlns:a16="http://schemas.microsoft.com/office/drawing/2014/main" id="{67594A51-D4B9-A8F8-8743-1C64D3CF83C5}"/>
                  </a:ext>
                </a:extLst>
              </p:cNvPr>
              <p:cNvSpPr txBox="1"/>
              <p:nvPr/>
            </p:nvSpPr>
            <p:spPr>
              <a:xfrm>
                <a:off x="4658452" y="6407750"/>
                <a:ext cx="849652" cy="261610"/>
              </a:xfrm>
              <a:prstGeom prst="rect">
                <a:avLst/>
              </a:prstGeom>
              <a:noFill/>
            </p:spPr>
            <p:txBody>
              <a:bodyPr wrap="square" rtlCol="0">
                <a:spAutoFit/>
              </a:bodyPr>
              <a:lstStyle/>
              <a:p>
                <a:r>
                  <a:rPr lang="en-US" sz="1100" dirty="0"/>
                  <a:t>Services</a:t>
                </a:r>
              </a:p>
            </p:txBody>
          </p:sp>
          <p:sp>
            <p:nvSpPr>
              <p:cNvPr id="45" name="TextBox 44">
                <a:extLst>
                  <a:ext uri="{FF2B5EF4-FFF2-40B4-BE49-F238E27FC236}">
                    <a16:creationId xmlns:a16="http://schemas.microsoft.com/office/drawing/2014/main" id="{6279028B-CBEA-82C3-475D-91B6641FFF8F}"/>
                  </a:ext>
                </a:extLst>
              </p:cNvPr>
              <p:cNvSpPr txBox="1"/>
              <p:nvPr/>
            </p:nvSpPr>
            <p:spPr>
              <a:xfrm>
                <a:off x="3355910" y="6407750"/>
                <a:ext cx="1000066" cy="261610"/>
              </a:xfrm>
              <a:prstGeom prst="rect">
                <a:avLst/>
              </a:prstGeom>
              <a:noFill/>
            </p:spPr>
            <p:txBody>
              <a:bodyPr wrap="square" rtlCol="0">
                <a:spAutoFit/>
              </a:bodyPr>
              <a:lstStyle/>
              <a:p>
                <a:r>
                  <a:rPr lang="en-US" sz="1100" dirty="0"/>
                  <a:t>Main modules</a:t>
                </a:r>
              </a:p>
            </p:txBody>
          </p:sp>
          <p:sp>
            <p:nvSpPr>
              <p:cNvPr id="46" name="Rectangle 45">
                <a:extLst>
                  <a:ext uri="{FF2B5EF4-FFF2-40B4-BE49-F238E27FC236}">
                    <a16:creationId xmlns:a16="http://schemas.microsoft.com/office/drawing/2014/main" id="{85A134DA-B3AF-CC98-2741-03419183DCA7}"/>
                  </a:ext>
                </a:extLst>
              </p:cNvPr>
              <p:cNvSpPr/>
              <p:nvPr/>
            </p:nvSpPr>
            <p:spPr>
              <a:xfrm>
                <a:off x="4456647" y="6473713"/>
                <a:ext cx="187361" cy="1296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Rectangle 46">
                <a:extLst>
                  <a:ext uri="{FF2B5EF4-FFF2-40B4-BE49-F238E27FC236}">
                    <a16:creationId xmlns:a16="http://schemas.microsoft.com/office/drawing/2014/main" id="{1F1C56A6-5EE1-9AE1-1C0D-C1B2C8C8D14B}"/>
                  </a:ext>
                </a:extLst>
              </p:cNvPr>
              <p:cNvSpPr/>
              <p:nvPr/>
            </p:nvSpPr>
            <p:spPr>
              <a:xfrm>
                <a:off x="3203848" y="6473713"/>
                <a:ext cx="187361" cy="129685"/>
              </a:xfrm>
              <a:prstGeom prst="rect">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1" name="Group 40">
              <a:extLst>
                <a:ext uri="{FF2B5EF4-FFF2-40B4-BE49-F238E27FC236}">
                  <a16:creationId xmlns:a16="http://schemas.microsoft.com/office/drawing/2014/main" id="{81EC468E-A9E2-96E0-17B8-9D1B2AAF959B}"/>
                </a:ext>
              </a:extLst>
            </p:cNvPr>
            <p:cNvGrpSpPr/>
            <p:nvPr/>
          </p:nvGrpSpPr>
          <p:grpSpPr>
            <a:xfrm>
              <a:off x="3697326" y="1269921"/>
              <a:ext cx="2380444" cy="430887"/>
              <a:chOff x="3697326" y="1269921"/>
              <a:chExt cx="2380444" cy="430887"/>
            </a:xfrm>
          </p:grpSpPr>
          <p:sp>
            <p:nvSpPr>
              <p:cNvPr id="42" name="Rectangle 41">
                <a:extLst>
                  <a:ext uri="{FF2B5EF4-FFF2-40B4-BE49-F238E27FC236}">
                    <a16:creationId xmlns:a16="http://schemas.microsoft.com/office/drawing/2014/main" id="{B2853636-E661-FA4B-77FE-DE359E2C67CD}"/>
                  </a:ext>
                </a:extLst>
              </p:cNvPr>
              <p:cNvSpPr/>
              <p:nvPr/>
            </p:nvSpPr>
            <p:spPr>
              <a:xfrm>
                <a:off x="3697326" y="1382795"/>
                <a:ext cx="299003" cy="169475"/>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2FDBC746-6D83-FDD9-330C-DCED0F373593}"/>
                  </a:ext>
                </a:extLst>
              </p:cNvPr>
              <p:cNvSpPr txBox="1"/>
              <p:nvPr/>
            </p:nvSpPr>
            <p:spPr>
              <a:xfrm>
                <a:off x="3996329" y="1269921"/>
                <a:ext cx="2081441" cy="430887"/>
              </a:xfrm>
              <a:prstGeom prst="rect">
                <a:avLst/>
              </a:prstGeom>
              <a:noFill/>
            </p:spPr>
            <p:txBody>
              <a:bodyPr wrap="square" rtlCol="0">
                <a:spAutoFit/>
              </a:bodyPr>
              <a:lstStyle/>
              <a:p>
                <a:r>
                  <a:rPr lang="en-US" sz="1050" dirty="0"/>
                  <a:t>Most impacted lot with important implementations needed</a:t>
                </a:r>
              </a:p>
            </p:txBody>
          </p:sp>
        </p:grpSp>
      </p:grpSp>
      <p:sp>
        <p:nvSpPr>
          <p:cNvPr id="48" name="TextBox 47">
            <a:extLst>
              <a:ext uri="{FF2B5EF4-FFF2-40B4-BE49-F238E27FC236}">
                <a16:creationId xmlns:a16="http://schemas.microsoft.com/office/drawing/2014/main" id="{72335FA9-2DBB-4BFC-9E06-8F6CFE464F88}"/>
              </a:ext>
            </a:extLst>
          </p:cNvPr>
          <p:cNvSpPr txBox="1"/>
          <p:nvPr/>
        </p:nvSpPr>
        <p:spPr>
          <a:xfrm>
            <a:off x="6438528" y="3396793"/>
            <a:ext cx="2362944" cy="2308324"/>
          </a:xfrm>
          <a:prstGeom prst="rect">
            <a:avLst/>
          </a:prstGeom>
          <a:noFill/>
        </p:spPr>
        <p:txBody>
          <a:bodyPr wrap="square" rtlCol="0" anchor="t">
            <a:spAutoFit/>
          </a:bodyPr>
          <a:lstStyle/>
          <a:p>
            <a:pPr algn="just"/>
            <a:r>
              <a:rPr lang="en-US" sz="1200" dirty="0"/>
              <a:t>TERRE TSOs gathered cost and time estimations to implement to 96 clearings in the TERRE platform for </a:t>
            </a:r>
            <a:r>
              <a:rPr lang="en-US" sz="1200" b="1" dirty="0"/>
              <a:t>lot B1 and B2</a:t>
            </a:r>
            <a:r>
              <a:rPr lang="en-US" sz="1200" dirty="0"/>
              <a:t>, which are lots most impacted by the change.</a:t>
            </a:r>
          </a:p>
          <a:p>
            <a:pPr algn="just"/>
            <a:endParaRPr lang="en-US" sz="1200" dirty="0"/>
          </a:p>
          <a:p>
            <a:pPr algn="just"/>
            <a:r>
              <a:rPr lang="en-US" sz="1200" dirty="0"/>
              <a:t>Nevertheless, lot C, D, E and F should be also impacted by the switch to 96 clearings in a less important way. TSOs made some rough estimations to try to measure these costs.</a:t>
            </a:r>
          </a:p>
        </p:txBody>
      </p:sp>
    </p:spTree>
    <p:extLst>
      <p:ext uri="{BB962C8B-B14F-4D97-AF65-F5344CB8AC3E}">
        <p14:creationId xmlns:p14="http://schemas.microsoft.com/office/powerpoint/2010/main" val="37273193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BF6A8A-F1AB-1333-6F9D-8892D03CBF6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CBB42DB-35FB-DABE-B664-ED9CB92C1C91}"/>
              </a:ext>
            </a:extLst>
          </p:cNvPr>
          <p:cNvSpPr>
            <a:spLocks noGrp="1"/>
          </p:cNvSpPr>
          <p:nvPr>
            <p:ph type="title"/>
          </p:nvPr>
        </p:nvSpPr>
        <p:spPr/>
        <p:txBody>
          <a:bodyPr/>
          <a:lstStyle/>
          <a:p>
            <a:r>
              <a:rPr lang="en-US" dirty="0"/>
              <a:t>Information about the future of the project</a:t>
            </a:r>
            <a:endParaRPr lang="en-GB" dirty="0"/>
          </a:p>
        </p:txBody>
      </p:sp>
      <p:sp>
        <p:nvSpPr>
          <p:cNvPr id="5" name="Slide Number Placeholder 4">
            <a:extLst>
              <a:ext uri="{FF2B5EF4-FFF2-40B4-BE49-F238E27FC236}">
                <a16:creationId xmlns:a16="http://schemas.microsoft.com/office/drawing/2014/main" id="{A8774155-B715-1CF7-D906-EF298B594A6D}"/>
              </a:ext>
            </a:extLst>
          </p:cNvPr>
          <p:cNvSpPr>
            <a:spLocks noGrp="1"/>
          </p:cNvSpPr>
          <p:nvPr>
            <p:ph type="sldNum" sz="quarter" idx="12"/>
          </p:nvPr>
        </p:nvSpPr>
        <p:spPr/>
        <p:txBody>
          <a:bodyPr/>
          <a:lstStyle/>
          <a:p>
            <a:fld id="{6CA6A39B-2923-4814-8F57-BD84643AD2B4}" type="slidenum">
              <a:rPr lang="fr-FR" smtClean="0"/>
              <a:pPr/>
              <a:t>11</a:t>
            </a:fld>
            <a:endParaRPr lang="fr-FR" dirty="0"/>
          </a:p>
        </p:txBody>
      </p:sp>
      <p:sp>
        <p:nvSpPr>
          <p:cNvPr id="6" name="Text Placeholder 5">
            <a:extLst>
              <a:ext uri="{FF2B5EF4-FFF2-40B4-BE49-F238E27FC236}">
                <a16:creationId xmlns:a16="http://schemas.microsoft.com/office/drawing/2014/main" id="{C7D36816-1097-8F79-4E19-AC116E4A15FA}"/>
              </a:ext>
            </a:extLst>
          </p:cNvPr>
          <p:cNvSpPr>
            <a:spLocks noGrp="1"/>
          </p:cNvSpPr>
          <p:nvPr>
            <p:ph type="body" sz="quarter" idx="13"/>
          </p:nvPr>
        </p:nvSpPr>
        <p:spPr/>
        <p:txBody>
          <a:bodyPr vert="horz" lIns="91440" tIns="45720" rIns="91440" bIns="45720" rtlCol="0" anchor="t">
            <a:noAutofit/>
          </a:bodyPr>
          <a:lstStyle/>
          <a:p>
            <a:r>
              <a:rPr lang="en-US" dirty="0"/>
              <a:t>Conclusion for costs of implementation for the central platform</a:t>
            </a:r>
            <a:endParaRPr lang="en-US" dirty="0">
              <a:cs typeface="Calibri"/>
            </a:endParaRPr>
          </a:p>
          <a:p>
            <a:endParaRPr lang="en-US" dirty="0">
              <a:cs typeface="Calibri"/>
            </a:endParaRPr>
          </a:p>
        </p:txBody>
      </p:sp>
      <p:sp>
        <p:nvSpPr>
          <p:cNvPr id="8" name="Date Placeholder 1">
            <a:extLst>
              <a:ext uri="{FF2B5EF4-FFF2-40B4-BE49-F238E27FC236}">
                <a16:creationId xmlns:a16="http://schemas.microsoft.com/office/drawing/2014/main" id="{2A17DB09-1813-A126-BB93-65B864DF60F8}"/>
              </a:ext>
            </a:extLst>
          </p:cNvPr>
          <p:cNvSpPr>
            <a:spLocks noGrp="1"/>
          </p:cNvSpPr>
          <p:nvPr>
            <p:ph type="dt" sz="half" idx="10"/>
          </p:nvPr>
        </p:nvSpPr>
        <p:spPr>
          <a:xfrm>
            <a:off x="457200" y="6356350"/>
            <a:ext cx="2133600" cy="365125"/>
          </a:xfrm>
        </p:spPr>
        <p:txBody>
          <a:bodyPr/>
          <a:lstStyle/>
          <a:p>
            <a:fld id="{0A7CBA9C-3313-448C-9E65-11E456116ACB}" type="datetime1">
              <a:rPr lang="fr-FR" smtClean="0"/>
              <a:t>23/04/2024</a:t>
            </a:fld>
            <a:endParaRPr lang="fr-FR" dirty="0"/>
          </a:p>
        </p:txBody>
      </p:sp>
      <p:sp>
        <p:nvSpPr>
          <p:cNvPr id="10" name="Content Placeholder 10">
            <a:extLst>
              <a:ext uri="{FF2B5EF4-FFF2-40B4-BE49-F238E27FC236}">
                <a16:creationId xmlns:a16="http://schemas.microsoft.com/office/drawing/2014/main" id="{AB07F490-E607-4675-7B8A-A1A1E0B9C72B}"/>
              </a:ext>
            </a:extLst>
          </p:cNvPr>
          <p:cNvSpPr txBox="1">
            <a:spLocks/>
          </p:cNvSpPr>
          <p:nvPr/>
        </p:nvSpPr>
        <p:spPr>
          <a:xfrm>
            <a:off x="323528" y="1052736"/>
            <a:ext cx="8496944" cy="5729587"/>
          </a:xfrm>
          <a:prstGeom prst="rect">
            <a:avLst/>
          </a:prstGeom>
        </p:spPr>
        <p:txBody>
          <a:bodyPr vert="horz" lIns="91440" tIns="45720" rIns="91440" bIns="45720" rtlCol="0" anchor="t">
            <a:normAutofit/>
          </a:bodyPr>
          <a:lstStyle>
            <a:lvl1pPr marL="342900" indent="-342900" algn="l" defTabSz="914400" rtl="0" eaLnBrk="1" latinLnBrk="0" hangingPunct="1">
              <a:spcBef>
                <a:spcPct val="20000"/>
              </a:spcBef>
              <a:buClr>
                <a:schemeClr val="tx2"/>
              </a:buClr>
              <a:buFont typeface="Wingdings" panose="05000000000000000000" pitchFamily="2" charset="2"/>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eaLnBrk="0" fontAlgn="base" hangingPunct="0">
              <a:spcBef>
                <a:spcPct val="0"/>
              </a:spcBef>
              <a:spcAft>
                <a:spcPct val="0"/>
              </a:spcAft>
              <a:buFont typeface="Arial" pitchFamily="34" charset="0"/>
              <a:buNone/>
            </a:pPr>
            <a:r>
              <a:rPr lang="en-US" sz="1400" b="1" dirty="0">
                <a:latin typeface="+mj-lt"/>
                <a:cs typeface="Times New Roman" panose="02020603050405020304" pitchFamily="18" charset="0"/>
              </a:rPr>
              <a:t>Conclusion</a:t>
            </a:r>
            <a:endParaRPr lang="en-US" sz="1600" b="1" i="1" dirty="0">
              <a:cs typeface="Times New Roman" panose="02020603050405020304" pitchFamily="18" charset="0"/>
            </a:endParaRPr>
          </a:p>
          <a:p>
            <a:pPr marL="0" lvl="1" indent="0" eaLnBrk="0" fontAlgn="base" hangingPunct="0">
              <a:spcBef>
                <a:spcPct val="0"/>
              </a:spcBef>
              <a:spcAft>
                <a:spcPct val="0"/>
              </a:spcAft>
              <a:buFont typeface="Arial" pitchFamily="34" charset="0"/>
              <a:buNone/>
            </a:pPr>
            <a:endParaRPr lang="en-US" sz="1200" i="1" dirty="0">
              <a:solidFill>
                <a:srgbClr val="000000"/>
              </a:solidFill>
              <a:latin typeface="Calibri" panose="020F0502020204030204" pitchFamily="34" charset="0"/>
            </a:endParaRPr>
          </a:p>
          <a:p>
            <a:pPr marL="0" lvl="1" indent="0" eaLnBrk="0" fontAlgn="base" hangingPunct="0">
              <a:spcBef>
                <a:spcPct val="0"/>
              </a:spcBef>
              <a:spcAft>
                <a:spcPct val="0"/>
              </a:spcAft>
              <a:buFont typeface="Arial" pitchFamily="34" charset="0"/>
              <a:buNone/>
            </a:pPr>
            <a:r>
              <a:rPr lang="en-US" sz="1400" i="1" dirty="0">
                <a:solidFill>
                  <a:srgbClr val="000000"/>
                </a:solidFill>
                <a:latin typeface="Calibri" panose="020F0502020204030204" pitchFamily="34" charset="0"/>
              </a:rPr>
              <a:t>The cost and time needed to implement all required changes to adapt the TERRE platform (optimization algorithm, IT interface and all data management) to operate with 96 clearings are estimated around: </a:t>
            </a:r>
          </a:p>
          <a:p>
            <a:pPr marL="0" lvl="1" indent="0" algn="ctr" eaLnBrk="0" fontAlgn="base" hangingPunct="0">
              <a:spcBef>
                <a:spcPct val="0"/>
              </a:spcBef>
              <a:spcAft>
                <a:spcPct val="0"/>
              </a:spcAft>
              <a:buFont typeface="Arial" pitchFamily="34" charset="0"/>
              <a:buNone/>
            </a:pPr>
            <a:endParaRPr lang="en-US" sz="1400" b="1" i="1" dirty="0">
              <a:solidFill>
                <a:srgbClr val="000000"/>
              </a:solidFill>
              <a:latin typeface="Calibri" panose="020F0502020204030204" pitchFamily="34" charset="0"/>
            </a:endParaRPr>
          </a:p>
          <a:p>
            <a:pPr marL="0" lvl="1" indent="0" algn="ctr" eaLnBrk="0" fontAlgn="base" hangingPunct="0">
              <a:spcBef>
                <a:spcPct val="0"/>
              </a:spcBef>
              <a:spcAft>
                <a:spcPct val="0"/>
              </a:spcAft>
              <a:buFont typeface="Arial" pitchFamily="34" charset="0"/>
              <a:buNone/>
            </a:pPr>
            <a:r>
              <a:rPr lang="en-US" sz="1400" b="1" i="1" dirty="0">
                <a:solidFill>
                  <a:srgbClr val="000000"/>
                </a:solidFill>
                <a:latin typeface="Calibri" panose="020F0502020204030204" pitchFamily="34" charset="0"/>
              </a:rPr>
              <a:t>14 months and 700 – 1 500 k€ - one-time costs </a:t>
            </a:r>
          </a:p>
          <a:p>
            <a:pPr marL="0" lvl="1" indent="0" algn="ctr" eaLnBrk="0" fontAlgn="base" hangingPunct="0">
              <a:spcBef>
                <a:spcPct val="0"/>
              </a:spcBef>
              <a:spcAft>
                <a:spcPct val="0"/>
              </a:spcAft>
              <a:buFont typeface="Arial" pitchFamily="34" charset="0"/>
              <a:buNone/>
            </a:pPr>
            <a:r>
              <a:rPr lang="en-US" sz="1050" b="1" i="1" dirty="0">
                <a:solidFill>
                  <a:srgbClr val="000000"/>
                </a:solidFill>
                <a:latin typeface="Calibri" panose="020F0502020204030204" pitchFamily="34" charset="0"/>
              </a:rPr>
              <a:t>(coming from IT suppliers’ estimations for lots B1 and B2)</a:t>
            </a:r>
            <a:endParaRPr lang="en-US" sz="1400" b="1" i="1" dirty="0">
              <a:solidFill>
                <a:srgbClr val="000000"/>
              </a:solidFill>
              <a:latin typeface="Calibri" panose="020F0502020204030204" pitchFamily="34" charset="0"/>
            </a:endParaRPr>
          </a:p>
          <a:p>
            <a:pPr marL="0" lvl="1" indent="0" eaLnBrk="0" fontAlgn="base" hangingPunct="0">
              <a:spcBef>
                <a:spcPct val="0"/>
              </a:spcBef>
              <a:spcAft>
                <a:spcPct val="0"/>
              </a:spcAft>
              <a:buFont typeface="Arial" pitchFamily="34" charset="0"/>
              <a:buNone/>
            </a:pPr>
            <a:endParaRPr lang="en-US" sz="1400" b="1" i="1" dirty="0">
              <a:solidFill>
                <a:srgbClr val="000000"/>
              </a:solidFill>
              <a:latin typeface="Calibri" panose="020F0502020204030204" pitchFamily="34" charset="0"/>
            </a:endParaRPr>
          </a:p>
          <a:p>
            <a:pPr marL="0" lvl="1" indent="0" eaLnBrk="0" fontAlgn="base" hangingPunct="0">
              <a:spcBef>
                <a:spcPct val="0"/>
              </a:spcBef>
              <a:spcAft>
                <a:spcPct val="0"/>
              </a:spcAft>
              <a:buFont typeface="Arial" pitchFamily="34" charset="0"/>
              <a:buNone/>
            </a:pPr>
            <a:r>
              <a:rPr lang="en-US" sz="1400" i="1" dirty="0">
                <a:latin typeface="Calibri" panose="020F0502020204030204" pitchFamily="34" charset="0"/>
                <a:ea typeface="Calibri" panose="020F0502020204030204" pitchFamily="34" charset="0"/>
              </a:rPr>
              <a:t>It is important to note these costs are not including lots C, D, E and F and local implementations (on TSOs and BSPs side). So, the real cost shall be expected to be higher.</a:t>
            </a:r>
            <a:endParaRPr lang="en-US" sz="1400" i="1" dirty="0">
              <a:latin typeface="Calibri" panose="020F0502020204030204" pitchFamily="34" charset="0"/>
              <a:ea typeface="Calibri" panose="020F0502020204030204" pitchFamily="34" charset="0"/>
              <a:cs typeface="Calibri"/>
            </a:endParaRPr>
          </a:p>
          <a:p>
            <a:pPr marL="0" lvl="1" indent="0" eaLnBrk="0" fontAlgn="base" hangingPunct="0">
              <a:spcBef>
                <a:spcPct val="0"/>
              </a:spcBef>
              <a:spcAft>
                <a:spcPct val="0"/>
              </a:spcAft>
              <a:buFont typeface="Arial" pitchFamily="34" charset="0"/>
              <a:buNone/>
            </a:pPr>
            <a:endParaRPr lang="en-US" sz="1200" b="1" i="1" dirty="0">
              <a:solidFill>
                <a:srgbClr val="000000"/>
              </a:solidFill>
              <a:latin typeface="Calibri" panose="020F0502020204030204" pitchFamily="34" charset="0"/>
            </a:endParaRPr>
          </a:p>
          <a:p>
            <a:pPr marL="0" lvl="1" indent="0" eaLnBrk="0" fontAlgn="base" hangingPunct="0">
              <a:spcBef>
                <a:spcPct val="0"/>
              </a:spcBef>
              <a:spcAft>
                <a:spcPct val="0"/>
              </a:spcAft>
              <a:buFont typeface="Arial" pitchFamily="34" charset="0"/>
              <a:buNone/>
            </a:pPr>
            <a:endParaRPr lang="en-US" sz="1100" i="1"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5051162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35EDA2-F2E2-E5A6-53D6-BAFD3648C1D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054631E-DAB9-2354-D331-93C7B9943103}"/>
              </a:ext>
            </a:extLst>
          </p:cNvPr>
          <p:cNvSpPr>
            <a:spLocks noGrp="1"/>
          </p:cNvSpPr>
          <p:nvPr>
            <p:ph type="title"/>
          </p:nvPr>
        </p:nvSpPr>
        <p:spPr/>
        <p:txBody>
          <a:bodyPr/>
          <a:lstStyle/>
          <a:p>
            <a:r>
              <a:rPr lang="en-US" dirty="0"/>
              <a:t>Information about the future of the project</a:t>
            </a:r>
            <a:endParaRPr lang="en-GB" dirty="0"/>
          </a:p>
        </p:txBody>
      </p:sp>
      <p:sp>
        <p:nvSpPr>
          <p:cNvPr id="5" name="Slide Number Placeholder 4">
            <a:extLst>
              <a:ext uri="{FF2B5EF4-FFF2-40B4-BE49-F238E27FC236}">
                <a16:creationId xmlns:a16="http://schemas.microsoft.com/office/drawing/2014/main" id="{DC2F2030-D361-58DF-80E4-2E472BE91263}"/>
              </a:ext>
            </a:extLst>
          </p:cNvPr>
          <p:cNvSpPr>
            <a:spLocks noGrp="1"/>
          </p:cNvSpPr>
          <p:nvPr>
            <p:ph type="sldNum" sz="quarter" idx="12"/>
          </p:nvPr>
        </p:nvSpPr>
        <p:spPr/>
        <p:txBody>
          <a:bodyPr/>
          <a:lstStyle/>
          <a:p>
            <a:fld id="{6CA6A39B-2923-4814-8F57-BD84643AD2B4}" type="slidenum">
              <a:rPr lang="fr-FR" smtClean="0"/>
              <a:pPr/>
              <a:t>12</a:t>
            </a:fld>
            <a:endParaRPr lang="fr-FR" dirty="0"/>
          </a:p>
        </p:txBody>
      </p:sp>
      <p:sp>
        <p:nvSpPr>
          <p:cNvPr id="6" name="Text Placeholder 5">
            <a:extLst>
              <a:ext uri="{FF2B5EF4-FFF2-40B4-BE49-F238E27FC236}">
                <a16:creationId xmlns:a16="http://schemas.microsoft.com/office/drawing/2014/main" id="{E3955EE3-F8C9-5B37-CA5F-411821AA7BBC}"/>
              </a:ext>
            </a:extLst>
          </p:cNvPr>
          <p:cNvSpPr>
            <a:spLocks noGrp="1"/>
          </p:cNvSpPr>
          <p:nvPr>
            <p:ph type="body" sz="quarter" idx="13"/>
          </p:nvPr>
        </p:nvSpPr>
        <p:spPr/>
        <p:txBody>
          <a:bodyPr vert="horz" lIns="91440" tIns="45720" rIns="91440" bIns="45720" rtlCol="0" anchor="t">
            <a:noAutofit/>
          </a:bodyPr>
          <a:lstStyle/>
          <a:p>
            <a:r>
              <a:rPr lang="en-US" dirty="0">
                <a:cs typeface="Calibri"/>
              </a:rPr>
              <a:t>Costs of local implementations</a:t>
            </a:r>
          </a:p>
          <a:p>
            <a:endParaRPr lang="en-US" dirty="0">
              <a:cs typeface="Calibri"/>
            </a:endParaRPr>
          </a:p>
        </p:txBody>
      </p:sp>
      <p:sp>
        <p:nvSpPr>
          <p:cNvPr id="11" name="Content Placeholder 10">
            <a:extLst>
              <a:ext uri="{FF2B5EF4-FFF2-40B4-BE49-F238E27FC236}">
                <a16:creationId xmlns:a16="http://schemas.microsoft.com/office/drawing/2014/main" id="{9F1ABCF0-B3B1-001C-3F38-D936CE6A0CF5}"/>
              </a:ext>
            </a:extLst>
          </p:cNvPr>
          <p:cNvSpPr>
            <a:spLocks noGrp="1"/>
          </p:cNvSpPr>
          <p:nvPr>
            <p:ph idx="1"/>
          </p:nvPr>
        </p:nvSpPr>
        <p:spPr>
          <a:xfrm>
            <a:off x="323528" y="1083789"/>
            <a:ext cx="8496944" cy="5729587"/>
          </a:xfrm>
        </p:spPr>
        <p:txBody>
          <a:bodyPr vert="horz" lIns="91440" tIns="45720" rIns="91440" bIns="45720" rtlCol="0" anchor="t">
            <a:normAutofit/>
          </a:bodyPr>
          <a:lstStyle/>
          <a:p>
            <a:pPr marL="685800" lvl="2" eaLnBrk="0" fontAlgn="base" hangingPunct="0">
              <a:spcBef>
                <a:spcPct val="0"/>
              </a:spcBef>
              <a:spcAft>
                <a:spcPct val="0"/>
              </a:spcAft>
            </a:pPr>
            <a:r>
              <a:rPr lang="en-US" sz="1400" b="1" dirty="0">
                <a:latin typeface="+mj-lt"/>
                <a:cs typeface="Times New Roman" panose="02020603050405020304" pitchFamily="18" charset="0"/>
              </a:rPr>
              <a:t>Local implementation</a:t>
            </a:r>
          </a:p>
          <a:p>
            <a:pPr marL="457200" lvl="2" indent="0" eaLnBrk="0" fontAlgn="base" hangingPunct="0">
              <a:spcBef>
                <a:spcPct val="0"/>
              </a:spcBef>
              <a:spcAft>
                <a:spcPct val="0"/>
              </a:spcAft>
              <a:buNone/>
            </a:pPr>
            <a:endParaRPr lang="en-US" sz="1400" b="1" dirty="0">
              <a:solidFill>
                <a:schemeClr val="tx2"/>
              </a:solidFill>
              <a:latin typeface="+mj-lt"/>
              <a:cs typeface="Times New Roman" panose="02020603050405020304" pitchFamily="18" charset="0"/>
            </a:endParaRPr>
          </a:p>
          <a:p>
            <a:pPr>
              <a:buFont typeface="Arial" panose="020B0604020202020204" pitchFamily="34" charset="0"/>
              <a:buChar char="•"/>
            </a:pPr>
            <a:r>
              <a:rPr lang="en-US" sz="1400" dirty="0">
                <a:latin typeface="Calibri" panose="020F0502020204030204" pitchFamily="34" charset="0"/>
                <a:ea typeface="Times New Roman" panose="02020603050405020304" pitchFamily="18" charset="0"/>
                <a:cs typeface="Arial" panose="020B0604020202020204" pitchFamily="34" charset="0"/>
              </a:rPr>
              <a:t>Cost and time estimations for internal implementations needed to switch to 96 clearings in TERRE have been carried out by TSOs:</a:t>
            </a:r>
          </a:p>
          <a:p>
            <a:pPr lvl="1">
              <a:buFont typeface="Arial" panose="020B0604020202020204" pitchFamily="34" charset="0"/>
              <a:buChar char="•"/>
            </a:pPr>
            <a:r>
              <a:rPr lang="en-US" sz="1400" dirty="0">
                <a:latin typeface="Calibri" panose="020F0502020204030204" pitchFamily="34" charset="0"/>
                <a:ea typeface="Times New Roman" panose="02020603050405020304" pitchFamily="18" charset="0"/>
                <a:cs typeface="Arial" panose="020B0604020202020204" pitchFamily="34" charset="0"/>
              </a:rPr>
              <a:t>On average, the estimated cost for these modifications is 730 k€ per TSO.</a:t>
            </a:r>
          </a:p>
          <a:p>
            <a:pPr lvl="1">
              <a:buFont typeface="Arial" panose="020B0604020202020204" pitchFamily="34" charset="0"/>
              <a:buChar char="•"/>
            </a:pPr>
            <a:r>
              <a:rPr lang="en-US" sz="1400" dirty="0">
                <a:latin typeface="Calibri" panose="020F0502020204030204" pitchFamily="34" charset="0"/>
                <a:ea typeface="Times New Roman" panose="02020603050405020304" pitchFamily="18" charset="0"/>
                <a:cs typeface="Arial" panose="020B0604020202020204" pitchFamily="34" charset="0"/>
              </a:rPr>
              <a:t>A variety of modifications in internal IT systems would be needed: changes in bid structure, validations, input/output messages, calculations, cross border scheduling step, etc.</a:t>
            </a:r>
          </a:p>
          <a:p>
            <a:pPr lvl="1">
              <a:buFont typeface="Arial" panose="020B0604020202020204" pitchFamily="34" charset="0"/>
              <a:buChar char="•"/>
            </a:pPr>
            <a:r>
              <a:rPr lang="en-US" sz="1400" dirty="0">
                <a:latin typeface="Calibri" panose="020F0502020204030204" pitchFamily="34" charset="0"/>
                <a:ea typeface="Times New Roman" panose="02020603050405020304" pitchFamily="18" charset="0"/>
                <a:cs typeface="Arial" panose="020B0604020202020204" pitchFamily="34" charset="0"/>
              </a:rPr>
              <a:t>The estimated duration for the modifications varies from 4 </a:t>
            </a:r>
            <a:r>
              <a:rPr lang="en-US" sz="1400" dirty="0">
                <a:latin typeface="Calibri" panose="020F0502020204030204" pitchFamily="34" charset="0"/>
                <a:cs typeface="Arial" panose="020B0604020202020204" pitchFamily="34" charset="0"/>
              </a:rPr>
              <a:t>to 12 months, being ready for a Go Live with the changes from Q1 2025 at the earliest and Q1 2026 for the latest.</a:t>
            </a:r>
          </a:p>
          <a:p>
            <a:pPr>
              <a:buFont typeface="Arial" panose="020B0604020202020204" pitchFamily="34" charset="0"/>
              <a:buChar char="•"/>
            </a:pPr>
            <a:r>
              <a:rPr lang="en-GB" sz="1400" dirty="0">
                <a:latin typeface="Calibri" panose="020F0502020204030204" pitchFamily="34" charset="0"/>
                <a:cs typeface="Arial" panose="020B0604020202020204" pitchFamily="34" charset="0"/>
              </a:rPr>
              <a:t>Changes at the side of RR Balancing Services Providers would have to take place as well. Changes would differ from country to country.</a:t>
            </a:r>
          </a:p>
        </p:txBody>
      </p:sp>
      <p:sp>
        <p:nvSpPr>
          <p:cNvPr id="8" name="Date Placeholder 1">
            <a:extLst>
              <a:ext uri="{FF2B5EF4-FFF2-40B4-BE49-F238E27FC236}">
                <a16:creationId xmlns:a16="http://schemas.microsoft.com/office/drawing/2014/main" id="{C4843E7E-4875-4994-C60F-B2DBB2847A42}"/>
              </a:ext>
            </a:extLst>
          </p:cNvPr>
          <p:cNvSpPr>
            <a:spLocks noGrp="1"/>
          </p:cNvSpPr>
          <p:nvPr>
            <p:ph type="dt" sz="half" idx="10"/>
          </p:nvPr>
        </p:nvSpPr>
        <p:spPr>
          <a:xfrm>
            <a:off x="457200" y="6356350"/>
            <a:ext cx="2133600" cy="365125"/>
          </a:xfrm>
        </p:spPr>
        <p:txBody>
          <a:bodyPr/>
          <a:lstStyle/>
          <a:p>
            <a:fld id="{0A7CBA9C-3313-448C-9E65-11E456116ACB}" type="datetime1">
              <a:rPr lang="fr-FR" smtClean="0"/>
              <a:t>23/04/2024</a:t>
            </a:fld>
            <a:endParaRPr lang="fr-FR" dirty="0"/>
          </a:p>
        </p:txBody>
      </p:sp>
    </p:spTree>
    <p:extLst>
      <p:ext uri="{BB962C8B-B14F-4D97-AF65-F5344CB8AC3E}">
        <p14:creationId xmlns:p14="http://schemas.microsoft.com/office/powerpoint/2010/main" val="9816267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FAFAF-D484-48EC-9831-D5945E558298}"/>
              </a:ext>
            </a:extLst>
          </p:cNvPr>
          <p:cNvSpPr>
            <a:spLocks noGrp="1"/>
          </p:cNvSpPr>
          <p:nvPr>
            <p:ph type="title"/>
          </p:nvPr>
        </p:nvSpPr>
        <p:spPr/>
        <p:txBody>
          <a:bodyPr/>
          <a:lstStyle/>
          <a:p>
            <a:r>
              <a:rPr lang="en-US" dirty="0"/>
              <a:t>Information about the future of the project</a:t>
            </a:r>
            <a:endParaRPr lang="en-GB" dirty="0"/>
          </a:p>
        </p:txBody>
      </p:sp>
      <p:sp>
        <p:nvSpPr>
          <p:cNvPr id="5" name="Slide Number Placeholder 4">
            <a:extLst>
              <a:ext uri="{FF2B5EF4-FFF2-40B4-BE49-F238E27FC236}">
                <a16:creationId xmlns:a16="http://schemas.microsoft.com/office/drawing/2014/main" id="{CFF62232-DE18-4856-BC3F-A463C7430821}"/>
              </a:ext>
            </a:extLst>
          </p:cNvPr>
          <p:cNvSpPr>
            <a:spLocks noGrp="1"/>
          </p:cNvSpPr>
          <p:nvPr>
            <p:ph type="sldNum" sz="quarter" idx="12"/>
          </p:nvPr>
        </p:nvSpPr>
        <p:spPr/>
        <p:txBody>
          <a:bodyPr/>
          <a:lstStyle/>
          <a:p>
            <a:fld id="{6CA6A39B-2923-4814-8F57-BD84643AD2B4}" type="slidenum">
              <a:rPr lang="fr-FR" smtClean="0"/>
              <a:pPr/>
              <a:t>13</a:t>
            </a:fld>
            <a:endParaRPr lang="fr-FR" dirty="0"/>
          </a:p>
        </p:txBody>
      </p:sp>
      <p:sp>
        <p:nvSpPr>
          <p:cNvPr id="6" name="Text Placeholder 5">
            <a:extLst>
              <a:ext uri="{FF2B5EF4-FFF2-40B4-BE49-F238E27FC236}">
                <a16:creationId xmlns:a16="http://schemas.microsoft.com/office/drawing/2014/main" id="{41B01113-3305-4FEF-98D2-0DCB1A28B24E}"/>
              </a:ext>
            </a:extLst>
          </p:cNvPr>
          <p:cNvSpPr>
            <a:spLocks noGrp="1"/>
          </p:cNvSpPr>
          <p:nvPr>
            <p:ph type="body" sz="quarter" idx="13"/>
          </p:nvPr>
        </p:nvSpPr>
        <p:spPr/>
        <p:txBody>
          <a:bodyPr vert="horz" lIns="91440" tIns="45720" rIns="91440" bIns="45720" rtlCol="0" anchor="t">
            <a:noAutofit/>
          </a:bodyPr>
          <a:lstStyle/>
          <a:p>
            <a:r>
              <a:rPr lang="en-US" dirty="0"/>
              <a:t>Why TERRE TSOs decided to not implement 96 clearings in the TERRE platform?</a:t>
            </a:r>
            <a:endParaRPr lang="en-US" dirty="0">
              <a:cs typeface="Calibri"/>
            </a:endParaRPr>
          </a:p>
          <a:p>
            <a:endParaRPr lang="en-US" dirty="0">
              <a:cs typeface="Calibri"/>
            </a:endParaRPr>
          </a:p>
        </p:txBody>
      </p:sp>
      <p:sp>
        <p:nvSpPr>
          <p:cNvPr id="8" name="Date Placeholder 1">
            <a:extLst>
              <a:ext uri="{FF2B5EF4-FFF2-40B4-BE49-F238E27FC236}">
                <a16:creationId xmlns:a16="http://schemas.microsoft.com/office/drawing/2014/main" id="{CF3E491C-24C3-4781-B19C-B6A08EBEF640}"/>
              </a:ext>
            </a:extLst>
          </p:cNvPr>
          <p:cNvSpPr>
            <a:spLocks noGrp="1"/>
          </p:cNvSpPr>
          <p:nvPr>
            <p:ph type="dt" sz="half" idx="10"/>
          </p:nvPr>
        </p:nvSpPr>
        <p:spPr>
          <a:xfrm>
            <a:off x="457200" y="6356350"/>
            <a:ext cx="2133600" cy="365125"/>
          </a:xfrm>
        </p:spPr>
        <p:txBody>
          <a:bodyPr/>
          <a:lstStyle/>
          <a:p>
            <a:fld id="{0A7CBA9C-3313-448C-9E65-11E456116ACB}" type="datetime1">
              <a:rPr lang="fr-FR" smtClean="0"/>
              <a:t>23/04/2024</a:t>
            </a:fld>
            <a:endParaRPr lang="fr-FR" dirty="0"/>
          </a:p>
        </p:txBody>
      </p:sp>
      <p:sp>
        <p:nvSpPr>
          <p:cNvPr id="13" name="Content Placeholder 10">
            <a:extLst>
              <a:ext uri="{FF2B5EF4-FFF2-40B4-BE49-F238E27FC236}">
                <a16:creationId xmlns:a16="http://schemas.microsoft.com/office/drawing/2014/main" id="{0B82AC7E-924F-9933-0E4F-3F1C5ED8B94B}"/>
              </a:ext>
            </a:extLst>
          </p:cNvPr>
          <p:cNvSpPr>
            <a:spLocks noGrp="1"/>
          </p:cNvSpPr>
          <p:nvPr>
            <p:ph idx="1"/>
          </p:nvPr>
        </p:nvSpPr>
        <p:spPr>
          <a:xfrm>
            <a:off x="323528" y="1083789"/>
            <a:ext cx="8496944" cy="5729587"/>
          </a:xfrm>
        </p:spPr>
        <p:txBody>
          <a:bodyPr vert="horz" lIns="91440" tIns="45720" rIns="91440" bIns="45720" rtlCol="0" anchor="t">
            <a:normAutofit/>
          </a:bodyPr>
          <a:lstStyle/>
          <a:p>
            <a:pPr marL="0" lvl="1" indent="0" eaLnBrk="0" fontAlgn="base" hangingPunct="0">
              <a:spcBef>
                <a:spcPct val="0"/>
              </a:spcBef>
              <a:spcAft>
                <a:spcPct val="0"/>
              </a:spcAft>
              <a:buNone/>
            </a:pPr>
            <a:endParaRPr lang="en-US" sz="1400" i="1" dirty="0">
              <a:solidFill>
                <a:srgbClr val="000000"/>
              </a:solidFill>
              <a:latin typeface="Calibri" panose="020F0502020204030204" pitchFamily="34" charset="0"/>
            </a:endParaRPr>
          </a:p>
          <a:p>
            <a:pPr marL="0" lvl="1" indent="0" eaLnBrk="0" fontAlgn="base" hangingPunct="0">
              <a:spcBef>
                <a:spcPct val="0"/>
              </a:spcBef>
              <a:spcAft>
                <a:spcPct val="0"/>
              </a:spcAft>
              <a:buNone/>
            </a:pPr>
            <a:r>
              <a:rPr lang="en-US" sz="1400" i="1" dirty="0">
                <a:solidFill>
                  <a:srgbClr val="000000"/>
                </a:solidFill>
                <a:latin typeface="Calibri" panose="020F0502020204030204" pitchFamily="34" charset="0"/>
              </a:rPr>
              <a:t>If TERRE TSOs would decide to implement 96 clearings in the platform, significant costs would have to be engaged to implement a less attractive RR process. The solution could be in operation in Q1 2026 earliest, at the same period of the entry into force of the EMDR, forcing the end of the TERRE project (without derogations). Thus, TERRE TSOs decision is not coming from a specific will to end the project, but from trying to adapt to the new regulation and find the most profitable scenario for all actors.</a:t>
            </a:r>
          </a:p>
          <a:p>
            <a:pPr marL="0" lvl="1" indent="0" eaLnBrk="0" fontAlgn="base" hangingPunct="0">
              <a:spcBef>
                <a:spcPct val="0"/>
              </a:spcBef>
              <a:spcAft>
                <a:spcPct val="0"/>
              </a:spcAft>
              <a:buNone/>
            </a:pPr>
            <a:endParaRPr lang="en-US" sz="1400" i="1" dirty="0">
              <a:solidFill>
                <a:srgbClr val="000000"/>
              </a:solidFill>
              <a:latin typeface="Calibri" panose="020F0502020204030204" pitchFamily="34" charset="0"/>
            </a:endParaRPr>
          </a:p>
          <a:p>
            <a:pPr marL="0" lvl="1" indent="0" eaLnBrk="0" fontAlgn="base" hangingPunct="0">
              <a:spcBef>
                <a:spcPct val="0"/>
              </a:spcBef>
              <a:spcAft>
                <a:spcPct val="0"/>
              </a:spcAft>
              <a:buNone/>
            </a:pPr>
            <a:r>
              <a:rPr lang="en-US" sz="1400" i="1" dirty="0">
                <a:solidFill>
                  <a:srgbClr val="000000"/>
                </a:solidFill>
                <a:latin typeface="Calibri" panose="020F0502020204030204" pitchFamily="34" charset="0"/>
              </a:rPr>
              <a:t>Because of legal constraints, the outcome of the survey, implementation efforts, and costs at the TERRE project level, as well as at the TSOs and BSP side, </a:t>
            </a:r>
            <a:r>
              <a:rPr lang="en-US" sz="1400" b="1" i="1" u="sng" dirty="0">
                <a:solidFill>
                  <a:srgbClr val="000000"/>
                </a:solidFill>
                <a:latin typeface="Calibri" panose="020F0502020204030204" pitchFamily="34" charset="0"/>
              </a:rPr>
              <a:t>TERRE TSOs decided not to implement 96 clearings in the TERRE platform.</a:t>
            </a:r>
            <a:r>
              <a:rPr lang="en-US" sz="1400" i="1" dirty="0">
                <a:solidFill>
                  <a:srgbClr val="000000"/>
                </a:solidFill>
                <a:latin typeface="Calibri" panose="020F0502020204030204" pitchFamily="34" charset="0"/>
              </a:rPr>
              <a:t> </a:t>
            </a:r>
          </a:p>
          <a:p>
            <a:pPr marL="0" lvl="1" indent="0" eaLnBrk="0" fontAlgn="base" hangingPunct="0">
              <a:spcBef>
                <a:spcPct val="0"/>
              </a:spcBef>
              <a:spcAft>
                <a:spcPct val="0"/>
              </a:spcAft>
              <a:buNone/>
            </a:pPr>
            <a:endParaRPr lang="en-US" sz="1400" i="1" dirty="0">
              <a:solidFill>
                <a:srgbClr val="000000"/>
              </a:solidFill>
              <a:latin typeface="Calibri" panose="020F0502020204030204" pitchFamily="34" charset="0"/>
            </a:endParaRPr>
          </a:p>
          <a:p>
            <a:pPr marL="0" lvl="1" indent="0" eaLnBrk="0" fontAlgn="base" hangingPunct="0">
              <a:spcBef>
                <a:spcPct val="0"/>
              </a:spcBef>
              <a:spcAft>
                <a:spcPct val="0"/>
              </a:spcAft>
              <a:buNone/>
            </a:pPr>
            <a:r>
              <a:rPr lang="en-US" sz="1400" i="1" dirty="0">
                <a:solidFill>
                  <a:srgbClr val="000000"/>
                </a:solidFill>
                <a:latin typeface="Calibri" panose="020F0502020204030204" pitchFamily="34" charset="0"/>
              </a:rPr>
              <a:t>This decision means the project will have to be phased out. The following slide presents in detail how TSOs aim to organize themselves to end the project in a coordinated and relevant way.</a:t>
            </a:r>
          </a:p>
          <a:p>
            <a:pPr marL="57150" lvl="1" indent="0" eaLnBrk="0" fontAlgn="base" hangingPunct="0">
              <a:spcBef>
                <a:spcPct val="0"/>
              </a:spcBef>
              <a:spcAft>
                <a:spcPct val="0"/>
              </a:spcAft>
              <a:buNone/>
            </a:pPr>
            <a:endParaRPr lang="en-US" sz="1200" dirty="0">
              <a:latin typeface="+mj-lt"/>
              <a:cs typeface="Times New Roman" panose="02020603050405020304" pitchFamily="18" charset="0"/>
            </a:endParaRPr>
          </a:p>
        </p:txBody>
      </p:sp>
    </p:spTree>
    <p:extLst>
      <p:ext uri="{BB962C8B-B14F-4D97-AF65-F5344CB8AC3E}">
        <p14:creationId xmlns:p14="http://schemas.microsoft.com/office/powerpoint/2010/main" val="9673759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0B52C5-AAAD-5C75-85CE-4E4A69A5E99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5297E90-11FA-1BD4-D8E8-1F11D2CB0288}"/>
              </a:ext>
            </a:extLst>
          </p:cNvPr>
          <p:cNvSpPr>
            <a:spLocks noGrp="1"/>
          </p:cNvSpPr>
          <p:nvPr>
            <p:ph type="title"/>
          </p:nvPr>
        </p:nvSpPr>
        <p:spPr/>
        <p:txBody>
          <a:bodyPr/>
          <a:lstStyle/>
          <a:p>
            <a:r>
              <a:rPr lang="en-US" dirty="0"/>
              <a:t>Information about the future of the project</a:t>
            </a:r>
            <a:endParaRPr lang="en-GB" dirty="0"/>
          </a:p>
        </p:txBody>
      </p:sp>
      <p:sp>
        <p:nvSpPr>
          <p:cNvPr id="5" name="Slide Number Placeholder 4">
            <a:extLst>
              <a:ext uri="{FF2B5EF4-FFF2-40B4-BE49-F238E27FC236}">
                <a16:creationId xmlns:a16="http://schemas.microsoft.com/office/drawing/2014/main" id="{E860FFFF-E392-3D33-35C3-0B9AEC55BCF3}"/>
              </a:ext>
            </a:extLst>
          </p:cNvPr>
          <p:cNvSpPr>
            <a:spLocks noGrp="1"/>
          </p:cNvSpPr>
          <p:nvPr>
            <p:ph type="sldNum" sz="quarter" idx="12"/>
          </p:nvPr>
        </p:nvSpPr>
        <p:spPr/>
        <p:txBody>
          <a:bodyPr/>
          <a:lstStyle/>
          <a:p>
            <a:fld id="{6CA6A39B-2923-4814-8F57-BD84643AD2B4}" type="slidenum">
              <a:rPr lang="fr-FR" smtClean="0"/>
              <a:pPr/>
              <a:t>14</a:t>
            </a:fld>
            <a:endParaRPr lang="fr-FR" dirty="0"/>
          </a:p>
        </p:txBody>
      </p:sp>
      <p:sp>
        <p:nvSpPr>
          <p:cNvPr id="6" name="Text Placeholder 5">
            <a:extLst>
              <a:ext uri="{FF2B5EF4-FFF2-40B4-BE49-F238E27FC236}">
                <a16:creationId xmlns:a16="http://schemas.microsoft.com/office/drawing/2014/main" id="{7F95B072-BD90-20D4-A208-9CD4880949D5}"/>
              </a:ext>
            </a:extLst>
          </p:cNvPr>
          <p:cNvSpPr>
            <a:spLocks noGrp="1"/>
          </p:cNvSpPr>
          <p:nvPr>
            <p:ph type="body" sz="quarter" idx="13"/>
          </p:nvPr>
        </p:nvSpPr>
        <p:spPr/>
        <p:txBody>
          <a:bodyPr vert="horz" lIns="91440" tIns="45720" rIns="91440" bIns="45720" rtlCol="0" anchor="t">
            <a:noAutofit/>
          </a:bodyPr>
          <a:lstStyle/>
          <a:p>
            <a:r>
              <a:rPr lang="en-US" dirty="0"/>
              <a:t>Foreseen impact of the end of the TERRE project</a:t>
            </a:r>
            <a:endParaRPr lang="en-US" dirty="0">
              <a:cs typeface="Calibri"/>
            </a:endParaRPr>
          </a:p>
          <a:p>
            <a:endParaRPr lang="en-US" dirty="0">
              <a:cs typeface="Calibri"/>
            </a:endParaRPr>
          </a:p>
        </p:txBody>
      </p:sp>
      <p:sp>
        <p:nvSpPr>
          <p:cNvPr id="8" name="Date Placeholder 1">
            <a:extLst>
              <a:ext uri="{FF2B5EF4-FFF2-40B4-BE49-F238E27FC236}">
                <a16:creationId xmlns:a16="http://schemas.microsoft.com/office/drawing/2014/main" id="{7A8DE0E4-D154-1C92-8DEB-FEAB27DE08C0}"/>
              </a:ext>
            </a:extLst>
          </p:cNvPr>
          <p:cNvSpPr>
            <a:spLocks noGrp="1"/>
          </p:cNvSpPr>
          <p:nvPr>
            <p:ph type="dt" sz="half" idx="10"/>
          </p:nvPr>
        </p:nvSpPr>
        <p:spPr>
          <a:xfrm>
            <a:off x="457200" y="6356350"/>
            <a:ext cx="2133600" cy="365125"/>
          </a:xfrm>
        </p:spPr>
        <p:txBody>
          <a:bodyPr/>
          <a:lstStyle/>
          <a:p>
            <a:fld id="{0A7CBA9C-3313-448C-9E65-11E456116ACB}" type="datetime1">
              <a:rPr lang="fr-FR" smtClean="0"/>
              <a:t>23/04/2024</a:t>
            </a:fld>
            <a:endParaRPr lang="fr-FR" dirty="0"/>
          </a:p>
        </p:txBody>
      </p:sp>
      <p:sp>
        <p:nvSpPr>
          <p:cNvPr id="7" name="TextBox 2">
            <a:extLst>
              <a:ext uri="{FF2B5EF4-FFF2-40B4-BE49-F238E27FC236}">
                <a16:creationId xmlns:a16="http://schemas.microsoft.com/office/drawing/2014/main" id="{42AF5F97-7585-256D-AFBF-7823B646B360}"/>
              </a:ext>
            </a:extLst>
          </p:cNvPr>
          <p:cNvSpPr txBox="1"/>
          <p:nvPr/>
        </p:nvSpPr>
        <p:spPr>
          <a:xfrm>
            <a:off x="328730" y="1177012"/>
            <a:ext cx="8491742" cy="1384995"/>
          </a:xfrm>
          <a:prstGeom prst="rect">
            <a:avLst/>
          </a:prstGeom>
          <a:noFill/>
          <a:ln>
            <a:noFill/>
          </a:ln>
        </p:spPr>
        <p:txBody>
          <a:bodyPr wrap="square" rtlCol="0">
            <a:spAutoFit/>
          </a:bodyPr>
          <a:lstStyle/>
          <a:p>
            <a:r>
              <a:rPr lang="en-US" sz="1400" dirty="0"/>
              <a:t>Investigations have been conducted by the TERRE TSOs on their respective sides to ascertain the potential impact of the termination of the TERRE project, particularly in terms of the loss of liquidity in Balancing Energy bids. </a:t>
            </a:r>
            <a:endParaRPr lang="cs-CZ" sz="1400" dirty="0"/>
          </a:p>
          <a:p>
            <a:r>
              <a:rPr lang="en-US" sz="1400" dirty="0"/>
              <a:t>For most TSOs, a decrease in liquidity amounting to hundreds of MW in both upward and downward directions is expected. However, for some TSOs, it is anticipated that there will be no impact on liquidity due to a full transition to MARI being planned. As a consequence, it is also projected that there will be reduced competition in the market, which could lead to an increase in clearing prices for balancing energy.</a:t>
            </a:r>
          </a:p>
        </p:txBody>
      </p:sp>
    </p:spTree>
    <p:extLst>
      <p:ext uri="{BB962C8B-B14F-4D97-AF65-F5344CB8AC3E}">
        <p14:creationId xmlns:p14="http://schemas.microsoft.com/office/powerpoint/2010/main" val="19435465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A8D77E-8AE5-DE70-68E8-74C78C65E9DA}"/>
            </a:ext>
          </a:extLst>
        </p:cNvPr>
        <p:cNvGrpSpPr/>
        <p:nvPr/>
      </p:nvGrpSpPr>
      <p:grpSpPr>
        <a:xfrm>
          <a:off x="0" y="0"/>
          <a:ext cx="0" cy="0"/>
          <a:chOff x="0" y="0"/>
          <a:chExt cx="0" cy="0"/>
        </a:xfrm>
      </p:grpSpPr>
      <p:pic>
        <p:nvPicPr>
          <p:cNvPr id="18" name="Picture 8" descr="ČEPS, a.s. - profil společnosti a činnosti">
            <a:extLst>
              <a:ext uri="{FF2B5EF4-FFF2-40B4-BE49-F238E27FC236}">
                <a16:creationId xmlns:a16="http://schemas.microsoft.com/office/drawing/2014/main" id="{8243E579-7716-1918-E2FB-E061C987D3C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84240" y="3412033"/>
            <a:ext cx="587560" cy="26603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70EA3782-0052-37B9-8509-58F4CF6EC4F6}"/>
              </a:ext>
            </a:extLst>
          </p:cNvPr>
          <p:cNvSpPr>
            <a:spLocks noGrp="1"/>
          </p:cNvSpPr>
          <p:nvPr>
            <p:ph type="title"/>
          </p:nvPr>
        </p:nvSpPr>
        <p:spPr/>
        <p:txBody>
          <a:bodyPr/>
          <a:lstStyle/>
          <a:p>
            <a:r>
              <a:rPr lang="en-US" dirty="0"/>
              <a:t>Information about the future of the project</a:t>
            </a:r>
            <a:endParaRPr lang="en-GB" dirty="0"/>
          </a:p>
        </p:txBody>
      </p:sp>
      <p:sp>
        <p:nvSpPr>
          <p:cNvPr id="5" name="Slide Number Placeholder 4">
            <a:extLst>
              <a:ext uri="{FF2B5EF4-FFF2-40B4-BE49-F238E27FC236}">
                <a16:creationId xmlns:a16="http://schemas.microsoft.com/office/drawing/2014/main" id="{84EAE859-6B45-C3A6-A1A6-B5451F1FCD0E}"/>
              </a:ext>
            </a:extLst>
          </p:cNvPr>
          <p:cNvSpPr>
            <a:spLocks noGrp="1"/>
          </p:cNvSpPr>
          <p:nvPr>
            <p:ph type="sldNum" sz="quarter" idx="12"/>
          </p:nvPr>
        </p:nvSpPr>
        <p:spPr/>
        <p:txBody>
          <a:bodyPr/>
          <a:lstStyle/>
          <a:p>
            <a:fld id="{6CA6A39B-2923-4814-8F57-BD84643AD2B4}" type="slidenum">
              <a:rPr lang="fr-FR" smtClean="0"/>
              <a:pPr/>
              <a:t>15</a:t>
            </a:fld>
            <a:endParaRPr lang="fr-FR" dirty="0"/>
          </a:p>
        </p:txBody>
      </p:sp>
      <p:sp>
        <p:nvSpPr>
          <p:cNvPr id="6" name="Text Placeholder 5">
            <a:extLst>
              <a:ext uri="{FF2B5EF4-FFF2-40B4-BE49-F238E27FC236}">
                <a16:creationId xmlns:a16="http://schemas.microsoft.com/office/drawing/2014/main" id="{1C024CAC-1C2A-F262-1773-281C5BFE871C}"/>
              </a:ext>
            </a:extLst>
          </p:cNvPr>
          <p:cNvSpPr>
            <a:spLocks noGrp="1"/>
          </p:cNvSpPr>
          <p:nvPr>
            <p:ph type="body" sz="quarter" idx="13"/>
          </p:nvPr>
        </p:nvSpPr>
        <p:spPr/>
        <p:txBody>
          <a:bodyPr vert="horz" lIns="91440" tIns="45720" rIns="91440" bIns="45720" rtlCol="0" anchor="t">
            <a:noAutofit/>
          </a:bodyPr>
          <a:lstStyle/>
          <a:p>
            <a:r>
              <a:rPr lang="en-US" dirty="0"/>
              <a:t>How will the end of the project be organized?</a:t>
            </a:r>
            <a:endParaRPr lang="en-US" dirty="0">
              <a:cs typeface="Calibri"/>
            </a:endParaRPr>
          </a:p>
          <a:p>
            <a:endParaRPr lang="en-US" dirty="0">
              <a:cs typeface="Calibri"/>
            </a:endParaRPr>
          </a:p>
        </p:txBody>
      </p:sp>
      <p:sp>
        <p:nvSpPr>
          <p:cNvPr id="8" name="Date Placeholder 1">
            <a:extLst>
              <a:ext uri="{FF2B5EF4-FFF2-40B4-BE49-F238E27FC236}">
                <a16:creationId xmlns:a16="http://schemas.microsoft.com/office/drawing/2014/main" id="{8B08B7C8-06A1-057E-14B5-8008615B59EA}"/>
              </a:ext>
            </a:extLst>
          </p:cNvPr>
          <p:cNvSpPr>
            <a:spLocks noGrp="1"/>
          </p:cNvSpPr>
          <p:nvPr>
            <p:ph type="dt" sz="half" idx="10"/>
          </p:nvPr>
        </p:nvSpPr>
        <p:spPr>
          <a:xfrm>
            <a:off x="457200" y="6356350"/>
            <a:ext cx="2133600" cy="365125"/>
          </a:xfrm>
        </p:spPr>
        <p:txBody>
          <a:bodyPr/>
          <a:lstStyle/>
          <a:p>
            <a:fld id="{0A7CBA9C-3313-448C-9E65-11E456116ACB}" type="datetime1">
              <a:rPr lang="fr-FR" smtClean="0"/>
              <a:t>23/04/2024</a:t>
            </a:fld>
            <a:endParaRPr lang="fr-FR" dirty="0"/>
          </a:p>
        </p:txBody>
      </p:sp>
      <p:graphicFrame>
        <p:nvGraphicFramePr>
          <p:cNvPr id="9" name="Table 8">
            <a:extLst>
              <a:ext uri="{FF2B5EF4-FFF2-40B4-BE49-F238E27FC236}">
                <a16:creationId xmlns:a16="http://schemas.microsoft.com/office/drawing/2014/main" id="{6618A5FB-2898-334D-0294-68DFC0EE833C}"/>
              </a:ext>
            </a:extLst>
          </p:cNvPr>
          <p:cNvGraphicFramePr>
            <a:graphicFrameLocks noGrp="1"/>
          </p:cNvGraphicFramePr>
          <p:nvPr/>
        </p:nvGraphicFramePr>
        <p:xfrm>
          <a:off x="397395" y="2031516"/>
          <a:ext cx="8208910" cy="670560"/>
        </p:xfrm>
        <a:graphic>
          <a:graphicData uri="http://schemas.openxmlformats.org/drawingml/2006/table">
            <a:tbl>
              <a:tblPr firstRow="1" bandRow="1">
                <a:tableStyleId>{5C22544A-7EE6-4342-B048-85BDC9FD1C3A}</a:tableStyleId>
              </a:tblPr>
              <a:tblGrid>
                <a:gridCol w="820891">
                  <a:extLst>
                    <a:ext uri="{9D8B030D-6E8A-4147-A177-3AD203B41FA5}">
                      <a16:colId xmlns:a16="http://schemas.microsoft.com/office/drawing/2014/main" val="4050254706"/>
                    </a:ext>
                  </a:extLst>
                </a:gridCol>
                <a:gridCol w="820891">
                  <a:extLst>
                    <a:ext uri="{9D8B030D-6E8A-4147-A177-3AD203B41FA5}">
                      <a16:colId xmlns:a16="http://schemas.microsoft.com/office/drawing/2014/main" val="549270630"/>
                    </a:ext>
                  </a:extLst>
                </a:gridCol>
                <a:gridCol w="820891">
                  <a:extLst>
                    <a:ext uri="{9D8B030D-6E8A-4147-A177-3AD203B41FA5}">
                      <a16:colId xmlns:a16="http://schemas.microsoft.com/office/drawing/2014/main" val="3658734180"/>
                    </a:ext>
                  </a:extLst>
                </a:gridCol>
                <a:gridCol w="820891">
                  <a:extLst>
                    <a:ext uri="{9D8B030D-6E8A-4147-A177-3AD203B41FA5}">
                      <a16:colId xmlns:a16="http://schemas.microsoft.com/office/drawing/2014/main" val="2123946664"/>
                    </a:ext>
                  </a:extLst>
                </a:gridCol>
                <a:gridCol w="820891">
                  <a:extLst>
                    <a:ext uri="{9D8B030D-6E8A-4147-A177-3AD203B41FA5}">
                      <a16:colId xmlns:a16="http://schemas.microsoft.com/office/drawing/2014/main" val="1922459383"/>
                    </a:ext>
                  </a:extLst>
                </a:gridCol>
                <a:gridCol w="820891">
                  <a:extLst>
                    <a:ext uri="{9D8B030D-6E8A-4147-A177-3AD203B41FA5}">
                      <a16:colId xmlns:a16="http://schemas.microsoft.com/office/drawing/2014/main" val="3825451875"/>
                    </a:ext>
                  </a:extLst>
                </a:gridCol>
                <a:gridCol w="820891">
                  <a:extLst>
                    <a:ext uri="{9D8B030D-6E8A-4147-A177-3AD203B41FA5}">
                      <a16:colId xmlns:a16="http://schemas.microsoft.com/office/drawing/2014/main" val="3622913588"/>
                    </a:ext>
                  </a:extLst>
                </a:gridCol>
                <a:gridCol w="820891">
                  <a:extLst>
                    <a:ext uri="{9D8B030D-6E8A-4147-A177-3AD203B41FA5}">
                      <a16:colId xmlns:a16="http://schemas.microsoft.com/office/drawing/2014/main" val="780008531"/>
                    </a:ext>
                  </a:extLst>
                </a:gridCol>
                <a:gridCol w="820891">
                  <a:extLst>
                    <a:ext uri="{9D8B030D-6E8A-4147-A177-3AD203B41FA5}">
                      <a16:colId xmlns:a16="http://schemas.microsoft.com/office/drawing/2014/main" val="1321802943"/>
                    </a:ext>
                  </a:extLst>
                </a:gridCol>
                <a:gridCol w="820891">
                  <a:extLst>
                    <a:ext uri="{9D8B030D-6E8A-4147-A177-3AD203B41FA5}">
                      <a16:colId xmlns:a16="http://schemas.microsoft.com/office/drawing/2014/main" val="1376889304"/>
                    </a:ext>
                  </a:extLst>
                </a:gridCol>
              </a:tblGrid>
              <a:tr h="324036">
                <a:tc gridSpan="4">
                  <a:txBody>
                    <a:bodyPr/>
                    <a:lstStyle/>
                    <a:p>
                      <a:pPr algn="ctr"/>
                      <a:r>
                        <a:rPr lang="fr-FR" sz="1600" dirty="0"/>
                        <a:t>2024</a:t>
                      </a:r>
                      <a:endParaRPr lang="en-GB" sz="1600" dirty="0"/>
                    </a:p>
                  </a:txBody>
                  <a:tcPr anchor="ctr"/>
                </a:tc>
                <a:tc hMerge="1">
                  <a:txBody>
                    <a:bodyPr/>
                    <a:lstStyle/>
                    <a:p>
                      <a:endParaRPr lang="en-GB" dirty="0"/>
                    </a:p>
                  </a:txBody>
                  <a:tcPr/>
                </a:tc>
                <a:tc hMerge="1">
                  <a:txBody>
                    <a:bodyPr/>
                    <a:lstStyle/>
                    <a:p>
                      <a:endParaRPr lang="en-GB" dirty="0"/>
                    </a:p>
                  </a:txBody>
                  <a:tcPr/>
                </a:tc>
                <a:tc hMerge="1">
                  <a:txBody>
                    <a:bodyPr/>
                    <a:lstStyle/>
                    <a:p>
                      <a:endParaRPr lang="en-GB" dirty="0"/>
                    </a:p>
                  </a:txBody>
                  <a:tcPr/>
                </a:tc>
                <a:tc gridSpan="4">
                  <a:txBody>
                    <a:bodyPr/>
                    <a:lstStyle/>
                    <a:p>
                      <a:pPr algn="ctr"/>
                      <a:r>
                        <a:rPr lang="fr-FR" sz="1600" dirty="0"/>
                        <a:t>2025</a:t>
                      </a:r>
                      <a:endParaRPr lang="en-GB" sz="1600" dirty="0"/>
                    </a:p>
                  </a:txBody>
                  <a:tcPr/>
                </a:tc>
                <a:tc hMerge="1">
                  <a:txBody>
                    <a:bodyPr/>
                    <a:lstStyle/>
                    <a:p>
                      <a:endParaRPr lang="en-GB" dirty="0"/>
                    </a:p>
                  </a:txBody>
                  <a:tcPr/>
                </a:tc>
                <a:tc hMerge="1">
                  <a:txBody>
                    <a:bodyPr/>
                    <a:lstStyle/>
                    <a:p>
                      <a:endParaRPr lang="en-GB"/>
                    </a:p>
                  </a:txBody>
                  <a:tcPr/>
                </a:tc>
                <a:tc hMerge="1">
                  <a:txBody>
                    <a:bodyPr/>
                    <a:lstStyle/>
                    <a:p>
                      <a:endParaRPr lang="en-GB" dirty="0"/>
                    </a:p>
                  </a:txBody>
                  <a:tcPr/>
                </a:tc>
                <a:tc gridSpan="2">
                  <a:txBody>
                    <a:bodyPr/>
                    <a:lstStyle/>
                    <a:p>
                      <a:pPr algn="r"/>
                      <a:r>
                        <a:rPr lang="fr-FR" sz="1600" dirty="0"/>
                        <a:t>2026</a:t>
                      </a:r>
                      <a:endParaRPr lang="en-GB" sz="1600" dirty="0"/>
                    </a:p>
                  </a:txBody>
                  <a:tcPr/>
                </a:tc>
                <a:tc hMerge="1">
                  <a:txBody>
                    <a:bodyPr/>
                    <a:lstStyle/>
                    <a:p>
                      <a:pPr algn="ctr"/>
                      <a:endParaRPr lang="en-GB" sz="1600" dirty="0"/>
                    </a:p>
                  </a:txBody>
                  <a:tcPr/>
                </a:tc>
                <a:extLst>
                  <a:ext uri="{0D108BD9-81ED-4DB2-BD59-A6C34878D82A}">
                    <a16:rowId xmlns:a16="http://schemas.microsoft.com/office/drawing/2014/main" val="2325904235"/>
                  </a:ext>
                </a:extLst>
              </a:tr>
              <a:tr h="324036">
                <a:tc>
                  <a:txBody>
                    <a:bodyPr/>
                    <a:lstStyle/>
                    <a:p>
                      <a:pPr algn="ctr"/>
                      <a:r>
                        <a:rPr lang="fr-FR" sz="1600" dirty="0"/>
                        <a:t>Q1</a:t>
                      </a:r>
                      <a:endParaRPr lang="en-GB" sz="1600" dirty="0"/>
                    </a:p>
                  </a:txBody>
                  <a:tcPr/>
                </a:tc>
                <a:tc>
                  <a:txBody>
                    <a:bodyPr/>
                    <a:lstStyle/>
                    <a:p>
                      <a:pPr algn="ctr"/>
                      <a:r>
                        <a:rPr lang="fr-FR" sz="1600" dirty="0"/>
                        <a:t>Q2</a:t>
                      </a:r>
                      <a:endParaRPr lang="en-GB" sz="1600" dirty="0"/>
                    </a:p>
                  </a:txBody>
                  <a:tcPr/>
                </a:tc>
                <a:tc>
                  <a:txBody>
                    <a:bodyPr/>
                    <a:lstStyle/>
                    <a:p>
                      <a:pPr algn="ctr"/>
                      <a:r>
                        <a:rPr lang="fr-FR" sz="1600" dirty="0"/>
                        <a:t>Q3</a:t>
                      </a:r>
                      <a:endParaRPr lang="en-GB" sz="1600" dirty="0"/>
                    </a:p>
                  </a:txBody>
                  <a:tcPr/>
                </a:tc>
                <a:tc>
                  <a:txBody>
                    <a:bodyPr/>
                    <a:lstStyle/>
                    <a:p>
                      <a:pPr algn="ctr"/>
                      <a:r>
                        <a:rPr lang="fr-FR" sz="1600" dirty="0"/>
                        <a:t>Q4</a:t>
                      </a:r>
                      <a:endParaRPr lang="en-GB" sz="1600" dirty="0"/>
                    </a:p>
                  </a:txBody>
                  <a:tcPr/>
                </a:tc>
                <a:tc>
                  <a:txBody>
                    <a:bodyPr/>
                    <a:lstStyle/>
                    <a:p>
                      <a:pPr algn="ctr"/>
                      <a:r>
                        <a:rPr lang="fr-FR" sz="1600" dirty="0"/>
                        <a:t>Q1</a:t>
                      </a:r>
                      <a:endParaRPr lang="en-GB" sz="1600" dirty="0"/>
                    </a:p>
                  </a:txBody>
                  <a:tcPr/>
                </a:tc>
                <a:tc>
                  <a:txBody>
                    <a:bodyPr/>
                    <a:lstStyle/>
                    <a:p>
                      <a:pPr algn="ctr"/>
                      <a:r>
                        <a:rPr lang="fr-FR" sz="1600" dirty="0"/>
                        <a:t>Q2</a:t>
                      </a:r>
                      <a:endParaRPr lang="en-GB" sz="1600" dirty="0"/>
                    </a:p>
                  </a:txBody>
                  <a:tcPr/>
                </a:tc>
                <a:tc>
                  <a:txBody>
                    <a:bodyPr/>
                    <a:lstStyle/>
                    <a:p>
                      <a:pPr algn="ctr"/>
                      <a:r>
                        <a:rPr lang="fr-FR" sz="1600" dirty="0"/>
                        <a:t>Q3</a:t>
                      </a:r>
                      <a:endParaRPr lang="en-GB" sz="1600" dirty="0"/>
                    </a:p>
                  </a:txBody>
                  <a:tcPr/>
                </a:tc>
                <a:tc>
                  <a:txBody>
                    <a:bodyPr/>
                    <a:lstStyle/>
                    <a:p>
                      <a:pPr algn="ctr"/>
                      <a:r>
                        <a:rPr lang="fr-FR" sz="1600" dirty="0"/>
                        <a:t>Q4</a:t>
                      </a:r>
                      <a:endParaRPr lang="en-GB" sz="1600" dirty="0"/>
                    </a:p>
                  </a:txBody>
                  <a:tcPr/>
                </a:tc>
                <a:tc>
                  <a:txBody>
                    <a:bodyPr/>
                    <a:lstStyle/>
                    <a:p>
                      <a:pPr algn="ctr"/>
                      <a:r>
                        <a:rPr lang="fr-FR" sz="1600" dirty="0"/>
                        <a:t>Q1</a:t>
                      </a:r>
                      <a:endParaRPr lang="en-GB" sz="1600" dirty="0"/>
                    </a:p>
                  </a:txBody>
                  <a:tcPr/>
                </a:tc>
                <a:tc>
                  <a:txBody>
                    <a:bodyPr/>
                    <a:lstStyle/>
                    <a:p>
                      <a:pPr algn="ctr"/>
                      <a:r>
                        <a:rPr lang="fr-FR" sz="1600" dirty="0"/>
                        <a:t>Q2</a:t>
                      </a:r>
                      <a:endParaRPr lang="en-GB" sz="1600" dirty="0"/>
                    </a:p>
                  </a:txBody>
                  <a:tcPr/>
                </a:tc>
                <a:extLst>
                  <a:ext uri="{0D108BD9-81ED-4DB2-BD59-A6C34878D82A}">
                    <a16:rowId xmlns:a16="http://schemas.microsoft.com/office/drawing/2014/main" val="1967143997"/>
                  </a:ext>
                </a:extLst>
              </a:tr>
            </a:tbl>
          </a:graphicData>
        </a:graphic>
      </p:graphicFrame>
      <p:sp>
        <p:nvSpPr>
          <p:cNvPr id="10" name="Rectangle: Top Corners Snipped 9">
            <a:extLst>
              <a:ext uri="{FF2B5EF4-FFF2-40B4-BE49-F238E27FC236}">
                <a16:creationId xmlns:a16="http://schemas.microsoft.com/office/drawing/2014/main" id="{CB7B2BCF-E20C-5B73-5172-526DD9866DD4}"/>
              </a:ext>
            </a:extLst>
          </p:cNvPr>
          <p:cNvSpPr/>
          <p:nvPr/>
        </p:nvSpPr>
        <p:spPr>
          <a:xfrm rot="5400000">
            <a:off x="4590744" y="838761"/>
            <a:ext cx="266032" cy="4482956"/>
          </a:xfrm>
          <a:prstGeom prst="snip2SameRect">
            <a:avLst>
              <a:gd name="adj1" fmla="val 50000"/>
              <a:gd name="adj2" fmla="val 0"/>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lIns="72000" rIns="72000" rtlCol="0" anchor="ctr"/>
          <a:lstStyle/>
          <a:p>
            <a:r>
              <a:rPr lang="en-US" dirty="0">
                <a:solidFill>
                  <a:schemeClr val="tx1"/>
                </a:solidFill>
              </a:rPr>
              <a:t>         15’- 60’  resolution and 24 gates</a:t>
            </a:r>
          </a:p>
        </p:txBody>
      </p:sp>
      <p:sp>
        <p:nvSpPr>
          <p:cNvPr id="12" name="Rectangle: Top Corners Snipped 11">
            <a:extLst>
              <a:ext uri="{FF2B5EF4-FFF2-40B4-BE49-F238E27FC236}">
                <a16:creationId xmlns:a16="http://schemas.microsoft.com/office/drawing/2014/main" id="{2AFC39A8-8226-7047-90DD-C166DEC8FBCA}"/>
              </a:ext>
            </a:extLst>
          </p:cNvPr>
          <p:cNvSpPr/>
          <p:nvPr/>
        </p:nvSpPr>
        <p:spPr>
          <a:xfrm rot="5400000">
            <a:off x="1309833" y="2040807"/>
            <a:ext cx="258168" cy="2086729"/>
          </a:xfrm>
          <a:prstGeom prst="snip2SameRect">
            <a:avLst>
              <a:gd name="adj1" fmla="val 50000"/>
              <a:gd name="adj2"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dirty="0"/>
              <a:t>Current RR process</a:t>
            </a:r>
          </a:p>
        </p:txBody>
      </p:sp>
      <p:cxnSp>
        <p:nvCxnSpPr>
          <p:cNvPr id="14" name="Straight Arrow Connector 13">
            <a:extLst>
              <a:ext uri="{FF2B5EF4-FFF2-40B4-BE49-F238E27FC236}">
                <a16:creationId xmlns:a16="http://schemas.microsoft.com/office/drawing/2014/main" id="{3FE68587-D06C-A673-126E-AB1663912FE5}"/>
              </a:ext>
            </a:extLst>
          </p:cNvPr>
          <p:cNvCxnSpPr>
            <a:cxnSpLocks/>
          </p:cNvCxnSpPr>
          <p:nvPr/>
        </p:nvCxnSpPr>
        <p:spPr>
          <a:xfrm>
            <a:off x="3707904" y="2947223"/>
            <a:ext cx="0" cy="460028"/>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5" name="Picture 6" descr="Polskie Sieci Elektroenergetyczne SA – EU-SysFlex">
            <a:extLst>
              <a:ext uri="{FF2B5EF4-FFF2-40B4-BE49-F238E27FC236}">
                <a16:creationId xmlns:a16="http://schemas.microsoft.com/office/drawing/2014/main" id="{D6A9647E-AFAE-17CE-719D-83064EE67A9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65674" y="3440190"/>
            <a:ext cx="441990" cy="22688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0">
            <a:extLst>
              <a:ext uri="{FF2B5EF4-FFF2-40B4-BE49-F238E27FC236}">
                <a16:creationId xmlns:a16="http://schemas.microsoft.com/office/drawing/2014/main" id="{6226E96C-AAE8-D536-0FBB-2B010809033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226985" y="3465082"/>
            <a:ext cx="546014" cy="168734"/>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Arrow Connector 16">
            <a:extLst>
              <a:ext uri="{FF2B5EF4-FFF2-40B4-BE49-F238E27FC236}">
                <a16:creationId xmlns:a16="http://schemas.microsoft.com/office/drawing/2014/main" id="{7F151D6F-37C9-5D91-958D-9F57A398E982}"/>
              </a:ext>
            </a:extLst>
          </p:cNvPr>
          <p:cNvCxnSpPr>
            <a:cxnSpLocks/>
          </p:cNvCxnSpPr>
          <p:nvPr/>
        </p:nvCxnSpPr>
        <p:spPr>
          <a:xfrm>
            <a:off x="2482282" y="2947223"/>
            <a:ext cx="0" cy="460028"/>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9" name="Picture 2">
            <a:extLst>
              <a:ext uri="{FF2B5EF4-FFF2-40B4-BE49-F238E27FC236}">
                <a16:creationId xmlns:a16="http://schemas.microsoft.com/office/drawing/2014/main" id="{7919AE9E-46B0-3722-4252-BCABAA795DA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05466" y="4434348"/>
            <a:ext cx="293972" cy="29397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6">
            <a:extLst>
              <a:ext uri="{FF2B5EF4-FFF2-40B4-BE49-F238E27FC236}">
                <a16:creationId xmlns:a16="http://schemas.microsoft.com/office/drawing/2014/main" id="{06696116-E2D8-8933-5B06-1DF2A74DCEA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12369" y="4249597"/>
            <a:ext cx="853395" cy="10563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1" descr="Stakeholders | Coreso">
            <a:extLst>
              <a:ext uri="{FF2B5EF4-FFF2-40B4-BE49-F238E27FC236}">
                <a16:creationId xmlns:a16="http://schemas.microsoft.com/office/drawing/2014/main" id="{2BE50B00-7F64-5443-AE68-BFA0A809B9A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987529" y="3989036"/>
            <a:ext cx="623818" cy="21259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2">
            <a:extLst>
              <a:ext uri="{FF2B5EF4-FFF2-40B4-BE49-F238E27FC236}">
                <a16:creationId xmlns:a16="http://schemas.microsoft.com/office/drawing/2014/main" id="{052D12F7-5993-C782-9A22-447F217C437C}"/>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012369" y="3821446"/>
            <a:ext cx="574432" cy="143608"/>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
            <a:extLst>
              <a:ext uri="{FF2B5EF4-FFF2-40B4-BE49-F238E27FC236}">
                <a16:creationId xmlns:a16="http://schemas.microsoft.com/office/drawing/2014/main" id="{AAF634A1-3AA8-C923-49AE-F0C39A38B69D}"/>
              </a:ext>
            </a:extLst>
          </p:cNvPr>
          <p:cNvSpPr txBox="1"/>
          <p:nvPr/>
        </p:nvSpPr>
        <p:spPr>
          <a:xfrm>
            <a:off x="331538" y="4423273"/>
            <a:ext cx="7502955" cy="1384995"/>
          </a:xfrm>
          <a:prstGeom prst="rect">
            <a:avLst/>
          </a:prstGeom>
          <a:noFill/>
          <a:ln>
            <a:noFill/>
          </a:ln>
        </p:spPr>
        <p:txBody>
          <a:bodyPr wrap="square" rtlCol="0">
            <a:spAutoFit/>
          </a:bodyPr>
          <a:lstStyle/>
          <a:p>
            <a:r>
              <a:rPr lang="en-US" sz="1200" dirty="0"/>
              <a:t>Key elements of the scenario for the future of the project :</a:t>
            </a:r>
            <a:br>
              <a:rPr lang="en-US" sz="1200" dirty="0"/>
            </a:br>
            <a:endParaRPr lang="en-US" sz="1200" dirty="0"/>
          </a:p>
          <a:p>
            <a:pPr marL="171450" indent="-171450">
              <a:buFont typeface="Arial" panose="020B0604020202020204" pitchFamily="34" charset="0"/>
              <a:buChar char="•"/>
            </a:pPr>
            <a:r>
              <a:rPr lang="en-US" sz="1200" dirty="0"/>
              <a:t>TERRE remains at 24 gates (no implementation of 48/96 gates)</a:t>
            </a:r>
          </a:p>
          <a:p>
            <a:pPr marL="171450" indent="-171450">
              <a:buFont typeface="Arial" panose="020B0604020202020204" pitchFamily="34" charset="0"/>
              <a:buChar char="•"/>
            </a:pPr>
            <a:r>
              <a:rPr lang="en-US" sz="1200" dirty="0"/>
              <a:t>TSOs will use TERRE as long as the date of implementation of 96 gates in CZ ID allows</a:t>
            </a:r>
          </a:p>
          <a:p>
            <a:pPr marL="171450" indent="-171450">
              <a:buFont typeface="Arial" panose="020B0604020202020204" pitchFamily="34" charset="0"/>
              <a:buChar char="•"/>
            </a:pPr>
            <a:r>
              <a:rPr lang="en-US" sz="1200" dirty="0"/>
              <a:t>The applied Cross Border Scheduling Step can be different between boarders and needs to be aligned between the responsible TSOs of a specific boarder (same as today, e.g. 30min cross boarder scheduling step on CH-FR boarder).</a:t>
            </a:r>
          </a:p>
          <a:p>
            <a:pPr marL="171450" indent="-171450">
              <a:buFont typeface="Arial" panose="020B0604020202020204" pitchFamily="34" charset="0"/>
              <a:buChar char="•"/>
            </a:pPr>
            <a:r>
              <a:rPr lang="en-US" sz="1200" dirty="0"/>
              <a:t>TSOs are free to decide when to stop being operational TSOs while respecting legal and operational conditions.</a:t>
            </a:r>
          </a:p>
        </p:txBody>
      </p:sp>
      <p:sp>
        <p:nvSpPr>
          <p:cNvPr id="25" name="TextBox 2">
            <a:extLst>
              <a:ext uri="{FF2B5EF4-FFF2-40B4-BE49-F238E27FC236}">
                <a16:creationId xmlns:a16="http://schemas.microsoft.com/office/drawing/2014/main" id="{4970E6AB-5FD9-32B3-C3F9-4102B222F750}"/>
              </a:ext>
            </a:extLst>
          </p:cNvPr>
          <p:cNvSpPr txBox="1"/>
          <p:nvPr/>
        </p:nvSpPr>
        <p:spPr>
          <a:xfrm>
            <a:off x="197776" y="1798687"/>
            <a:ext cx="8748448" cy="230832"/>
          </a:xfrm>
          <a:prstGeom prst="rect">
            <a:avLst/>
          </a:prstGeom>
          <a:noFill/>
          <a:ln>
            <a:noFill/>
          </a:ln>
        </p:spPr>
        <p:txBody>
          <a:bodyPr wrap="square" rtlCol="0">
            <a:spAutoFit/>
          </a:bodyPr>
          <a:lstStyle/>
          <a:p>
            <a:r>
              <a:rPr lang="en-US" sz="900" i="1" dirty="0"/>
              <a:t>This planning is based on the current expectation on the implementation of 96 clearings in CZ ID for each TSOs. The planning for TERRE might change if the planning for CZ ID changes. </a:t>
            </a:r>
          </a:p>
        </p:txBody>
      </p:sp>
      <p:sp>
        <p:nvSpPr>
          <p:cNvPr id="7" name="TextBox 2">
            <a:extLst>
              <a:ext uri="{FF2B5EF4-FFF2-40B4-BE49-F238E27FC236}">
                <a16:creationId xmlns:a16="http://schemas.microsoft.com/office/drawing/2014/main" id="{16632197-C110-8785-A6EF-28C8AAA34C2D}"/>
              </a:ext>
            </a:extLst>
          </p:cNvPr>
          <p:cNvSpPr txBox="1"/>
          <p:nvPr/>
        </p:nvSpPr>
        <p:spPr>
          <a:xfrm>
            <a:off x="328730" y="1177012"/>
            <a:ext cx="7502955" cy="461665"/>
          </a:xfrm>
          <a:prstGeom prst="rect">
            <a:avLst/>
          </a:prstGeom>
          <a:noFill/>
          <a:ln>
            <a:noFill/>
          </a:ln>
        </p:spPr>
        <p:txBody>
          <a:bodyPr wrap="square" rtlCol="0">
            <a:spAutoFit/>
          </a:bodyPr>
          <a:lstStyle/>
          <a:p>
            <a:r>
              <a:rPr lang="en-US" sz="1200" dirty="0"/>
              <a:t>TERRE TSOs decided to follow the below scenario that conducts to a smooth end of the TERRE project, in a coordinated manner, considering all TSOs constraints. The end of operations is planned at end 2025:</a:t>
            </a:r>
          </a:p>
        </p:txBody>
      </p:sp>
      <p:cxnSp>
        <p:nvCxnSpPr>
          <p:cNvPr id="4" name="Straight Arrow Connector 3">
            <a:extLst>
              <a:ext uri="{FF2B5EF4-FFF2-40B4-BE49-F238E27FC236}">
                <a16:creationId xmlns:a16="http://schemas.microsoft.com/office/drawing/2014/main" id="{8FBD25F3-9874-6984-C567-D9AEE6E3EF91}"/>
              </a:ext>
            </a:extLst>
          </p:cNvPr>
          <p:cNvCxnSpPr>
            <a:cxnSpLocks/>
          </p:cNvCxnSpPr>
          <p:nvPr/>
        </p:nvCxnSpPr>
        <p:spPr>
          <a:xfrm>
            <a:off x="6965238" y="2947223"/>
            <a:ext cx="0" cy="178109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Top Corners Snipped 22">
            <a:extLst>
              <a:ext uri="{FF2B5EF4-FFF2-40B4-BE49-F238E27FC236}">
                <a16:creationId xmlns:a16="http://schemas.microsoft.com/office/drawing/2014/main" id="{636F2DBB-8746-8147-2E95-3511260E1DC2}"/>
              </a:ext>
            </a:extLst>
          </p:cNvPr>
          <p:cNvSpPr/>
          <p:nvPr/>
        </p:nvSpPr>
        <p:spPr>
          <a:xfrm rot="5400000">
            <a:off x="6700983" y="2739806"/>
            <a:ext cx="341001" cy="1430618"/>
          </a:xfrm>
          <a:prstGeom prst="snip2SameRect">
            <a:avLst>
              <a:gd name="adj1" fmla="val 50000"/>
              <a:gd name="adj2" fmla="val 0"/>
            </a:avLst>
          </a:prstGeom>
          <a:pattFill prst="wdUpDiag">
            <a:fgClr>
              <a:schemeClr val="bg1">
                <a:lumMod val="50000"/>
              </a:schemeClr>
            </a:fgClr>
            <a:bgClr>
              <a:schemeClr val="accent3">
                <a:lumMod val="50000"/>
              </a:schemeClr>
            </a:bgClr>
          </a:patt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US" sz="1000" dirty="0">
                <a:solidFill>
                  <a:schemeClr val="bg1"/>
                </a:solidFill>
              </a:rPr>
              <a:t>Decommissioning of the platform</a:t>
            </a:r>
          </a:p>
        </p:txBody>
      </p:sp>
      <p:cxnSp>
        <p:nvCxnSpPr>
          <p:cNvPr id="11" name="Straight Arrow Connector 10">
            <a:extLst>
              <a:ext uri="{FF2B5EF4-FFF2-40B4-BE49-F238E27FC236}">
                <a16:creationId xmlns:a16="http://schemas.microsoft.com/office/drawing/2014/main" id="{49A438DC-A8A1-383E-9C5D-0172365381C5}"/>
              </a:ext>
            </a:extLst>
          </p:cNvPr>
          <p:cNvCxnSpPr>
            <a:cxnSpLocks/>
          </p:cNvCxnSpPr>
          <p:nvPr/>
        </p:nvCxnSpPr>
        <p:spPr>
          <a:xfrm>
            <a:off x="4499992" y="2947223"/>
            <a:ext cx="0" cy="460028"/>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37621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A7CBA9C-3313-448C-9E65-11E456116ACB}" type="datetime1">
              <a:rPr lang="fr-FR" smtClean="0"/>
              <a:t>23/04/2024</a:t>
            </a:fld>
            <a:endParaRPr lang="fr-FR"/>
          </a:p>
        </p:txBody>
      </p:sp>
      <p:sp>
        <p:nvSpPr>
          <p:cNvPr id="3" name="Slide Number Placeholder 2"/>
          <p:cNvSpPr>
            <a:spLocks noGrp="1"/>
          </p:cNvSpPr>
          <p:nvPr>
            <p:ph type="sldNum" sz="quarter" idx="12"/>
          </p:nvPr>
        </p:nvSpPr>
        <p:spPr/>
        <p:txBody>
          <a:bodyPr/>
          <a:lstStyle/>
          <a:p>
            <a:fld id="{6CA6A39B-2923-4814-8F57-BD84643AD2B4}" type="slidenum">
              <a:rPr lang="fr-FR" smtClean="0"/>
              <a:pPr/>
              <a:t>16</a:t>
            </a:fld>
            <a:endParaRPr lang="fr-FR"/>
          </a:p>
        </p:txBody>
      </p:sp>
      <p:sp>
        <p:nvSpPr>
          <p:cNvPr id="4" name="Title 3"/>
          <p:cNvSpPr>
            <a:spLocks noGrp="1"/>
          </p:cNvSpPr>
          <p:nvPr>
            <p:ph type="ctrTitle"/>
          </p:nvPr>
        </p:nvSpPr>
        <p:spPr/>
        <p:txBody>
          <a:bodyPr/>
          <a:lstStyle/>
          <a:p>
            <a:r>
              <a:rPr lang="en-US" dirty="0"/>
              <a:t>Topic 3: </a:t>
            </a:r>
            <a:r>
              <a:rPr lang="en-GB" dirty="0"/>
              <a:t>Questions and answers</a:t>
            </a:r>
          </a:p>
        </p:txBody>
      </p:sp>
    </p:spTree>
    <p:extLst>
      <p:ext uri="{BB962C8B-B14F-4D97-AF65-F5344CB8AC3E}">
        <p14:creationId xmlns:p14="http://schemas.microsoft.com/office/powerpoint/2010/main" val="38497897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p:txBody>
          <a:bodyPr/>
          <a:lstStyle/>
          <a:p>
            <a:r>
              <a:rPr lang="en-GB" dirty="0"/>
              <a:t>Agenda</a:t>
            </a:r>
          </a:p>
        </p:txBody>
      </p:sp>
      <p:sp>
        <p:nvSpPr>
          <p:cNvPr id="4" name="Espace réservé de la date 3"/>
          <p:cNvSpPr>
            <a:spLocks noGrp="1"/>
          </p:cNvSpPr>
          <p:nvPr>
            <p:ph type="dt" sz="half" idx="10"/>
          </p:nvPr>
        </p:nvSpPr>
        <p:spPr>
          <a:xfrm>
            <a:off x="422462" y="6356350"/>
            <a:ext cx="2133600" cy="365125"/>
          </a:xfrm>
        </p:spPr>
        <p:txBody>
          <a:bodyPr/>
          <a:lstStyle/>
          <a:p>
            <a:fld id="{3A101B08-4580-48F3-B1CA-82F8A9B9E531}" type="datetime1">
              <a:rPr lang="fr-FR" smtClean="0"/>
              <a:pPr/>
              <a:t>23/04/2024</a:t>
            </a:fld>
            <a:endParaRPr lang="fr-FR" dirty="0"/>
          </a:p>
        </p:txBody>
      </p:sp>
      <p:sp>
        <p:nvSpPr>
          <p:cNvPr id="5" name="Espace réservé du numéro de diapositive 4"/>
          <p:cNvSpPr>
            <a:spLocks noGrp="1"/>
          </p:cNvSpPr>
          <p:nvPr>
            <p:ph type="sldNum" sz="quarter" idx="12"/>
          </p:nvPr>
        </p:nvSpPr>
        <p:spPr/>
        <p:txBody>
          <a:bodyPr/>
          <a:lstStyle/>
          <a:p>
            <a:fld id="{6CA6A39B-2923-4814-8F57-BD84643AD2B4}" type="slidenum">
              <a:rPr lang="fr-FR" smtClean="0"/>
              <a:pPr/>
              <a:t>2</a:t>
            </a:fld>
            <a:endParaRPr lang="fr-FR" dirty="0"/>
          </a:p>
        </p:txBody>
      </p:sp>
      <p:sp>
        <p:nvSpPr>
          <p:cNvPr id="3" name="Text Placeholder 2"/>
          <p:cNvSpPr>
            <a:spLocks noGrp="1"/>
          </p:cNvSpPr>
          <p:nvPr>
            <p:ph type="body" sz="quarter" idx="13"/>
          </p:nvPr>
        </p:nvSpPr>
        <p:spPr/>
        <p:txBody>
          <a:bodyPr/>
          <a:lstStyle/>
          <a:p>
            <a:r>
              <a:rPr lang="en-US" dirty="0"/>
              <a:t>TERRE Stakeholder Workshop</a:t>
            </a:r>
            <a:endParaRPr lang="en-GB" dirty="0"/>
          </a:p>
        </p:txBody>
      </p:sp>
      <p:graphicFrame>
        <p:nvGraphicFramePr>
          <p:cNvPr id="7" name="Table 6">
            <a:extLst>
              <a:ext uri="{FF2B5EF4-FFF2-40B4-BE49-F238E27FC236}">
                <a16:creationId xmlns:a16="http://schemas.microsoft.com/office/drawing/2014/main" id="{A80EBAAF-8127-4349-A381-0C93836B57D6}"/>
              </a:ext>
            </a:extLst>
          </p:cNvPr>
          <p:cNvGraphicFramePr>
            <a:graphicFrameLocks noGrp="1"/>
          </p:cNvGraphicFramePr>
          <p:nvPr>
            <p:extLst>
              <p:ext uri="{D42A27DB-BD31-4B8C-83A1-F6EECF244321}">
                <p14:modId xmlns:p14="http://schemas.microsoft.com/office/powerpoint/2010/main" val="769661399"/>
              </p:ext>
            </p:extLst>
          </p:nvPr>
        </p:nvGraphicFramePr>
        <p:xfrm>
          <a:off x="323528" y="2204864"/>
          <a:ext cx="8496944" cy="1562816"/>
        </p:xfrm>
        <a:graphic>
          <a:graphicData uri="http://schemas.openxmlformats.org/drawingml/2006/table">
            <a:tbl>
              <a:tblPr firstRow="1" firstCol="1" bandRow="1"/>
              <a:tblGrid>
                <a:gridCol w="963205">
                  <a:extLst>
                    <a:ext uri="{9D8B030D-6E8A-4147-A177-3AD203B41FA5}">
                      <a16:colId xmlns:a16="http://schemas.microsoft.com/office/drawing/2014/main" val="2688219432"/>
                    </a:ext>
                  </a:extLst>
                </a:gridCol>
                <a:gridCol w="5992065">
                  <a:extLst>
                    <a:ext uri="{9D8B030D-6E8A-4147-A177-3AD203B41FA5}">
                      <a16:colId xmlns:a16="http://schemas.microsoft.com/office/drawing/2014/main" val="2438949131"/>
                    </a:ext>
                  </a:extLst>
                </a:gridCol>
                <a:gridCol w="1541674">
                  <a:extLst>
                    <a:ext uri="{9D8B030D-6E8A-4147-A177-3AD203B41FA5}">
                      <a16:colId xmlns:a16="http://schemas.microsoft.com/office/drawing/2014/main" val="2424315635"/>
                    </a:ext>
                  </a:extLst>
                </a:gridCol>
              </a:tblGrid>
              <a:tr h="305711">
                <a:tc>
                  <a:txBody>
                    <a:bodyPr/>
                    <a:lstStyle/>
                    <a:p>
                      <a:pPr algn="ctr"/>
                      <a:r>
                        <a:rPr lang="en-GB" sz="1500" b="1">
                          <a:solidFill>
                            <a:srgbClr val="FFFFFF"/>
                          </a:solidFill>
                          <a:effectLst/>
                          <a:latin typeface="+mj-lt"/>
                          <a:ea typeface="Times New Roman" panose="02020603050405020304" pitchFamily="18" charset="0"/>
                          <a:cs typeface="Times New Roman" panose="02020603050405020304" pitchFamily="18" charset="0"/>
                        </a:rPr>
                        <a:t>#</a:t>
                      </a:r>
                      <a:endParaRPr lang="en-GB" sz="150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1F497D"/>
                    </a:solidFill>
                  </a:tcPr>
                </a:tc>
                <a:tc>
                  <a:txBody>
                    <a:bodyPr/>
                    <a:lstStyle/>
                    <a:p>
                      <a:pPr algn="ctr"/>
                      <a:r>
                        <a:rPr lang="en-GB" sz="1500" b="1" dirty="0">
                          <a:solidFill>
                            <a:srgbClr val="FFFFFF"/>
                          </a:solidFill>
                          <a:effectLst/>
                          <a:latin typeface="+mj-lt"/>
                          <a:ea typeface="Times New Roman" panose="02020603050405020304" pitchFamily="18" charset="0"/>
                          <a:cs typeface="Times New Roman" panose="02020603050405020304" pitchFamily="18" charset="0"/>
                        </a:rPr>
                        <a:t>TOPICS</a:t>
                      </a:r>
                      <a:endParaRPr lang="en-GB" sz="1500" dirty="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1F497D"/>
                    </a:solidFill>
                  </a:tcPr>
                </a:tc>
                <a:tc>
                  <a:txBody>
                    <a:bodyPr/>
                    <a:lstStyle/>
                    <a:p>
                      <a:pPr algn="ctr"/>
                      <a:r>
                        <a:rPr lang="en-GB" sz="1500" b="1">
                          <a:solidFill>
                            <a:srgbClr val="FFFFFF"/>
                          </a:solidFill>
                          <a:effectLst/>
                          <a:latin typeface="+mj-lt"/>
                          <a:ea typeface="Times New Roman" panose="02020603050405020304" pitchFamily="18" charset="0"/>
                          <a:cs typeface="Times New Roman" panose="02020603050405020304" pitchFamily="18" charset="0"/>
                        </a:rPr>
                        <a:t>Timing (CET)</a:t>
                      </a:r>
                      <a:endParaRPr lang="en-GB" sz="150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1F497D"/>
                    </a:solidFill>
                  </a:tcPr>
                </a:tc>
                <a:extLst>
                  <a:ext uri="{0D108BD9-81ED-4DB2-BD59-A6C34878D82A}">
                    <a16:rowId xmlns:a16="http://schemas.microsoft.com/office/drawing/2014/main" val="2139995013"/>
                  </a:ext>
                </a:extLst>
              </a:tr>
              <a:tr h="30571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dirty="0">
                          <a:solidFill>
                            <a:srgbClr val="000000"/>
                          </a:solidFill>
                          <a:effectLst/>
                          <a:latin typeface="+mj-lt"/>
                          <a:ea typeface="Times New Roman" panose="02020603050405020304" pitchFamily="18" charset="0"/>
                          <a:cs typeface="Times New Roman" panose="02020603050405020304" pitchFamily="18" charset="0"/>
                        </a:rPr>
                        <a:t> </a:t>
                      </a:r>
                      <a:r>
                        <a:rPr lang="fr-FR" sz="1500" b="1" kern="1200" dirty="0">
                          <a:solidFill>
                            <a:schemeClr val="tx1"/>
                          </a:solidFill>
                          <a:effectLst/>
                          <a:latin typeface="+mn-lt"/>
                          <a:ea typeface="Times New Roman" panose="02020603050405020304" pitchFamily="18" charset="0"/>
                          <a:cs typeface="Times New Roman" panose="02020603050405020304" pitchFamily="18" charset="0"/>
                        </a:rPr>
                        <a:t>1</a:t>
                      </a:r>
                      <a:endParaRPr lang="en-GB" sz="1500" kern="1200" dirty="0">
                        <a:solidFill>
                          <a:schemeClr val="tx1"/>
                        </a:solidFill>
                        <a:effectLst/>
                        <a:latin typeface="+mn-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just"/>
                      <a:r>
                        <a:rPr lang="en-GB" sz="1500" b="1" dirty="0">
                          <a:solidFill>
                            <a:srgbClr val="000000"/>
                          </a:solidFill>
                          <a:effectLst/>
                          <a:latin typeface="+mj-lt"/>
                          <a:ea typeface="Times New Roman" panose="02020603050405020304" pitchFamily="18" charset="0"/>
                          <a:cs typeface="Times New Roman" panose="02020603050405020304" pitchFamily="18" charset="0"/>
                        </a:rPr>
                        <a:t>Introduction</a:t>
                      </a:r>
                      <a:endParaRPr lang="en-GB" sz="1500" dirty="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tc>
                  <a:txBody>
                    <a:bodyPr/>
                    <a:lstStyle/>
                    <a:p>
                      <a:pPr algn="ctr"/>
                      <a:r>
                        <a:rPr lang="en-GB" sz="1500" b="1" dirty="0">
                          <a:solidFill>
                            <a:srgbClr val="000000"/>
                          </a:solidFill>
                          <a:effectLst/>
                          <a:latin typeface="+mj-lt"/>
                          <a:ea typeface="Times New Roman" panose="02020603050405020304" pitchFamily="18" charset="0"/>
                          <a:cs typeface="Times New Roman" panose="02020603050405020304" pitchFamily="18" charset="0"/>
                        </a:rPr>
                        <a:t>9:00</a:t>
                      </a:r>
                      <a:endParaRPr lang="en-GB" sz="1500" dirty="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D9D9D9"/>
                    </a:solidFill>
                  </a:tcPr>
                </a:tc>
                <a:extLst>
                  <a:ext uri="{0D108BD9-81ED-4DB2-BD59-A6C34878D82A}">
                    <a16:rowId xmlns:a16="http://schemas.microsoft.com/office/drawing/2014/main" val="671054754"/>
                  </a:ext>
                </a:extLst>
              </a:tr>
              <a:tr h="344365">
                <a:tc>
                  <a:txBody>
                    <a:bodyPr/>
                    <a:lstStyle/>
                    <a:p>
                      <a:pPr algn="ctr"/>
                      <a:r>
                        <a:rPr lang="fr-FR" sz="1500" b="1" dirty="0">
                          <a:effectLst/>
                          <a:latin typeface="+mj-lt"/>
                          <a:ea typeface="Times New Roman" panose="02020603050405020304" pitchFamily="18" charset="0"/>
                          <a:cs typeface="Times New Roman" panose="02020603050405020304" pitchFamily="18" charset="0"/>
                        </a:rPr>
                        <a:t>2</a:t>
                      </a:r>
                      <a:endParaRPr lang="en-GB" sz="1500" dirty="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tc>
                  <a:txBody>
                    <a:bodyPr/>
                    <a:lstStyle/>
                    <a:p>
                      <a:pPr algn="just"/>
                      <a:r>
                        <a:rPr lang="en-US" sz="1500" b="1" noProof="0" dirty="0">
                          <a:effectLst/>
                          <a:latin typeface="+mj-lt"/>
                          <a:ea typeface="Times New Roman" panose="02020603050405020304" pitchFamily="18" charset="0"/>
                          <a:cs typeface="Times New Roman" panose="02020603050405020304" pitchFamily="18" charset="0"/>
                        </a:rPr>
                        <a:t>Future </a:t>
                      </a:r>
                      <a:r>
                        <a:rPr lang="en-GB" sz="1500" b="1" dirty="0">
                          <a:effectLst/>
                          <a:latin typeface="+mj-lt"/>
                          <a:ea typeface="Times New Roman" panose="02020603050405020304" pitchFamily="18" charset="0"/>
                          <a:cs typeface="Times New Roman" panose="02020603050405020304" pitchFamily="18" charset="0"/>
                        </a:rPr>
                        <a:t>of the TERRE project</a:t>
                      </a:r>
                      <a:endParaRPr lang="en-GB" sz="1500" dirty="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tc>
                  <a:txBody>
                    <a:bodyPr/>
                    <a:lstStyle/>
                    <a:p>
                      <a:pPr algn="ctr"/>
                      <a:r>
                        <a:rPr lang="en-GB" sz="1500" dirty="0">
                          <a:effectLst/>
                          <a:latin typeface="+mj-lt"/>
                          <a:ea typeface="Times New Roman" panose="02020603050405020304" pitchFamily="18" charset="0"/>
                          <a:cs typeface="Times New Roman" panose="02020603050405020304" pitchFamily="18" charset="0"/>
                        </a:rPr>
                        <a:t>9:15</a:t>
                      </a:r>
                    </a:p>
                  </a:txBody>
                  <a:tcPr marL="44450" marR="44450" marT="9525" marB="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extLst>
                  <a:ext uri="{0D108BD9-81ED-4DB2-BD59-A6C34878D82A}">
                    <a16:rowId xmlns:a16="http://schemas.microsoft.com/office/drawing/2014/main" val="1366857661"/>
                  </a:ext>
                </a:extLst>
              </a:tr>
              <a:tr h="326794">
                <a:tc>
                  <a:txBody>
                    <a:bodyPr/>
                    <a:lstStyle/>
                    <a:p>
                      <a:pPr algn="ctr"/>
                      <a:r>
                        <a:rPr lang="fr-FR" sz="1500" b="1" dirty="0">
                          <a:effectLst/>
                          <a:latin typeface="+mj-lt"/>
                          <a:ea typeface="Times New Roman" panose="02020603050405020304" pitchFamily="18" charset="0"/>
                          <a:cs typeface="Times New Roman" panose="02020603050405020304" pitchFamily="18" charset="0"/>
                        </a:rPr>
                        <a:t>3</a:t>
                      </a:r>
                      <a:endParaRPr lang="en-GB" sz="1500" dirty="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tc>
                  <a:txBody>
                    <a:bodyPr/>
                    <a:lstStyle/>
                    <a:p>
                      <a:pPr algn="just"/>
                      <a:r>
                        <a:rPr lang="en-GB" sz="1500" b="1" dirty="0">
                          <a:effectLst/>
                          <a:latin typeface="+mj-lt"/>
                          <a:ea typeface="Times New Roman" panose="02020603050405020304" pitchFamily="18" charset="0"/>
                          <a:cs typeface="Times New Roman" panose="02020603050405020304" pitchFamily="18" charset="0"/>
                        </a:rPr>
                        <a:t>Questions &amp; Answers </a:t>
                      </a:r>
                      <a:endParaRPr lang="en-GB" sz="1500" dirty="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tc>
                  <a:txBody>
                    <a:bodyPr/>
                    <a:lstStyle/>
                    <a:p>
                      <a:pPr algn="ctr"/>
                      <a:r>
                        <a:rPr lang="en-GB" sz="1500" dirty="0">
                          <a:effectLst/>
                          <a:latin typeface="+mj-lt"/>
                          <a:ea typeface="Times New Roman" panose="02020603050405020304" pitchFamily="18" charset="0"/>
                          <a:cs typeface="Times New Roman" panose="02020603050405020304" pitchFamily="18" charset="0"/>
                        </a:rPr>
                        <a:t>9:45</a:t>
                      </a:r>
                    </a:p>
                  </a:txBody>
                  <a:tcPr marL="44450" marR="44450" marT="9525" marB="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tcPr>
                </a:tc>
                <a:extLst>
                  <a:ext uri="{0D108BD9-81ED-4DB2-BD59-A6C34878D82A}">
                    <a16:rowId xmlns:a16="http://schemas.microsoft.com/office/drawing/2014/main" val="3084453088"/>
                  </a:ext>
                </a:extLst>
              </a:tr>
              <a:tr h="280235">
                <a:tc>
                  <a:txBody>
                    <a:bodyPr/>
                    <a:lstStyle/>
                    <a:p>
                      <a:pPr algn="ctr"/>
                      <a:r>
                        <a:rPr lang="en-GB" sz="1500" b="1" dirty="0">
                          <a:solidFill>
                            <a:srgbClr val="000000"/>
                          </a:solidFill>
                          <a:effectLst/>
                          <a:latin typeface="+mj-lt"/>
                          <a:ea typeface="Times New Roman" panose="02020603050405020304" pitchFamily="18" charset="0"/>
                          <a:cs typeface="Times New Roman" panose="02020603050405020304" pitchFamily="18" charset="0"/>
                        </a:rPr>
                        <a:t> </a:t>
                      </a:r>
                      <a:endParaRPr lang="en-GB" sz="1500" dirty="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000000"/>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F7F7F"/>
                    </a:solidFill>
                  </a:tcPr>
                </a:tc>
                <a:tc>
                  <a:txBody>
                    <a:bodyPr/>
                    <a:lstStyle/>
                    <a:p>
                      <a:pPr algn="just"/>
                      <a:r>
                        <a:rPr lang="en-GB" sz="1500" b="1">
                          <a:solidFill>
                            <a:srgbClr val="FFFFFF"/>
                          </a:solidFill>
                          <a:effectLst/>
                          <a:latin typeface="+mj-lt"/>
                          <a:ea typeface="Times New Roman" panose="02020603050405020304" pitchFamily="18" charset="0"/>
                          <a:cs typeface="Times New Roman" panose="02020603050405020304" pitchFamily="18" charset="0"/>
                        </a:rPr>
                        <a:t>End of the meeting</a:t>
                      </a:r>
                      <a:endParaRPr lang="en-GB" sz="150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F7F7F"/>
                    </a:solidFill>
                  </a:tcPr>
                </a:tc>
                <a:tc>
                  <a:txBody>
                    <a:bodyPr/>
                    <a:lstStyle/>
                    <a:p>
                      <a:pPr algn="ctr"/>
                      <a:r>
                        <a:rPr lang="en-GB" sz="1500" b="1" dirty="0">
                          <a:solidFill>
                            <a:srgbClr val="FFFFFF"/>
                          </a:solidFill>
                          <a:effectLst/>
                          <a:latin typeface="+mj-lt"/>
                          <a:ea typeface="Times New Roman" panose="02020603050405020304" pitchFamily="18" charset="0"/>
                          <a:cs typeface="Times New Roman" panose="02020603050405020304" pitchFamily="18" charset="0"/>
                        </a:rPr>
                        <a:t>10:15</a:t>
                      </a:r>
                      <a:endParaRPr lang="en-GB" sz="1500" dirty="0">
                        <a:effectLst/>
                        <a:latin typeface="+mj-lt"/>
                        <a:ea typeface="Times New Roman" panose="02020603050405020304" pitchFamily="18" charset="0"/>
                        <a:cs typeface="Times New Roman" panose="02020603050405020304" pitchFamily="18" charset="0"/>
                      </a:endParaRPr>
                    </a:p>
                  </a:txBody>
                  <a:tcPr marL="44450" marR="44450" marT="9525" marB="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F7F7F"/>
                    </a:solidFill>
                  </a:tcPr>
                </a:tc>
                <a:extLst>
                  <a:ext uri="{0D108BD9-81ED-4DB2-BD59-A6C34878D82A}">
                    <a16:rowId xmlns:a16="http://schemas.microsoft.com/office/drawing/2014/main" val="2548343533"/>
                  </a:ext>
                </a:extLst>
              </a:tr>
            </a:tbl>
          </a:graphicData>
        </a:graphic>
      </p:graphicFrame>
    </p:spTree>
    <p:extLst>
      <p:ext uri="{BB962C8B-B14F-4D97-AF65-F5344CB8AC3E}">
        <p14:creationId xmlns:p14="http://schemas.microsoft.com/office/powerpoint/2010/main" val="41474375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A7CBA9C-3313-448C-9E65-11E456116ACB}" type="datetime1">
              <a:rPr lang="fr-FR" smtClean="0"/>
              <a:t>23/04/2024</a:t>
            </a:fld>
            <a:endParaRPr lang="fr-FR"/>
          </a:p>
        </p:txBody>
      </p:sp>
      <p:sp>
        <p:nvSpPr>
          <p:cNvPr id="3" name="Slide Number Placeholder 2"/>
          <p:cNvSpPr>
            <a:spLocks noGrp="1"/>
          </p:cNvSpPr>
          <p:nvPr>
            <p:ph type="sldNum" sz="quarter" idx="12"/>
          </p:nvPr>
        </p:nvSpPr>
        <p:spPr/>
        <p:txBody>
          <a:bodyPr/>
          <a:lstStyle/>
          <a:p>
            <a:fld id="{6CA6A39B-2923-4814-8F57-BD84643AD2B4}" type="slidenum">
              <a:rPr lang="fr-FR" smtClean="0"/>
              <a:pPr/>
              <a:t>3</a:t>
            </a:fld>
            <a:endParaRPr lang="fr-FR"/>
          </a:p>
        </p:txBody>
      </p:sp>
      <p:sp>
        <p:nvSpPr>
          <p:cNvPr id="4" name="Title 3"/>
          <p:cNvSpPr>
            <a:spLocks noGrp="1"/>
          </p:cNvSpPr>
          <p:nvPr>
            <p:ph type="ctrTitle"/>
          </p:nvPr>
        </p:nvSpPr>
        <p:spPr/>
        <p:txBody>
          <a:bodyPr/>
          <a:lstStyle/>
          <a:p>
            <a:r>
              <a:rPr lang="en-GB" dirty="0"/>
              <a:t>Topic 1: Introduction</a:t>
            </a:r>
          </a:p>
        </p:txBody>
      </p:sp>
    </p:spTree>
    <p:extLst>
      <p:ext uri="{BB962C8B-B14F-4D97-AF65-F5344CB8AC3E}">
        <p14:creationId xmlns:p14="http://schemas.microsoft.com/office/powerpoint/2010/main" val="29004095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3CE897-25DC-4CBC-840C-FF00B5BDA945}"/>
              </a:ext>
            </a:extLst>
          </p:cNvPr>
          <p:cNvSpPr>
            <a:spLocks noGrp="1"/>
          </p:cNvSpPr>
          <p:nvPr>
            <p:ph type="title"/>
          </p:nvPr>
        </p:nvSpPr>
        <p:spPr>
          <a:xfrm>
            <a:off x="323528" y="170334"/>
            <a:ext cx="8496944" cy="492471"/>
          </a:xfrm>
        </p:spPr>
        <p:txBody>
          <a:bodyPr/>
          <a:lstStyle/>
          <a:p>
            <a:r>
              <a:rPr lang="en-US" dirty="0"/>
              <a:t>1. Introduction </a:t>
            </a:r>
            <a:endParaRPr lang="x-none" dirty="0"/>
          </a:p>
        </p:txBody>
      </p:sp>
      <p:sp>
        <p:nvSpPr>
          <p:cNvPr id="4" name="Date Placeholder 3">
            <a:extLst>
              <a:ext uri="{FF2B5EF4-FFF2-40B4-BE49-F238E27FC236}">
                <a16:creationId xmlns:a16="http://schemas.microsoft.com/office/drawing/2014/main" id="{EBD8BA62-F99B-4971-8A96-B532F2EDF26F}"/>
              </a:ext>
            </a:extLst>
          </p:cNvPr>
          <p:cNvSpPr>
            <a:spLocks noGrp="1"/>
          </p:cNvSpPr>
          <p:nvPr>
            <p:ph type="dt" sz="half" idx="10"/>
          </p:nvPr>
        </p:nvSpPr>
        <p:spPr/>
        <p:txBody>
          <a:bodyPr/>
          <a:lstStyle/>
          <a:p>
            <a:fld id="{3A101B08-4580-48F3-B1CA-82F8A9B9E531}" type="datetime1">
              <a:rPr lang="fr-FR" smtClean="0"/>
              <a:t>23/04/2024</a:t>
            </a:fld>
            <a:endParaRPr lang="fr-FR"/>
          </a:p>
        </p:txBody>
      </p:sp>
      <p:sp>
        <p:nvSpPr>
          <p:cNvPr id="5" name="Slide Number Placeholder 4">
            <a:extLst>
              <a:ext uri="{FF2B5EF4-FFF2-40B4-BE49-F238E27FC236}">
                <a16:creationId xmlns:a16="http://schemas.microsoft.com/office/drawing/2014/main" id="{732A4F9A-76D0-4C23-B4C2-CDF053870FD7}"/>
              </a:ext>
            </a:extLst>
          </p:cNvPr>
          <p:cNvSpPr>
            <a:spLocks noGrp="1"/>
          </p:cNvSpPr>
          <p:nvPr>
            <p:ph type="sldNum" sz="quarter" idx="12"/>
          </p:nvPr>
        </p:nvSpPr>
        <p:spPr>
          <a:ln w="9525">
            <a:noFill/>
          </a:ln>
        </p:spPr>
        <p:txBody>
          <a:bodyPr/>
          <a:lstStyle/>
          <a:p>
            <a:fld id="{6CA6A39B-2923-4814-8F57-BD84643AD2B4}" type="slidenum">
              <a:rPr lang="fr-FR" smtClean="0"/>
              <a:pPr/>
              <a:t>4</a:t>
            </a:fld>
            <a:endParaRPr lang="fr-FR" dirty="0"/>
          </a:p>
        </p:txBody>
      </p:sp>
      <p:sp>
        <p:nvSpPr>
          <p:cNvPr id="13" name="Content Placeholder 2">
            <a:extLst>
              <a:ext uri="{FF2B5EF4-FFF2-40B4-BE49-F238E27FC236}">
                <a16:creationId xmlns:a16="http://schemas.microsoft.com/office/drawing/2014/main" id="{75176F5A-4482-41F1-81BF-010A30F9936F}"/>
              </a:ext>
            </a:extLst>
          </p:cNvPr>
          <p:cNvSpPr>
            <a:spLocks noGrp="1"/>
          </p:cNvSpPr>
          <p:nvPr>
            <p:ph idx="1"/>
          </p:nvPr>
        </p:nvSpPr>
        <p:spPr>
          <a:xfrm>
            <a:off x="558376" y="1052736"/>
            <a:ext cx="5428047" cy="4365157"/>
          </a:xfrm>
        </p:spPr>
        <p:txBody>
          <a:bodyPr>
            <a:noAutofit/>
          </a:bodyPr>
          <a:lstStyle/>
          <a:p>
            <a:pPr marL="0" indent="0">
              <a:buNone/>
            </a:pPr>
            <a:r>
              <a:rPr lang="en-GB" sz="1600" b="1" dirty="0">
                <a:solidFill>
                  <a:schemeClr val="tx2"/>
                </a:solidFill>
              </a:rPr>
              <a:t>TERRE Members</a:t>
            </a:r>
          </a:p>
          <a:p>
            <a:pPr marL="0" indent="0">
              <a:buNone/>
            </a:pPr>
            <a:endParaRPr lang="en-GB" sz="1000" b="1" dirty="0">
              <a:solidFill>
                <a:schemeClr val="tx2"/>
              </a:solidFill>
            </a:endParaRPr>
          </a:p>
          <a:p>
            <a:pPr>
              <a:spcBef>
                <a:spcPts val="0"/>
              </a:spcBef>
            </a:pPr>
            <a:r>
              <a:rPr lang="en-GB" sz="1600" b="1" dirty="0"/>
              <a:t>Region 1  </a:t>
            </a:r>
          </a:p>
          <a:p>
            <a:pPr lvl="1">
              <a:spcBef>
                <a:spcPts val="0"/>
              </a:spcBef>
              <a:buFont typeface="Arial" panose="020B0604020202020204" pitchFamily="34" charset="0"/>
              <a:buChar char="•"/>
            </a:pPr>
            <a:r>
              <a:rPr lang="en-GB" sz="1600" dirty="0"/>
              <a:t>France (RTE)</a:t>
            </a:r>
          </a:p>
          <a:p>
            <a:pPr lvl="1">
              <a:spcBef>
                <a:spcPts val="0"/>
              </a:spcBef>
              <a:buFont typeface="Arial" panose="020B0604020202020204" pitchFamily="34" charset="0"/>
              <a:buChar char="•"/>
            </a:pPr>
            <a:r>
              <a:rPr lang="en-GB" sz="1600" dirty="0"/>
              <a:t>Italy (TERNA)</a:t>
            </a:r>
          </a:p>
          <a:p>
            <a:pPr lvl="1">
              <a:spcBef>
                <a:spcPts val="0"/>
              </a:spcBef>
              <a:buFont typeface="Arial" panose="020B0604020202020204" pitchFamily="34" charset="0"/>
              <a:buChar char="•"/>
            </a:pPr>
            <a:r>
              <a:rPr lang="en-GB" sz="1600" dirty="0"/>
              <a:t>Portugal (REN)</a:t>
            </a:r>
          </a:p>
          <a:p>
            <a:pPr lvl="1">
              <a:spcBef>
                <a:spcPts val="0"/>
              </a:spcBef>
              <a:buFont typeface="Arial" panose="020B0604020202020204" pitchFamily="34" charset="0"/>
              <a:buChar char="•"/>
            </a:pPr>
            <a:r>
              <a:rPr lang="en-GB" sz="1600" dirty="0"/>
              <a:t>Spain (RE)</a:t>
            </a:r>
          </a:p>
          <a:p>
            <a:pPr lvl="1">
              <a:spcBef>
                <a:spcPts val="0"/>
              </a:spcBef>
              <a:buFont typeface="Arial" panose="020B0604020202020204" pitchFamily="34" charset="0"/>
              <a:buChar char="•"/>
            </a:pPr>
            <a:r>
              <a:rPr lang="en-GB" sz="1600" dirty="0"/>
              <a:t>Switzerland (SG)</a:t>
            </a:r>
          </a:p>
          <a:p>
            <a:pPr marL="457200" lvl="1" indent="0">
              <a:spcBef>
                <a:spcPts val="0"/>
              </a:spcBef>
              <a:buNone/>
            </a:pPr>
            <a:endParaRPr lang="en-GB" sz="700" dirty="0"/>
          </a:p>
          <a:p>
            <a:pPr>
              <a:spcBef>
                <a:spcPts val="0"/>
              </a:spcBef>
            </a:pPr>
            <a:r>
              <a:rPr lang="en-GB" sz="1600" b="1" dirty="0"/>
              <a:t>Region 2</a:t>
            </a:r>
          </a:p>
          <a:p>
            <a:pPr lvl="1">
              <a:spcBef>
                <a:spcPts val="0"/>
              </a:spcBef>
              <a:buFont typeface="Arial" panose="020B0604020202020204" pitchFamily="34" charset="0"/>
              <a:buChar char="•"/>
            </a:pPr>
            <a:r>
              <a:rPr lang="en-GB" sz="1600" dirty="0"/>
              <a:t>Czech Republic (CEPS)</a:t>
            </a:r>
          </a:p>
          <a:p>
            <a:pPr lvl="1">
              <a:spcBef>
                <a:spcPts val="0"/>
              </a:spcBef>
              <a:buFont typeface="Arial" panose="020B0604020202020204" pitchFamily="34" charset="0"/>
              <a:buChar char="•"/>
            </a:pPr>
            <a:r>
              <a:rPr lang="en-GB" sz="1600" dirty="0"/>
              <a:t>Poland  (PSE) (not connected yet)</a:t>
            </a:r>
          </a:p>
          <a:p>
            <a:pPr>
              <a:spcBef>
                <a:spcPts val="0"/>
              </a:spcBef>
            </a:pPr>
            <a:endParaRPr lang="en-GB" sz="800" b="1" dirty="0"/>
          </a:p>
          <a:p>
            <a:pPr>
              <a:spcBef>
                <a:spcPts val="0"/>
              </a:spcBef>
            </a:pPr>
            <a:r>
              <a:rPr lang="en-GB" sz="1600" b="1" dirty="0"/>
              <a:t>Observers</a:t>
            </a:r>
            <a:endParaRPr lang="en-GB" sz="1600" dirty="0"/>
          </a:p>
          <a:p>
            <a:pPr lvl="1">
              <a:spcBef>
                <a:spcPts val="0"/>
              </a:spcBef>
              <a:buFont typeface="Arial" panose="020B0604020202020204" pitchFamily="34" charset="0"/>
              <a:buChar char="•"/>
            </a:pPr>
            <a:r>
              <a:rPr lang="en-GB" sz="1600" dirty="0"/>
              <a:t>Hungary (MAVIR) </a:t>
            </a:r>
          </a:p>
          <a:p>
            <a:pPr marL="457200" lvl="1" indent="0">
              <a:spcBef>
                <a:spcPts val="0"/>
              </a:spcBef>
              <a:buNone/>
            </a:pPr>
            <a:endParaRPr lang="en-GB" sz="1600" dirty="0"/>
          </a:p>
          <a:p>
            <a:pPr marL="0" indent="0">
              <a:buNone/>
            </a:pPr>
            <a:r>
              <a:rPr lang="en-GB" sz="1600" b="1" dirty="0">
                <a:solidFill>
                  <a:schemeClr val="tx2"/>
                </a:solidFill>
              </a:rPr>
              <a:t>Project Members</a:t>
            </a:r>
          </a:p>
          <a:p>
            <a:pPr lvl="1">
              <a:buFont typeface="Arial" panose="020B0604020202020204" pitchFamily="34" charset="0"/>
              <a:buChar char="•"/>
            </a:pPr>
            <a:r>
              <a:rPr lang="en-GB" sz="1600" dirty="0"/>
              <a:t>Germany (Amprion)</a:t>
            </a:r>
          </a:p>
          <a:p>
            <a:pPr lvl="1">
              <a:buFont typeface="Arial" panose="020B0604020202020204" pitchFamily="34" charset="0"/>
              <a:buChar char="•"/>
            </a:pPr>
            <a:r>
              <a:rPr lang="en-GB" sz="1600" dirty="0"/>
              <a:t>Norway (Statnett)</a:t>
            </a:r>
          </a:p>
          <a:p>
            <a:pPr lvl="1">
              <a:buFont typeface="Arial" panose="020B0604020202020204" pitchFamily="34" charset="0"/>
              <a:buChar char="•"/>
            </a:pPr>
            <a:r>
              <a:rPr lang="en-GB" sz="1600" dirty="0"/>
              <a:t>Sweden (</a:t>
            </a:r>
            <a:r>
              <a:rPr lang="en-GB" sz="1600" dirty="0" err="1"/>
              <a:t>Svk</a:t>
            </a:r>
            <a:r>
              <a:rPr lang="en-GB" sz="1600" dirty="0"/>
              <a:t>)</a:t>
            </a:r>
          </a:p>
          <a:p>
            <a:pPr lvl="1">
              <a:buFont typeface="Wingdings" panose="05000000000000000000" pitchFamily="2" charset="2"/>
              <a:buChar char="§"/>
            </a:pPr>
            <a:endParaRPr lang="en-GB" sz="1600" dirty="0"/>
          </a:p>
        </p:txBody>
      </p:sp>
      <p:sp>
        <p:nvSpPr>
          <p:cNvPr id="316" name="Text Placeholder 5">
            <a:extLst>
              <a:ext uri="{FF2B5EF4-FFF2-40B4-BE49-F238E27FC236}">
                <a16:creationId xmlns:a16="http://schemas.microsoft.com/office/drawing/2014/main" id="{CD7A39F6-210C-4723-AA0E-52C099B5BBA3}"/>
              </a:ext>
            </a:extLst>
          </p:cNvPr>
          <p:cNvSpPr txBox="1">
            <a:spLocks/>
          </p:cNvSpPr>
          <p:nvPr/>
        </p:nvSpPr>
        <p:spPr>
          <a:xfrm>
            <a:off x="323528" y="620366"/>
            <a:ext cx="8496944" cy="360362"/>
          </a:xfrm>
          <a:prstGeom prst="rect">
            <a:avLst/>
          </a:prstGeom>
        </p:spPr>
        <p:txBody>
          <a:bodyPr vert="horz" lIns="91440" tIns="45720" rIns="91440" bIns="45720" rtlCol="0">
            <a:noAutofit/>
          </a:bodyPr>
          <a:lstStyle>
            <a:lvl1pPr marL="0" indent="0" algn="l" defTabSz="914400" rtl="0" eaLnBrk="1" latinLnBrk="0" hangingPunct="1">
              <a:spcBef>
                <a:spcPct val="20000"/>
              </a:spcBef>
              <a:buClr>
                <a:schemeClr val="tx2"/>
              </a:buClr>
              <a:buFont typeface="Wingdings" panose="05000000000000000000" pitchFamily="2" charset="2"/>
              <a:buNone/>
              <a:defRPr sz="1800" b="1" kern="1200">
                <a:solidFill>
                  <a:schemeClr val="accent6"/>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TERRE project - Participating TSOs</a:t>
            </a:r>
            <a:endParaRPr lang="en-GB" dirty="0"/>
          </a:p>
        </p:txBody>
      </p:sp>
      <p:sp>
        <p:nvSpPr>
          <p:cNvPr id="3" name="Rectangle 2">
            <a:extLst>
              <a:ext uri="{FF2B5EF4-FFF2-40B4-BE49-F238E27FC236}">
                <a16:creationId xmlns:a16="http://schemas.microsoft.com/office/drawing/2014/main" id="{114248C0-A654-4649-A477-CD9DB7A82AEC}"/>
              </a:ext>
            </a:extLst>
          </p:cNvPr>
          <p:cNvSpPr/>
          <p:nvPr/>
        </p:nvSpPr>
        <p:spPr>
          <a:xfrm>
            <a:off x="4889235" y="1650670"/>
            <a:ext cx="423516" cy="216198"/>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3" name="Rectangle 222">
            <a:extLst>
              <a:ext uri="{FF2B5EF4-FFF2-40B4-BE49-F238E27FC236}">
                <a16:creationId xmlns:a16="http://schemas.microsoft.com/office/drawing/2014/main" id="{9175F0BC-EDFD-4286-8FDC-A98AF527928A}"/>
              </a:ext>
            </a:extLst>
          </p:cNvPr>
          <p:cNvSpPr/>
          <p:nvPr/>
        </p:nvSpPr>
        <p:spPr>
          <a:xfrm>
            <a:off x="4889235" y="2008624"/>
            <a:ext cx="423516" cy="216198"/>
          </a:xfrm>
          <a:prstGeom prst="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F3095FFD-E1A4-4348-89BA-2E28A8DF9954}"/>
              </a:ext>
            </a:extLst>
          </p:cNvPr>
          <p:cNvSpPr txBox="1"/>
          <p:nvPr/>
        </p:nvSpPr>
        <p:spPr>
          <a:xfrm>
            <a:off x="5399201" y="1596284"/>
            <a:ext cx="1275820" cy="307777"/>
          </a:xfrm>
          <a:prstGeom prst="rect">
            <a:avLst/>
          </a:prstGeom>
          <a:noFill/>
          <a:ln>
            <a:noFill/>
          </a:ln>
        </p:spPr>
        <p:txBody>
          <a:bodyPr wrap="square" rtlCol="0">
            <a:spAutoFit/>
          </a:bodyPr>
          <a:lstStyle/>
          <a:p>
            <a:r>
              <a:rPr lang="fr-FR" sz="1400" dirty="0"/>
              <a:t>Members</a:t>
            </a:r>
            <a:endParaRPr lang="en-GB" sz="1400" dirty="0"/>
          </a:p>
        </p:txBody>
      </p:sp>
      <p:sp>
        <p:nvSpPr>
          <p:cNvPr id="225" name="TextBox 224">
            <a:extLst>
              <a:ext uri="{FF2B5EF4-FFF2-40B4-BE49-F238E27FC236}">
                <a16:creationId xmlns:a16="http://schemas.microsoft.com/office/drawing/2014/main" id="{850CF4A7-B730-45C9-929E-F9D1847E21BC}"/>
              </a:ext>
            </a:extLst>
          </p:cNvPr>
          <p:cNvSpPr txBox="1"/>
          <p:nvPr/>
        </p:nvSpPr>
        <p:spPr>
          <a:xfrm>
            <a:off x="5399201" y="1937710"/>
            <a:ext cx="1275820" cy="307777"/>
          </a:xfrm>
          <a:prstGeom prst="rect">
            <a:avLst/>
          </a:prstGeom>
          <a:noFill/>
          <a:ln>
            <a:noFill/>
          </a:ln>
        </p:spPr>
        <p:txBody>
          <a:bodyPr wrap="square" rtlCol="0">
            <a:spAutoFit/>
          </a:bodyPr>
          <a:lstStyle/>
          <a:p>
            <a:r>
              <a:rPr lang="en-US" sz="1400"/>
              <a:t>Observers</a:t>
            </a:r>
          </a:p>
        </p:txBody>
      </p:sp>
      <p:sp>
        <p:nvSpPr>
          <p:cNvPr id="87" name="Rectangle 86">
            <a:extLst>
              <a:ext uri="{FF2B5EF4-FFF2-40B4-BE49-F238E27FC236}">
                <a16:creationId xmlns:a16="http://schemas.microsoft.com/office/drawing/2014/main" id="{BB25DB93-1DE3-447B-87E0-D6BA0CC8E5EB}"/>
              </a:ext>
            </a:extLst>
          </p:cNvPr>
          <p:cNvSpPr/>
          <p:nvPr/>
        </p:nvSpPr>
        <p:spPr>
          <a:xfrm>
            <a:off x="4889235" y="2383662"/>
            <a:ext cx="423516" cy="216198"/>
          </a:xfrm>
          <a:prstGeom prst="rect">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TextBox 87">
            <a:extLst>
              <a:ext uri="{FF2B5EF4-FFF2-40B4-BE49-F238E27FC236}">
                <a16:creationId xmlns:a16="http://schemas.microsoft.com/office/drawing/2014/main" id="{DED45261-72C8-4F07-89CC-D0BE2FB08F63}"/>
              </a:ext>
            </a:extLst>
          </p:cNvPr>
          <p:cNvSpPr txBox="1"/>
          <p:nvPr/>
        </p:nvSpPr>
        <p:spPr>
          <a:xfrm>
            <a:off x="5399200" y="2312748"/>
            <a:ext cx="1499443" cy="307777"/>
          </a:xfrm>
          <a:prstGeom prst="rect">
            <a:avLst/>
          </a:prstGeom>
          <a:noFill/>
          <a:ln>
            <a:noFill/>
          </a:ln>
        </p:spPr>
        <p:txBody>
          <a:bodyPr wrap="square" rtlCol="0">
            <a:spAutoFit/>
          </a:bodyPr>
          <a:lstStyle/>
          <a:p>
            <a:r>
              <a:rPr lang="en-US" sz="1400"/>
              <a:t>Project members</a:t>
            </a:r>
          </a:p>
        </p:txBody>
      </p:sp>
      <p:sp>
        <p:nvSpPr>
          <p:cNvPr id="48" name="ee4p_10_1_43215">
            <a:extLst>
              <a:ext uri="{FF2B5EF4-FFF2-40B4-BE49-F238E27FC236}">
                <a16:creationId xmlns:a16="http://schemas.microsoft.com/office/drawing/2014/main" id="{1FF4C788-B4C4-44A6-B699-C48E9558863E}"/>
              </a:ext>
            </a:extLst>
          </p:cNvPr>
          <p:cNvSpPr>
            <a:spLocks noChangeAspect="1"/>
          </p:cNvSpPr>
          <p:nvPr>
            <p:custDataLst>
              <p:tags r:id="rId1"/>
            </p:custDataLst>
          </p:nvPr>
        </p:nvSpPr>
        <p:spPr bwMode="gray">
          <a:xfrm>
            <a:off x="7031373" y="4635148"/>
            <a:ext cx="574865" cy="305630"/>
          </a:xfrm>
          <a:custGeom>
            <a:avLst/>
            <a:gdLst/>
            <a:ahLst/>
            <a:cxnLst/>
            <a:rect l="0" t="0" r="0" b="0"/>
            <a:pathLst>
              <a:path w="643619" h="309503">
                <a:moveTo>
                  <a:pt x="253847" y="17929"/>
                </a:moveTo>
                <a:lnTo>
                  <a:pt x="271136" y="18124"/>
                </a:lnTo>
                <a:lnTo>
                  <a:pt x="269488" y="0"/>
                </a:lnTo>
                <a:lnTo>
                  <a:pt x="293970" y="1574"/>
                </a:lnTo>
                <a:lnTo>
                  <a:pt x="300917" y="19092"/>
                </a:lnTo>
                <a:lnTo>
                  <a:pt x="354476" y="42048"/>
                </a:lnTo>
                <a:lnTo>
                  <a:pt x="400900" y="44573"/>
                </a:lnTo>
                <a:lnTo>
                  <a:pt x="410751" y="55000"/>
                </a:lnTo>
                <a:lnTo>
                  <a:pt x="386638" y="73734"/>
                </a:lnTo>
                <a:lnTo>
                  <a:pt x="402629" y="80448"/>
                </a:lnTo>
                <a:lnTo>
                  <a:pt x="435967" y="116260"/>
                </a:lnTo>
                <a:lnTo>
                  <a:pt x="466390" y="93213"/>
                </a:lnTo>
                <a:lnTo>
                  <a:pt x="475179" y="77185"/>
                </a:lnTo>
                <a:lnTo>
                  <a:pt x="497725" y="93105"/>
                </a:lnTo>
                <a:lnTo>
                  <a:pt x="524192" y="94685"/>
                </a:lnTo>
                <a:lnTo>
                  <a:pt x="522948" y="106844"/>
                </a:lnTo>
                <a:lnTo>
                  <a:pt x="547794" y="130889"/>
                </a:lnTo>
                <a:lnTo>
                  <a:pt x="572541" y="129195"/>
                </a:lnTo>
                <a:lnTo>
                  <a:pt x="602901" y="136265"/>
                </a:lnTo>
                <a:lnTo>
                  <a:pt x="621911" y="163474"/>
                </a:lnTo>
                <a:lnTo>
                  <a:pt x="639073" y="168941"/>
                </a:lnTo>
                <a:lnTo>
                  <a:pt x="643618" y="189271"/>
                </a:lnTo>
                <a:lnTo>
                  <a:pt x="614022" y="191397"/>
                </a:lnTo>
                <a:lnTo>
                  <a:pt x="597882" y="212694"/>
                </a:lnTo>
                <a:lnTo>
                  <a:pt x="579043" y="218180"/>
                </a:lnTo>
                <a:lnTo>
                  <a:pt x="563561" y="251392"/>
                </a:lnTo>
                <a:lnTo>
                  <a:pt x="550085" y="263056"/>
                </a:lnTo>
                <a:lnTo>
                  <a:pt x="515594" y="277449"/>
                </a:lnTo>
                <a:lnTo>
                  <a:pt x="483974" y="269258"/>
                </a:lnTo>
                <a:lnTo>
                  <a:pt x="458682" y="301727"/>
                </a:lnTo>
                <a:lnTo>
                  <a:pt x="420023" y="277203"/>
                </a:lnTo>
                <a:lnTo>
                  <a:pt x="404275" y="287891"/>
                </a:lnTo>
                <a:lnTo>
                  <a:pt x="377655" y="285784"/>
                </a:lnTo>
                <a:lnTo>
                  <a:pt x="351016" y="270129"/>
                </a:lnTo>
                <a:lnTo>
                  <a:pt x="337360" y="271876"/>
                </a:lnTo>
                <a:lnTo>
                  <a:pt x="316356" y="260199"/>
                </a:lnTo>
                <a:lnTo>
                  <a:pt x="272936" y="251476"/>
                </a:lnTo>
                <a:lnTo>
                  <a:pt x="266662" y="284204"/>
                </a:lnTo>
                <a:lnTo>
                  <a:pt x="253982" y="281002"/>
                </a:lnTo>
                <a:lnTo>
                  <a:pt x="232125" y="300773"/>
                </a:lnTo>
                <a:lnTo>
                  <a:pt x="207214" y="309502"/>
                </a:lnTo>
                <a:lnTo>
                  <a:pt x="178261" y="302273"/>
                </a:lnTo>
                <a:lnTo>
                  <a:pt x="174609" y="290468"/>
                </a:lnTo>
                <a:lnTo>
                  <a:pt x="158649" y="282520"/>
                </a:lnTo>
                <a:lnTo>
                  <a:pt x="133594" y="257672"/>
                </a:lnTo>
                <a:lnTo>
                  <a:pt x="100248" y="239830"/>
                </a:lnTo>
                <a:lnTo>
                  <a:pt x="80234" y="215972"/>
                </a:lnTo>
                <a:lnTo>
                  <a:pt x="56738" y="210827"/>
                </a:lnTo>
                <a:lnTo>
                  <a:pt x="44121" y="199646"/>
                </a:lnTo>
                <a:lnTo>
                  <a:pt x="31131" y="167951"/>
                </a:lnTo>
                <a:lnTo>
                  <a:pt x="33971" y="140439"/>
                </a:lnTo>
                <a:lnTo>
                  <a:pt x="28059" y="130761"/>
                </a:lnTo>
                <a:lnTo>
                  <a:pt x="0" y="114478"/>
                </a:lnTo>
                <a:lnTo>
                  <a:pt x="30414" y="78151"/>
                </a:lnTo>
                <a:lnTo>
                  <a:pt x="80448" y="63932"/>
                </a:lnTo>
                <a:lnTo>
                  <a:pt x="96127" y="64712"/>
                </a:lnTo>
                <a:lnTo>
                  <a:pt x="115358" y="46507"/>
                </a:lnTo>
                <a:lnTo>
                  <a:pt x="141916" y="35607"/>
                </a:lnTo>
                <a:lnTo>
                  <a:pt x="160228" y="36192"/>
                </a:lnTo>
                <a:lnTo>
                  <a:pt x="182583" y="23758"/>
                </a:lnTo>
                <a:lnTo>
                  <a:pt x="232155" y="3042"/>
                </a:lnTo>
                <a:lnTo>
                  <a:pt x="234054" y="19555"/>
                </a:lnTo>
                <a:close/>
              </a:path>
            </a:pathLst>
          </a:cu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49" name="ee4p_24_1_43215">
            <a:extLst>
              <a:ext uri="{FF2B5EF4-FFF2-40B4-BE49-F238E27FC236}">
                <a16:creationId xmlns:a16="http://schemas.microsoft.com/office/drawing/2014/main" id="{B8C27AA2-145A-4057-8A1C-D902C3C308AE}"/>
              </a:ext>
            </a:extLst>
          </p:cNvPr>
          <p:cNvSpPr>
            <a:spLocks noChangeAspect="1"/>
          </p:cNvSpPr>
          <p:nvPr>
            <p:custDataLst>
              <p:tags r:id="rId2"/>
            </p:custDataLst>
          </p:nvPr>
        </p:nvSpPr>
        <p:spPr bwMode="gray">
          <a:xfrm>
            <a:off x="6922319" y="2031460"/>
            <a:ext cx="1126774" cy="2041670"/>
          </a:xfrm>
          <a:custGeom>
            <a:avLst/>
            <a:gdLst/>
            <a:ahLst/>
            <a:cxnLst/>
            <a:rect l="l" t="t" r="r" b="b"/>
            <a:pathLst>
              <a:path w="1261538" h="2067542">
                <a:moveTo>
                  <a:pt x="578702" y="1793781"/>
                </a:moveTo>
                <a:lnTo>
                  <a:pt x="576336" y="1815411"/>
                </a:lnTo>
                <a:lnTo>
                  <a:pt x="557324" y="1843957"/>
                </a:lnTo>
                <a:lnTo>
                  <a:pt x="554274" y="1865163"/>
                </a:lnTo>
                <a:lnTo>
                  <a:pt x="535319" y="1900509"/>
                </a:lnTo>
                <a:lnTo>
                  <a:pt x="527408" y="1927223"/>
                </a:lnTo>
                <a:lnTo>
                  <a:pt x="510500" y="1938366"/>
                </a:lnTo>
                <a:lnTo>
                  <a:pt x="509143" y="1906432"/>
                </a:lnTo>
                <a:lnTo>
                  <a:pt x="533555" y="1857467"/>
                </a:lnTo>
                <a:lnTo>
                  <a:pt x="558110" y="1826711"/>
                </a:lnTo>
                <a:lnTo>
                  <a:pt x="565237" y="1799822"/>
                </a:lnTo>
                <a:close/>
                <a:moveTo>
                  <a:pt x="764959" y="1713679"/>
                </a:moveTo>
                <a:lnTo>
                  <a:pt x="757872" y="1737121"/>
                </a:lnTo>
                <a:lnTo>
                  <a:pt x="744424" y="1742071"/>
                </a:lnTo>
                <a:lnTo>
                  <a:pt x="742877" y="1777640"/>
                </a:lnTo>
                <a:lnTo>
                  <a:pt x="731359" y="1808223"/>
                </a:lnTo>
                <a:lnTo>
                  <a:pt x="685905" y="1829194"/>
                </a:lnTo>
                <a:lnTo>
                  <a:pt x="683916" y="1786015"/>
                </a:lnTo>
                <a:lnTo>
                  <a:pt x="676239" y="1765978"/>
                </a:lnTo>
                <a:lnTo>
                  <a:pt x="691030" y="1754386"/>
                </a:lnTo>
                <a:lnTo>
                  <a:pt x="710527" y="1726247"/>
                </a:lnTo>
                <a:lnTo>
                  <a:pt x="741165" y="1719489"/>
                </a:lnTo>
                <a:close/>
                <a:moveTo>
                  <a:pt x="56635" y="1658033"/>
                </a:moveTo>
                <a:lnTo>
                  <a:pt x="70872" y="1677228"/>
                </a:lnTo>
                <a:lnTo>
                  <a:pt x="42681" y="1688607"/>
                </a:lnTo>
                <a:lnTo>
                  <a:pt x="28015" y="1680696"/>
                </a:lnTo>
                <a:close/>
                <a:moveTo>
                  <a:pt x="912571" y="0"/>
                </a:moveTo>
                <a:lnTo>
                  <a:pt x="993644" y="49935"/>
                </a:lnTo>
                <a:lnTo>
                  <a:pt x="996742" y="61354"/>
                </a:lnTo>
                <a:lnTo>
                  <a:pt x="1042260" y="80346"/>
                </a:lnTo>
                <a:lnTo>
                  <a:pt x="1057283" y="97978"/>
                </a:lnTo>
                <a:lnTo>
                  <a:pt x="1086691" y="97529"/>
                </a:lnTo>
                <a:lnTo>
                  <a:pt x="1156550" y="127981"/>
                </a:lnTo>
                <a:lnTo>
                  <a:pt x="1187372" y="170109"/>
                </a:lnTo>
                <a:lnTo>
                  <a:pt x="1212463" y="184279"/>
                </a:lnTo>
                <a:lnTo>
                  <a:pt x="1197599" y="200612"/>
                </a:lnTo>
                <a:lnTo>
                  <a:pt x="1202493" y="246836"/>
                </a:lnTo>
                <a:lnTo>
                  <a:pt x="1188988" y="260577"/>
                </a:lnTo>
                <a:lnTo>
                  <a:pt x="1223749" y="272559"/>
                </a:lnTo>
                <a:lnTo>
                  <a:pt x="1219673" y="296475"/>
                </a:lnTo>
                <a:lnTo>
                  <a:pt x="1203419" y="315317"/>
                </a:lnTo>
                <a:lnTo>
                  <a:pt x="1246060" y="372014"/>
                </a:lnTo>
                <a:lnTo>
                  <a:pt x="1234586" y="382768"/>
                </a:lnTo>
                <a:lnTo>
                  <a:pt x="1232657" y="414615"/>
                </a:lnTo>
                <a:lnTo>
                  <a:pt x="1212683" y="431080"/>
                </a:lnTo>
                <a:lnTo>
                  <a:pt x="1212236" y="455832"/>
                </a:lnTo>
                <a:lnTo>
                  <a:pt x="1238614" y="478333"/>
                </a:lnTo>
                <a:lnTo>
                  <a:pt x="1261538" y="533598"/>
                </a:lnTo>
                <a:lnTo>
                  <a:pt x="1230759" y="541657"/>
                </a:lnTo>
                <a:lnTo>
                  <a:pt x="1145487" y="541876"/>
                </a:lnTo>
                <a:lnTo>
                  <a:pt x="1122499" y="533420"/>
                </a:lnTo>
                <a:lnTo>
                  <a:pt x="1083034" y="538932"/>
                </a:lnTo>
                <a:lnTo>
                  <a:pt x="1089368" y="571419"/>
                </a:lnTo>
                <a:lnTo>
                  <a:pt x="1052774" y="581852"/>
                </a:lnTo>
                <a:lnTo>
                  <a:pt x="1052469" y="598028"/>
                </a:lnTo>
                <a:lnTo>
                  <a:pt x="1004068" y="605799"/>
                </a:lnTo>
                <a:lnTo>
                  <a:pt x="1013331" y="639144"/>
                </a:lnTo>
                <a:lnTo>
                  <a:pt x="967252" y="697703"/>
                </a:lnTo>
                <a:lnTo>
                  <a:pt x="1003213" y="730043"/>
                </a:lnTo>
                <a:lnTo>
                  <a:pt x="1005894" y="754546"/>
                </a:lnTo>
                <a:lnTo>
                  <a:pt x="952101" y="798472"/>
                </a:lnTo>
                <a:lnTo>
                  <a:pt x="933529" y="839152"/>
                </a:lnTo>
                <a:lnTo>
                  <a:pt x="859474" y="870533"/>
                </a:lnTo>
                <a:lnTo>
                  <a:pt x="832982" y="894359"/>
                </a:lnTo>
                <a:lnTo>
                  <a:pt x="787793" y="902419"/>
                </a:lnTo>
                <a:lnTo>
                  <a:pt x="786569" y="921791"/>
                </a:lnTo>
                <a:lnTo>
                  <a:pt x="758719" y="939462"/>
                </a:lnTo>
                <a:lnTo>
                  <a:pt x="748126" y="927546"/>
                </a:lnTo>
                <a:lnTo>
                  <a:pt x="709352" y="965581"/>
                </a:lnTo>
                <a:lnTo>
                  <a:pt x="709244" y="991339"/>
                </a:lnTo>
                <a:lnTo>
                  <a:pt x="676602" y="1006899"/>
                </a:lnTo>
                <a:lnTo>
                  <a:pt x="672127" y="1030677"/>
                </a:lnTo>
                <a:lnTo>
                  <a:pt x="638993" y="1045794"/>
                </a:lnTo>
                <a:lnTo>
                  <a:pt x="604660" y="1070971"/>
                </a:lnTo>
                <a:lnTo>
                  <a:pt x="619922" y="1085543"/>
                </a:lnTo>
                <a:lnTo>
                  <a:pt x="614355" y="1115639"/>
                </a:lnTo>
                <a:lnTo>
                  <a:pt x="601727" y="1135266"/>
                </a:lnTo>
                <a:lnTo>
                  <a:pt x="580063" y="1187796"/>
                </a:lnTo>
                <a:lnTo>
                  <a:pt x="577778" y="1211543"/>
                </a:lnTo>
                <a:lnTo>
                  <a:pt x="591074" y="1227845"/>
                </a:lnTo>
                <a:lnTo>
                  <a:pt x="584950" y="1278312"/>
                </a:lnTo>
                <a:lnTo>
                  <a:pt x="594999" y="1287845"/>
                </a:lnTo>
                <a:lnTo>
                  <a:pt x="598301" y="1320395"/>
                </a:lnTo>
                <a:lnTo>
                  <a:pt x="626725" y="1321679"/>
                </a:lnTo>
                <a:lnTo>
                  <a:pt x="644838" y="1333082"/>
                </a:lnTo>
                <a:lnTo>
                  <a:pt x="664914" y="1329409"/>
                </a:lnTo>
                <a:lnTo>
                  <a:pt x="680501" y="1356325"/>
                </a:lnTo>
                <a:lnTo>
                  <a:pt x="710388" y="1367025"/>
                </a:lnTo>
                <a:lnTo>
                  <a:pt x="744184" y="1398485"/>
                </a:lnTo>
                <a:lnTo>
                  <a:pt x="757712" y="1435760"/>
                </a:lnTo>
                <a:lnTo>
                  <a:pt x="726875" y="1479117"/>
                </a:lnTo>
                <a:lnTo>
                  <a:pt x="695881" y="1495667"/>
                </a:lnTo>
                <a:lnTo>
                  <a:pt x="680783" y="1512486"/>
                </a:lnTo>
                <a:lnTo>
                  <a:pt x="705496" y="1530501"/>
                </a:lnTo>
                <a:lnTo>
                  <a:pt x="701936" y="1541356"/>
                </a:lnTo>
                <a:lnTo>
                  <a:pt x="671843" y="1552155"/>
                </a:lnTo>
                <a:lnTo>
                  <a:pt x="644322" y="1577405"/>
                </a:lnTo>
                <a:lnTo>
                  <a:pt x="616248" y="1588131"/>
                </a:lnTo>
                <a:lnTo>
                  <a:pt x="571484" y="1612644"/>
                </a:lnTo>
                <a:lnTo>
                  <a:pt x="549990" y="1616835"/>
                </a:lnTo>
                <a:lnTo>
                  <a:pt x="543909" y="1641763"/>
                </a:lnTo>
                <a:lnTo>
                  <a:pt x="555140" y="1676662"/>
                </a:lnTo>
                <a:lnTo>
                  <a:pt x="544978" y="1704849"/>
                </a:lnTo>
                <a:lnTo>
                  <a:pt x="520480" y="1714665"/>
                </a:lnTo>
                <a:lnTo>
                  <a:pt x="539366" y="1744489"/>
                </a:lnTo>
                <a:lnTo>
                  <a:pt x="530827" y="1760036"/>
                </a:lnTo>
                <a:lnTo>
                  <a:pt x="533357" y="1787712"/>
                </a:lnTo>
                <a:lnTo>
                  <a:pt x="517561" y="1818918"/>
                </a:lnTo>
                <a:lnTo>
                  <a:pt x="509060" y="1887281"/>
                </a:lnTo>
                <a:lnTo>
                  <a:pt x="493863" y="1895378"/>
                </a:lnTo>
                <a:lnTo>
                  <a:pt x="472074" y="1950287"/>
                </a:lnTo>
                <a:lnTo>
                  <a:pt x="448216" y="1958283"/>
                </a:lnTo>
                <a:lnTo>
                  <a:pt x="379512" y="1953023"/>
                </a:lnTo>
                <a:lnTo>
                  <a:pt x="344599" y="1960848"/>
                </a:lnTo>
                <a:lnTo>
                  <a:pt x="312000" y="1983045"/>
                </a:lnTo>
                <a:lnTo>
                  <a:pt x="298720" y="2018219"/>
                </a:lnTo>
                <a:lnTo>
                  <a:pt x="313836" y="2038121"/>
                </a:lnTo>
                <a:lnTo>
                  <a:pt x="297780" y="2061165"/>
                </a:lnTo>
                <a:lnTo>
                  <a:pt x="251564" y="2055332"/>
                </a:lnTo>
                <a:lnTo>
                  <a:pt x="216901" y="2067542"/>
                </a:lnTo>
                <a:lnTo>
                  <a:pt x="178841" y="2058710"/>
                </a:lnTo>
                <a:lnTo>
                  <a:pt x="171486" y="2036719"/>
                </a:lnTo>
                <a:lnTo>
                  <a:pt x="187379" y="2019217"/>
                </a:lnTo>
                <a:lnTo>
                  <a:pt x="165715" y="1997344"/>
                </a:lnTo>
                <a:lnTo>
                  <a:pt x="140333" y="1956807"/>
                </a:lnTo>
                <a:lnTo>
                  <a:pt x="135237" y="1937245"/>
                </a:lnTo>
                <a:lnTo>
                  <a:pt x="156020" y="1912983"/>
                </a:lnTo>
                <a:lnTo>
                  <a:pt x="175962" y="1909750"/>
                </a:lnTo>
                <a:lnTo>
                  <a:pt x="170448" y="1888424"/>
                </a:lnTo>
                <a:lnTo>
                  <a:pt x="156126" y="1887620"/>
                </a:lnTo>
                <a:lnTo>
                  <a:pt x="144228" y="1864956"/>
                </a:lnTo>
                <a:lnTo>
                  <a:pt x="120254" y="1850313"/>
                </a:lnTo>
                <a:lnTo>
                  <a:pt x="101177" y="1800798"/>
                </a:lnTo>
                <a:lnTo>
                  <a:pt x="77022" y="1778668"/>
                </a:lnTo>
                <a:lnTo>
                  <a:pt x="79434" y="1760310"/>
                </a:lnTo>
                <a:lnTo>
                  <a:pt x="53828" y="1722102"/>
                </a:lnTo>
                <a:lnTo>
                  <a:pt x="61764" y="1713039"/>
                </a:lnTo>
                <a:lnTo>
                  <a:pt x="73069" y="1669696"/>
                </a:lnTo>
                <a:lnTo>
                  <a:pt x="59741" y="1654682"/>
                </a:lnTo>
                <a:lnTo>
                  <a:pt x="42659" y="1667877"/>
                </a:lnTo>
                <a:lnTo>
                  <a:pt x="17443" y="1649233"/>
                </a:lnTo>
                <a:lnTo>
                  <a:pt x="12722" y="1586499"/>
                </a:lnTo>
                <a:lnTo>
                  <a:pt x="0" y="1564043"/>
                </a:lnTo>
                <a:lnTo>
                  <a:pt x="21503" y="1543520"/>
                </a:lnTo>
                <a:lnTo>
                  <a:pt x="33228" y="1561165"/>
                </a:lnTo>
                <a:lnTo>
                  <a:pt x="55314" y="1565694"/>
                </a:lnTo>
                <a:lnTo>
                  <a:pt x="63698" y="1547160"/>
                </a:lnTo>
                <a:lnTo>
                  <a:pt x="67618" y="1510327"/>
                </a:lnTo>
                <a:lnTo>
                  <a:pt x="55512" y="1475215"/>
                </a:lnTo>
                <a:lnTo>
                  <a:pt x="79581" y="1460111"/>
                </a:lnTo>
                <a:lnTo>
                  <a:pt x="69891" y="1439047"/>
                </a:lnTo>
                <a:lnTo>
                  <a:pt x="102263" y="1431970"/>
                </a:lnTo>
                <a:lnTo>
                  <a:pt x="128904" y="1410219"/>
                </a:lnTo>
                <a:lnTo>
                  <a:pt x="137834" y="1388043"/>
                </a:lnTo>
                <a:lnTo>
                  <a:pt x="133663" y="1369129"/>
                </a:lnTo>
                <a:lnTo>
                  <a:pt x="144121" y="1341606"/>
                </a:lnTo>
                <a:lnTo>
                  <a:pt x="123655" y="1309314"/>
                </a:lnTo>
                <a:lnTo>
                  <a:pt x="107072" y="1268383"/>
                </a:lnTo>
                <a:lnTo>
                  <a:pt x="151446" y="1261307"/>
                </a:lnTo>
                <a:lnTo>
                  <a:pt x="169662" y="1217786"/>
                </a:lnTo>
                <a:lnTo>
                  <a:pt x="140486" y="1186374"/>
                </a:lnTo>
                <a:lnTo>
                  <a:pt x="126000" y="1187229"/>
                </a:lnTo>
                <a:lnTo>
                  <a:pt x="98719" y="1163356"/>
                </a:lnTo>
                <a:lnTo>
                  <a:pt x="114366" y="1082193"/>
                </a:lnTo>
                <a:lnTo>
                  <a:pt x="90831" y="1030398"/>
                </a:lnTo>
                <a:lnTo>
                  <a:pt x="98595" y="1009864"/>
                </a:lnTo>
                <a:lnTo>
                  <a:pt x="92626" y="986460"/>
                </a:lnTo>
                <a:lnTo>
                  <a:pt x="106515" y="971628"/>
                </a:lnTo>
                <a:lnTo>
                  <a:pt x="82939" y="930716"/>
                </a:lnTo>
                <a:lnTo>
                  <a:pt x="105997" y="898733"/>
                </a:lnTo>
                <a:lnTo>
                  <a:pt x="99890" y="881061"/>
                </a:lnTo>
                <a:lnTo>
                  <a:pt x="151541" y="822558"/>
                </a:lnTo>
                <a:lnTo>
                  <a:pt x="202586" y="803840"/>
                </a:lnTo>
                <a:lnTo>
                  <a:pt x="275778" y="817347"/>
                </a:lnTo>
                <a:lnTo>
                  <a:pt x="294122" y="788407"/>
                </a:lnTo>
                <a:lnTo>
                  <a:pt x="289938" y="746872"/>
                </a:lnTo>
                <a:lnTo>
                  <a:pt x="245466" y="728506"/>
                </a:lnTo>
                <a:lnTo>
                  <a:pt x="310463" y="644086"/>
                </a:lnTo>
                <a:lnTo>
                  <a:pt x="327962" y="613981"/>
                </a:lnTo>
                <a:lnTo>
                  <a:pt x="327182" y="580481"/>
                </a:lnTo>
                <a:lnTo>
                  <a:pt x="339442" y="534270"/>
                </a:lnTo>
                <a:lnTo>
                  <a:pt x="328877" y="482960"/>
                </a:lnTo>
                <a:lnTo>
                  <a:pt x="379134" y="479594"/>
                </a:lnTo>
                <a:lnTo>
                  <a:pt x="422584" y="458881"/>
                </a:lnTo>
                <a:lnTo>
                  <a:pt x="412182" y="426347"/>
                </a:lnTo>
                <a:lnTo>
                  <a:pt x="435805" y="408560"/>
                </a:lnTo>
                <a:lnTo>
                  <a:pt x="476193" y="356931"/>
                </a:lnTo>
                <a:lnTo>
                  <a:pt x="509961" y="335251"/>
                </a:lnTo>
                <a:lnTo>
                  <a:pt x="511543" y="309180"/>
                </a:lnTo>
                <a:lnTo>
                  <a:pt x="481134" y="271397"/>
                </a:lnTo>
                <a:lnTo>
                  <a:pt x="511888" y="255134"/>
                </a:lnTo>
                <a:lnTo>
                  <a:pt x="526268" y="236484"/>
                </a:lnTo>
                <a:lnTo>
                  <a:pt x="543863" y="192290"/>
                </a:lnTo>
                <a:lnTo>
                  <a:pt x="596443" y="158269"/>
                </a:lnTo>
                <a:lnTo>
                  <a:pt x="656264" y="183130"/>
                </a:lnTo>
                <a:lnTo>
                  <a:pt x="680608" y="144934"/>
                </a:lnTo>
                <a:lnTo>
                  <a:pt x="678148" y="88391"/>
                </a:lnTo>
                <a:lnTo>
                  <a:pt x="705218" y="80767"/>
                </a:lnTo>
                <a:lnTo>
                  <a:pt x="726073" y="93355"/>
                </a:lnTo>
                <a:lnTo>
                  <a:pt x="761157" y="91675"/>
                </a:lnTo>
                <a:lnTo>
                  <a:pt x="851879" y="118658"/>
                </a:lnTo>
                <a:lnTo>
                  <a:pt x="881405" y="96064"/>
                </a:lnTo>
                <a:lnTo>
                  <a:pt x="853437" y="84791"/>
                </a:lnTo>
                <a:lnTo>
                  <a:pt x="879111" y="66624"/>
                </a:lnTo>
                <a:lnTo>
                  <a:pt x="889151" y="22679"/>
                </a:lnTo>
                <a:lnTo>
                  <a:pt x="865295" y="2411"/>
                </a:lnTo>
                <a:close/>
              </a:path>
            </a:pathLst>
          </a:custGeom>
          <a:solidFill>
            <a:schemeClr val="bg1">
              <a:lumMod val="6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50" name="ee4p_15_1_43215">
            <a:extLst>
              <a:ext uri="{FF2B5EF4-FFF2-40B4-BE49-F238E27FC236}">
                <a16:creationId xmlns:a16="http://schemas.microsoft.com/office/drawing/2014/main" id="{4533583E-95A6-4592-9133-9ED8E2595595}"/>
              </a:ext>
            </a:extLst>
          </p:cNvPr>
          <p:cNvSpPr>
            <a:spLocks noChangeAspect="1"/>
          </p:cNvSpPr>
          <p:nvPr>
            <p:custDataLst>
              <p:tags r:id="rId3"/>
            </p:custDataLst>
          </p:nvPr>
        </p:nvSpPr>
        <p:spPr bwMode="gray">
          <a:xfrm>
            <a:off x="6675022" y="3762757"/>
            <a:ext cx="611806" cy="407803"/>
          </a:xfrm>
          <a:custGeom>
            <a:avLst/>
            <a:gdLst/>
            <a:ahLst/>
            <a:cxnLst/>
            <a:rect l="l" t="t" r="r" b="b"/>
            <a:pathLst>
              <a:path w="684979" h="412971">
                <a:moveTo>
                  <a:pt x="367704" y="368910"/>
                </a:moveTo>
                <a:lnTo>
                  <a:pt x="395774" y="382749"/>
                </a:lnTo>
                <a:lnTo>
                  <a:pt x="377775" y="400596"/>
                </a:lnTo>
                <a:lnTo>
                  <a:pt x="356111" y="379966"/>
                </a:lnTo>
                <a:close/>
                <a:moveTo>
                  <a:pt x="308772" y="366420"/>
                </a:moveTo>
                <a:lnTo>
                  <a:pt x="330407" y="382571"/>
                </a:lnTo>
                <a:lnTo>
                  <a:pt x="346623" y="373773"/>
                </a:lnTo>
                <a:lnTo>
                  <a:pt x="365303" y="390948"/>
                </a:lnTo>
                <a:lnTo>
                  <a:pt x="361110" y="408555"/>
                </a:lnTo>
                <a:lnTo>
                  <a:pt x="339937" y="405523"/>
                </a:lnTo>
                <a:lnTo>
                  <a:pt x="327365" y="412971"/>
                </a:lnTo>
                <a:lnTo>
                  <a:pt x="283060" y="392376"/>
                </a:lnTo>
                <a:lnTo>
                  <a:pt x="289434" y="368812"/>
                </a:lnTo>
                <a:close/>
                <a:moveTo>
                  <a:pt x="642134" y="330337"/>
                </a:moveTo>
                <a:lnTo>
                  <a:pt x="662627" y="330962"/>
                </a:lnTo>
                <a:lnTo>
                  <a:pt x="684979" y="343375"/>
                </a:lnTo>
                <a:lnTo>
                  <a:pt x="677871" y="362175"/>
                </a:lnTo>
                <a:lnTo>
                  <a:pt x="645243" y="351940"/>
                </a:lnTo>
                <a:close/>
                <a:moveTo>
                  <a:pt x="216379" y="276418"/>
                </a:moveTo>
                <a:lnTo>
                  <a:pt x="236871" y="297631"/>
                </a:lnTo>
                <a:lnTo>
                  <a:pt x="250660" y="299846"/>
                </a:lnTo>
                <a:lnTo>
                  <a:pt x="265215" y="318456"/>
                </a:lnTo>
                <a:lnTo>
                  <a:pt x="261172" y="346875"/>
                </a:lnTo>
                <a:lnTo>
                  <a:pt x="236117" y="356960"/>
                </a:lnTo>
                <a:lnTo>
                  <a:pt x="217086" y="353236"/>
                </a:lnTo>
                <a:lnTo>
                  <a:pt x="175467" y="327623"/>
                </a:lnTo>
                <a:lnTo>
                  <a:pt x="160834" y="292240"/>
                </a:lnTo>
                <a:lnTo>
                  <a:pt x="180434" y="291390"/>
                </a:lnTo>
                <a:close/>
                <a:moveTo>
                  <a:pt x="411899" y="208490"/>
                </a:moveTo>
                <a:lnTo>
                  <a:pt x="440175" y="219844"/>
                </a:lnTo>
                <a:lnTo>
                  <a:pt x="429783" y="235736"/>
                </a:lnTo>
                <a:lnTo>
                  <a:pt x="437669" y="267514"/>
                </a:lnTo>
                <a:lnTo>
                  <a:pt x="427063" y="279553"/>
                </a:lnTo>
                <a:lnTo>
                  <a:pt x="404329" y="285796"/>
                </a:lnTo>
                <a:lnTo>
                  <a:pt x="401200" y="303050"/>
                </a:lnTo>
                <a:lnTo>
                  <a:pt x="422858" y="323298"/>
                </a:lnTo>
                <a:lnTo>
                  <a:pt x="390220" y="336544"/>
                </a:lnTo>
                <a:lnTo>
                  <a:pt x="396216" y="360033"/>
                </a:lnTo>
                <a:lnTo>
                  <a:pt x="384671" y="365570"/>
                </a:lnTo>
                <a:lnTo>
                  <a:pt x="361174" y="355489"/>
                </a:lnTo>
                <a:lnTo>
                  <a:pt x="345006" y="336865"/>
                </a:lnTo>
                <a:lnTo>
                  <a:pt x="306399" y="332523"/>
                </a:lnTo>
                <a:lnTo>
                  <a:pt x="303674" y="307591"/>
                </a:lnTo>
                <a:lnTo>
                  <a:pt x="291773" y="270487"/>
                </a:lnTo>
                <a:lnTo>
                  <a:pt x="347690" y="236858"/>
                </a:lnTo>
                <a:lnTo>
                  <a:pt x="355309" y="260614"/>
                </a:lnTo>
                <a:lnTo>
                  <a:pt x="382082" y="238733"/>
                </a:lnTo>
                <a:lnTo>
                  <a:pt x="398535" y="209639"/>
                </a:lnTo>
                <a:close/>
                <a:moveTo>
                  <a:pt x="80325" y="102088"/>
                </a:moveTo>
                <a:lnTo>
                  <a:pt x="63249" y="131805"/>
                </a:lnTo>
                <a:lnTo>
                  <a:pt x="47168" y="124932"/>
                </a:lnTo>
                <a:lnTo>
                  <a:pt x="53301" y="105753"/>
                </a:lnTo>
                <a:lnTo>
                  <a:pt x="56166" y="103437"/>
                </a:lnTo>
                <a:close/>
                <a:moveTo>
                  <a:pt x="189971" y="79558"/>
                </a:moveTo>
                <a:lnTo>
                  <a:pt x="204652" y="89551"/>
                </a:lnTo>
                <a:lnTo>
                  <a:pt x="221262" y="134481"/>
                </a:lnTo>
                <a:lnTo>
                  <a:pt x="234939" y="154847"/>
                </a:lnTo>
                <a:lnTo>
                  <a:pt x="262200" y="151433"/>
                </a:lnTo>
                <a:lnTo>
                  <a:pt x="275878" y="160829"/>
                </a:lnTo>
                <a:lnTo>
                  <a:pt x="274597" y="178243"/>
                </a:lnTo>
                <a:lnTo>
                  <a:pt x="251570" y="197502"/>
                </a:lnTo>
                <a:lnTo>
                  <a:pt x="207792" y="201981"/>
                </a:lnTo>
                <a:lnTo>
                  <a:pt x="210978" y="236420"/>
                </a:lnTo>
                <a:lnTo>
                  <a:pt x="197593" y="243182"/>
                </a:lnTo>
                <a:lnTo>
                  <a:pt x="187027" y="265807"/>
                </a:lnTo>
                <a:lnTo>
                  <a:pt x="160737" y="271533"/>
                </a:lnTo>
                <a:lnTo>
                  <a:pt x="163922" y="283708"/>
                </a:lnTo>
                <a:lnTo>
                  <a:pt x="147052" y="303261"/>
                </a:lnTo>
                <a:lnTo>
                  <a:pt x="158848" y="326542"/>
                </a:lnTo>
                <a:lnTo>
                  <a:pt x="137613" y="339411"/>
                </a:lnTo>
                <a:lnTo>
                  <a:pt x="150354" y="359161"/>
                </a:lnTo>
                <a:lnTo>
                  <a:pt x="148024" y="372531"/>
                </a:lnTo>
                <a:lnTo>
                  <a:pt x="122760" y="387122"/>
                </a:lnTo>
                <a:lnTo>
                  <a:pt x="84343" y="373646"/>
                </a:lnTo>
                <a:lnTo>
                  <a:pt x="62106" y="374572"/>
                </a:lnTo>
                <a:lnTo>
                  <a:pt x="53751" y="355179"/>
                </a:lnTo>
                <a:lnTo>
                  <a:pt x="58910" y="341093"/>
                </a:lnTo>
                <a:lnTo>
                  <a:pt x="52609" y="302704"/>
                </a:lnTo>
                <a:lnTo>
                  <a:pt x="36104" y="298797"/>
                </a:lnTo>
                <a:lnTo>
                  <a:pt x="18766" y="280126"/>
                </a:lnTo>
                <a:lnTo>
                  <a:pt x="0" y="285332"/>
                </a:lnTo>
                <a:lnTo>
                  <a:pt x="17835" y="243270"/>
                </a:lnTo>
                <a:lnTo>
                  <a:pt x="29980" y="237737"/>
                </a:lnTo>
                <a:lnTo>
                  <a:pt x="22120" y="217292"/>
                </a:lnTo>
                <a:lnTo>
                  <a:pt x="6063" y="210043"/>
                </a:lnTo>
                <a:lnTo>
                  <a:pt x="7914" y="137284"/>
                </a:lnTo>
                <a:lnTo>
                  <a:pt x="24781" y="146095"/>
                </a:lnTo>
                <a:lnTo>
                  <a:pt x="60470" y="144932"/>
                </a:lnTo>
                <a:lnTo>
                  <a:pt x="86194" y="115317"/>
                </a:lnTo>
                <a:lnTo>
                  <a:pt x="105612" y="114585"/>
                </a:lnTo>
                <a:lnTo>
                  <a:pt x="117846" y="88013"/>
                </a:lnTo>
                <a:close/>
                <a:moveTo>
                  <a:pt x="216406" y="0"/>
                </a:moveTo>
                <a:lnTo>
                  <a:pt x="227348" y="5948"/>
                </a:lnTo>
                <a:lnTo>
                  <a:pt x="238260" y="23157"/>
                </a:lnTo>
                <a:lnTo>
                  <a:pt x="238913" y="56849"/>
                </a:lnTo>
                <a:lnTo>
                  <a:pt x="218187" y="89301"/>
                </a:lnTo>
                <a:lnTo>
                  <a:pt x="186492" y="75402"/>
                </a:lnTo>
                <a:lnTo>
                  <a:pt x="170368" y="75147"/>
                </a:lnTo>
                <a:lnTo>
                  <a:pt x="112549" y="89097"/>
                </a:lnTo>
                <a:lnTo>
                  <a:pt x="102436" y="82284"/>
                </a:lnTo>
                <a:lnTo>
                  <a:pt x="66304" y="95241"/>
                </a:lnTo>
                <a:lnTo>
                  <a:pt x="56166" y="103437"/>
                </a:lnTo>
                <a:lnTo>
                  <a:pt x="54003" y="103558"/>
                </a:lnTo>
                <a:lnTo>
                  <a:pt x="53301" y="105753"/>
                </a:lnTo>
                <a:lnTo>
                  <a:pt x="38090" y="118051"/>
                </a:lnTo>
                <a:lnTo>
                  <a:pt x="15120" y="115651"/>
                </a:lnTo>
                <a:lnTo>
                  <a:pt x="27870" y="93288"/>
                </a:lnTo>
                <a:lnTo>
                  <a:pt x="52740" y="70323"/>
                </a:lnTo>
                <a:lnTo>
                  <a:pt x="127973" y="65057"/>
                </a:lnTo>
                <a:lnTo>
                  <a:pt x="142215" y="55719"/>
                </a:lnTo>
                <a:lnTo>
                  <a:pt x="182071" y="5097"/>
                </a:lnTo>
                <a:close/>
              </a:path>
            </a:pathLst>
          </a:custGeom>
          <a:solidFill>
            <a:schemeClr val="bg2"/>
          </a:solidFill>
          <a:ln w="9525" cap="flat" cmpd="sng" algn="ctr">
            <a:solidFill>
              <a:schemeClr val="bg1"/>
            </a:solidFill>
            <a:prstDash val="solid"/>
          </a:ln>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51" name="ee4p_20_1_43215">
            <a:extLst>
              <a:ext uri="{FF2B5EF4-FFF2-40B4-BE49-F238E27FC236}">
                <a16:creationId xmlns:a16="http://schemas.microsoft.com/office/drawing/2014/main" id="{742B30E4-077C-4D10-AFAC-FC4794FCA0E3}"/>
              </a:ext>
            </a:extLst>
          </p:cNvPr>
          <p:cNvSpPr>
            <a:spLocks noChangeAspect="1"/>
          </p:cNvSpPr>
          <p:nvPr>
            <p:custDataLst>
              <p:tags r:id="rId4"/>
            </p:custDataLst>
          </p:nvPr>
        </p:nvSpPr>
        <p:spPr bwMode="gray">
          <a:xfrm>
            <a:off x="6472714" y="4745776"/>
            <a:ext cx="67532" cy="83841"/>
          </a:xfrm>
          <a:custGeom>
            <a:avLst/>
            <a:gdLst/>
            <a:ahLst/>
            <a:cxnLst/>
            <a:rect l="0" t="0" r="0" b="0"/>
            <a:pathLst>
              <a:path w="75609" h="84903">
                <a:moveTo>
                  <a:pt x="38889" y="0"/>
                </a:moveTo>
                <a:lnTo>
                  <a:pt x="48356" y="29153"/>
                </a:lnTo>
                <a:lnTo>
                  <a:pt x="75608" y="51207"/>
                </a:lnTo>
                <a:lnTo>
                  <a:pt x="60161" y="70322"/>
                </a:lnTo>
                <a:lnTo>
                  <a:pt x="61090" y="83229"/>
                </a:lnTo>
                <a:lnTo>
                  <a:pt x="42949" y="78508"/>
                </a:lnTo>
                <a:lnTo>
                  <a:pt x="24196" y="84902"/>
                </a:lnTo>
                <a:lnTo>
                  <a:pt x="7969" y="73582"/>
                </a:lnTo>
                <a:lnTo>
                  <a:pt x="14568" y="53074"/>
                </a:lnTo>
                <a:lnTo>
                  <a:pt x="0" y="29432"/>
                </a:lnTo>
                <a:lnTo>
                  <a:pt x="15434" y="2244"/>
                </a:lnTo>
                <a:close/>
              </a:path>
            </a:pathLst>
          </a:custGeom>
          <a:solidFill>
            <a:schemeClr val="bg2"/>
          </a:solidFill>
          <a:ln w="9525" cap="flat" cmpd="sng" algn="ctr">
            <a:solidFill>
              <a:schemeClr val="bg1"/>
            </a:solidFill>
            <a:prstDash val="solid"/>
          </a:ln>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7358380" algn="l"/>
              </a:tabLst>
            </a:pPr>
            <a:endParaRPr lang="en-US" sz="1500" dirty="0">
              <a:solidFill>
                <a:schemeClr val="accent3"/>
              </a:solidFill>
            </a:endParaRPr>
          </a:p>
        </p:txBody>
      </p:sp>
      <p:sp>
        <p:nvSpPr>
          <p:cNvPr id="52" name="ee4p_21_1_43215">
            <a:extLst>
              <a:ext uri="{FF2B5EF4-FFF2-40B4-BE49-F238E27FC236}">
                <a16:creationId xmlns:a16="http://schemas.microsoft.com/office/drawing/2014/main" id="{4A4373A7-1BCC-4BB6-AF19-9DA135EF7846}"/>
              </a:ext>
            </a:extLst>
          </p:cNvPr>
          <p:cNvSpPr>
            <a:spLocks noChangeAspect="1"/>
          </p:cNvSpPr>
          <p:nvPr>
            <p:custDataLst>
              <p:tags r:id="rId5"/>
            </p:custDataLst>
          </p:nvPr>
        </p:nvSpPr>
        <p:spPr bwMode="gray">
          <a:xfrm>
            <a:off x="6268013" y="4320776"/>
            <a:ext cx="332352" cy="346717"/>
          </a:xfrm>
          <a:custGeom>
            <a:avLst/>
            <a:gdLst/>
            <a:ahLst/>
            <a:cxnLst/>
            <a:rect l="l" t="t" r="r" b="b"/>
            <a:pathLst>
              <a:path w="372102" h="351110">
                <a:moveTo>
                  <a:pt x="14560" y="267495"/>
                </a:moveTo>
                <a:lnTo>
                  <a:pt x="48350" y="276651"/>
                </a:lnTo>
                <a:lnTo>
                  <a:pt x="83950" y="275142"/>
                </a:lnTo>
                <a:lnTo>
                  <a:pt x="57245" y="292109"/>
                </a:lnTo>
                <a:lnTo>
                  <a:pt x="21748" y="280638"/>
                </a:lnTo>
                <a:lnTo>
                  <a:pt x="5820" y="288437"/>
                </a:lnTo>
                <a:lnTo>
                  <a:pt x="0" y="272590"/>
                </a:lnTo>
                <a:close/>
                <a:moveTo>
                  <a:pt x="333594" y="0"/>
                </a:moveTo>
                <a:lnTo>
                  <a:pt x="344552" y="17889"/>
                </a:lnTo>
                <a:lnTo>
                  <a:pt x="370965" y="29842"/>
                </a:lnTo>
                <a:lnTo>
                  <a:pt x="372102" y="59504"/>
                </a:lnTo>
                <a:lnTo>
                  <a:pt x="359960" y="80585"/>
                </a:lnTo>
                <a:lnTo>
                  <a:pt x="356888" y="107564"/>
                </a:lnTo>
                <a:lnTo>
                  <a:pt x="326660" y="107249"/>
                </a:lnTo>
                <a:lnTo>
                  <a:pt x="322276" y="128034"/>
                </a:lnTo>
                <a:lnTo>
                  <a:pt x="346398" y="134498"/>
                </a:lnTo>
                <a:lnTo>
                  <a:pt x="358494" y="145466"/>
                </a:lnTo>
                <a:lnTo>
                  <a:pt x="350540" y="161743"/>
                </a:lnTo>
                <a:lnTo>
                  <a:pt x="323901" y="185984"/>
                </a:lnTo>
                <a:lnTo>
                  <a:pt x="331067" y="200266"/>
                </a:lnTo>
                <a:lnTo>
                  <a:pt x="292443" y="212699"/>
                </a:lnTo>
                <a:lnTo>
                  <a:pt x="260098" y="210241"/>
                </a:lnTo>
                <a:lnTo>
                  <a:pt x="257844" y="232964"/>
                </a:lnTo>
                <a:lnTo>
                  <a:pt x="276366" y="258867"/>
                </a:lnTo>
                <a:lnTo>
                  <a:pt x="261781" y="288697"/>
                </a:lnTo>
                <a:lnTo>
                  <a:pt x="263640" y="302482"/>
                </a:lnTo>
                <a:lnTo>
                  <a:pt x="246349" y="311217"/>
                </a:lnTo>
                <a:lnTo>
                  <a:pt x="263284" y="336044"/>
                </a:lnTo>
                <a:lnTo>
                  <a:pt x="256782" y="351110"/>
                </a:lnTo>
                <a:lnTo>
                  <a:pt x="225836" y="347539"/>
                </a:lnTo>
                <a:lnTo>
                  <a:pt x="240783" y="301251"/>
                </a:lnTo>
                <a:lnTo>
                  <a:pt x="181318" y="280607"/>
                </a:lnTo>
                <a:lnTo>
                  <a:pt x="164864" y="269343"/>
                </a:lnTo>
                <a:lnTo>
                  <a:pt x="123307" y="265679"/>
                </a:lnTo>
                <a:lnTo>
                  <a:pt x="113305" y="257910"/>
                </a:lnTo>
                <a:lnTo>
                  <a:pt x="84806" y="271743"/>
                </a:lnTo>
                <a:lnTo>
                  <a:pt x="58848" y="260576"/>
                </a:lnTo>
                <a:lnTo>
                  <a:pt x="43398" y="270475"/>
                </a:lnTo>
                <a:lnTo>
                  <a:pt x="20079" y="263528"/>
                </a:lnTo>
                <a:lnTo>
                  <a:pt x="17968" y="244232"/>
                </a:lnTo>
                <a:lnTo>
                  <a:pt x="42284" y="242126"/>
                </a:lnTo>
                <a:lnTo>
                  <a:pt x="48314" y="214628"/>
                </a:lnTo>
                <a:lnTo>
                  <a:pt x="62018" y="210474"/>
                </a:lnTo>
                <a:lnTo>
                  <a:pt x="73594" y="191077"/>
                </a:lnTo>
                <a:lnTo>
                  <a:pt x="97440" y="166911"/>
                </a:lnTo>
                <a:lnTo>
                  <a:pt x="114562" y="137200"/>
                </a:lnTo>
                <a:lnTo>
                  <a:pt x="130360" y="68916"/>
                </a:lnTo>
                <a:lnTo>
                  <a:pt x="145850" y="75411"/>
                </a:lnTo>
                <a:lnTo>
                  <a:pt x="162566" y="68635"/>
                </a:lnTo>
                <a:lnTo>
                  <a:pt x="197484" y="43748"/>
                </a:lnTo>
                <a:lnTo>
                  <a:pt x="214786" y="21396"/>
                </a:lnTo>
                <a:lnTo>
                  <a:pt x="244104" y="9856"/>
                </a:lnTo>
                <a:close/>
              </a:path>
            </a:pathLst>
          </a:custGeom>
          <a:solidFill>
            <a:schemeClr val="bg2"/>
          </a:solidFill>
          <a:ln w="9525" cap="flat" cmpd="sng" algn="ctr">
            <a:solidFill>
              <a:schemeClr val="bg1"/>
            </a:solidFill>
            <a:prstDash val="solid"/>
          </a:ln>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53" name="ee4p_52_1_43215">
            <a:extLst>
              <a:ext uri="{FF2B5EF4-FFF2-40B4-BE49-F238E27FC236}">
                <a16:creationId xmlns:a16="http://schemas.microsoft.com/office/drawing/2014/main" id="{08647739-C638-48E8-A304-259C3716FDE0}"/>
              </a:ext>
            </a:extLst>
          </p:cNvPr>
          <p:cNvSpPr>
            <a:spLocks noChangeAspect="1"/>
          </p:cNvSpPr>
          <p:nvPr>
            <p:custDataLst>
              <p:tags r:id="rId6"/>
            </p:custDataLst>
          </p:nvPr>
        </p:nvSpPr>
        <p:spPr bwMode="gray">
          <a:xfrm>
            <a:off x="7199325" y="4140997"/>
            <a:ext cx="860543" cy="740157"/>
          </a:xfrm>
          <a:custGeom>
            <a:avLst/>
            <a:gdLst/>
            <a:ahLst/>
            <a:cxnLst/>
            <a:rect l="0" t="0" r="0" b="0"/>
            <a:pathLst>
              <a:path w="963466" h="749537">
                <a:moveTo>
                  <a:pt x="836868" y="62773"/>
                </a:moveTo>
                <a:lnTo>
                  <a:pt x="889651" y="77650"/>
                </a:lnTo>
                <a:lnTo>
                  <a:pt x="903999" y="90759"/>
                </a:lnTo>
                <a:lnTo>
                  <a:pt x="906783" y="116885"/>
                </a:lnTo>
                <a:lnTo>
                  <a:pt x="910112" y="141897"/>
                </a:lnTo>
                <a:lnTo>
                  <a:pt x="936208" y="210973"/>
                </a:lnTo>
                <a:lnTo>
                  <a:pt x="945597" y="224247"/>
                </a:lnTo>
                <a:lnTo>
                  <a:pt x="947809" y="280546"/>
                </a:lnTo>
                <a:lnTo>
                  <a:pt x="931109" y="292930"/>
                </a:lnTo>
                <a:lnTo>
                  <a:pt x="896478" y="306807"/>
                </a:lnTo>
                <a:lnTo>
                  <a:pt x="877845" y="330462"/>
                </a:lnTo>
                <a:lnTo>
                  <a:pt x="876692" y="343849"/>
                </a:lnTo>
                <a:lnTo>
                  <a:pt x="904669" y="350730"/>
                </a:lnTo>
                <a:lnTo>
                  <a:pt x="923655" y="374252"/>
                </a:lnTo>
                <a:lnTo>
                  <a:pt x="909624" y="424190"/>
                </a:lnTo>
                <a:lnTo>
                  <a:pt x="924448" y="449786"/>
                </a:lnTo>
                <a:lnTo>
                  <a:pt x="918516" y="460952"/>
                </a:lnTo>
                <a:lnTo>
                  <a:pt x="940371" y="481678"/>
                </a:lnTo>
                <a:lnTo>
                  <a:pt x="950890" y="508118"/>
                </a:lnTo>
                <a:lnTo>
                  <a:pt x="963465" y="522759"/>
                </a:lnTo>
                <a:lnTo>
                  <a:pt x="963293" y="552875"/>
                </a:lnTo>
                <a:lnTo>
                  <a:pt x="953509" y="576685"/>
                </a:lnTo>
                <a:lnTo>
                  <a:pt x="925018" y="581361"/>
                </a:lnTo>
                <a:lnTo>
                  <a:pt x="884011" y="617968"/>
                </a:lnTo>
                <a:lnTo>
                  <a:pt x="822221" y="688079"/>
                </a:lnTo>
                <a:lnTo>
                  <a:pt x="832231" y="708184"/>
                </a:lnTo>
                <a:lnTo>
                  <a:pt x="826037" y="749536"/>
                </a:lnTo>
                <a:lnTo>
                  <a:pt x="815072" y="743411"/>
                </a:lnTo>
                <a:lnTo>
                  <a:pt x="800271" y="741700"/>
                </a:lnTo>
                <a:lnTo>
                  <a:pt x="763272" y="726355"/>
                </a:lnTo>
                <a:lnTo>
                  <a:pt x="753837" y="711153"/>
                </a:lnTo>
                <a:lnTo>
                  <a:pt x="721673" y="699969"/>
                </a:lnTo>
                <a:lnTo>
                  <a:pt x="690339" y="696763"/>
                </a:lnTo>
                <a:lnTo>
                  <a:pt x="656874" y="717272"/>
                </a:lnTo>
                <a:lnTo>
                  <a:pt x="625864" y="702691"/>
                </a:lnTo>
                <a:lnTo>
                  <a:pt x="597902" y="704162"/>
                </a:lnTo>
                <a:lnTo>
                  <a:pt x="580840" y="714679"/>
                </a:lnTo>
                <a:lnTo>
                  <a:pt x="573390" y="731857"/>
                </a:lnTo>
                <a:lnTo>
                  <a:pt x="546623" y="720943"/>
                </a:lnTo>
                <a:lnTo>
                  <a:pt x="546436" y="702997"/>
                </a:lnTo>
                <a:lnTo>
                  <a:pt x="532302" y="703067"/>
                </a:lnTo>
                <a:lnTo>
                  <a:pt x="515167" y="677546"/>
                </a:lnTo>
                <a:lnTo>
                  <a:pt x="492551" y="690479"/>
                </a:lnTo>
                <a:lnTo>
                  <a:pt x="484785" y="703920"/>
                </a:lnTo>
                <a:lnTo>
                  <a:pt x="455578" y="689684"/>
                </a:lnTo>
                <a:lnTo>
                  <a:pt x="451033" y="669354"/>
                </a:lnTo>
                <a:lnTo>
                  <a:pt x="433871" y="663887"/>
                </a:lnTo>
                <a:lnTo>
                  <a:pt x="414861" y="636678"/>
                </a:lnTo>
                <a:lnTo>
                  <a:pt x="384501" y="629608"/>
                </a:lnTo>
                <a:lnTo>
                  <a:pt x="359754" y="631302"/>
                </a:lnTo>
                <a:lnTo>
                  <a:pt x="334908" y="607257"/>
                </a:lnTo>
                <a:lnTo>
                  <a:pt x="336152" y="595098"/>
                </a:lnTo>
                <a:lnTo>
                  <a:pt x="309685" y="593518"/>
                </a:lnTo>
                <a:lnTo>
                  <a:pt x="287139" y="577598"/>
                </a:lnTo>
                <a:lnTo>
                  <a:pt x="278350" y="593626"/>
                </a:lnTo>
                <a:lnTo>
                  <a:pt x="247927" y="616673"/>
                </a:lnTo>
                <a:lnTo>
                  <a:pt x="214589" y="580861"/>
                </a:lnTo>
                <a:lnTo>
                  <a:pt x="198598" y="574147"/>
                </a:lnTo>
                <a:lnTo>
                  <a:pt x="222711" y="555413"/>
                </a:lnTo>
                <a:lnTo>
                  <a:pt x="212860" y="544986"/>
                </a:lnTo>
                <a:lnTo>
                  <a:pt x="166436" y="542461"/>
                </a:lnTo>
                <a:lnTo>
                  <a:pt x="112877" y="519505"/>
                </a:lnTo>
                <a:lnTo>
                  <a:pt x="105930" y="501987"/>
                </a:lnTo>
                <a:lnTo>
                  <a:pt x="81448" y="500413"/>
                </a:lnTo>
                <a:lnTo>
                  <a:pt x="83096" y="518537"/>
                </a:lnTo>
                <a:lnTo>
                  <a:pt x="65807" y="518342"/>
                </a:lnTo>
                <a:lnTo>
                  <a:pt x="81346" y="490101"/>
                </a:lnTo>
                <a:lnTo>
                  <a:pt x="86505" y="470605"/>
                </a:lnTo>
                <a:lnTo>
                  <a:pt x="77896" y="441333"/>
                </a:lnTo>
                <a:lnTo>
                  <a:pt x="57332" y="434366"/>
                </a:lnTo>
                <a:lnTo>
                  <a:pt x="58970" y="416193"/>
                </a:lnTo>
                <a:lnTo>
                  <a:pt x="43494" y="395238"/>
                </a:lnTo>
                <a:lnTo>
                  <a:pt x="59589" y="364702"/>
                </a:lnTo>
                <a:lnTo>
                  <a:pt x="53164" y="340060"/>
                </a:lnTo>
                <a:lnTo>
                  <a:pt x="37844" y="321968"/>
                </a:lnTo>
                <a:lnTo>
                  <a:pt x="47617" y="308779"/>
                </a:lnTo>
                <a:lnTo>
                  <a:pt x="43998" y="294020"/>
                </a:lnTo>
                <a:lnTo>
                  <a:pt x="0" y="266053"/>
                </a:lnTo>
                <a:lnTo>
                  <a:pt x="39" y="248059"/>
                </a:lnTo>
                <a:lnTo>
                  <a:pt x="19562" y="236220"/>
                </a:lnTo>
                <a:lnTo>
                  <a:pt x="28015" y="211372"/>
                </a:lnTo>
                <a:lnTo>
                  <a:pt x="12338" y="155359"/>
                </a:lnTo>
                <a:lnTo>
                  <a:pt x="38895" y="153921"/>
                </a:lnTo>
                <a:lnTo>
                  <a:pt x="49050" y="124802"/>
                </a:lnTo>
                <a:lnTo>
                  <a:pt x="63047" y="106830"/>
                </a:lnTo>
                <a:lnTo>
                  <a:pt x="111073" y="91514"/>
                </a:lnTo>
                <a:lnTo>
                  <a:pt x="194284" y="72429"/>
                </a:lnTo>
                <a:lnTo>
                  <a:pt x="231479" y="38890"/>
                </a:lnTo>
                <a:lnTo>
                  <a:pt x="271785" y="29474"/>
                </a:lnTo>
                <a:lnTo>
                  <a:pt x="301207" y="13369"/>
                </a:lnTo>
                <a:lnTo>
                  <a:pt x="370056" y="226"/>
                </a:lnTo>
                <a:lnTo>
                  <a:pt x="405744" y="0"/>
                </a:lnTo>
                <a:lnTo>
                  <a:pt x="427306" y="37691"/>
                </a:lnTo>
                <a:lnTo>
                  <a:pt x="430382" y="53856"/>
                </a:lnTo>
                <a:lnTo>
                  <a:pt x="455039" y="64123"/>
                </a:lnTo>
                <a:lnTo>
                  <a:pt x="493839" y="67258"/>
                </a:lnTo>
                <a:lnTo>
                  <a:pt x="508531" y="76501"/>
                </a:lnTo>
                <a:lnTo>
                  <a:pt x="547715" y="52225"/>
                </a:lnTo>
                <a:lnTo>
                  <a:pt x="627766" y="62380"/>
                </a:lnTo>
                <a:lnTo>
                  <a:pt x="706629" y="68792"/>
                </a:lnTo>
                <a:close/>
              </a:path>
            </a:pathLst>
          </a:cu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54" name="ee4p_17_1_43215">
            <a:extLst>
              <a:ext uri="{FF2B5EF4-FFF2-40B4-BE49-F238E27FC236}">
                <a16:creationId xmlns:a16="http://schemas.microsoft.com/office/drawing/2014/main" id="{85423570-AAFE-4FC0-91A3-E1FB1E01EB9B}"/>
              </a:ext>
            </a:extLst>
          </p:cNvPr>
          <p:cNvSpPr>
            <a:spLocks noChangeAspect="1"/>
          </p:cNvSpPr>
          <p:nvPr>
            <p:custDataLst>
              <p:tags r:id="rId7"/>
            </p:custDataLst>
          </p:nvPr>
        </p:nvSpPr>
        <p:spPr bwMode="gray">
          <a:xfrm>
            <a:off x="5563989" y="4625237"/>
            <a:ext cx="1238358" cy="1157969"/>
          </a:xfrm>
          <a:custGeom>
            <a:avLst/>
            <a:gdLst/>
            <a:ahLst/>
            <a:cxnLst/>
            <a:rect l="l" t="t" r="r" b="b"/>
            <a:pathLst>
              <a:path w="1386468" h="1172643">
                <a:moveTo>
                  <a:pt x="1374576" y="988374"/>
                </a:moveTo>
                <a:lnTo>
                  <a:pt x="1380813" y="1013290"/>
                </a:lnTo>
                <a:lnTo>
                  <a:pt x="1376452" y="1026321"/>
                </a:lnTo>
                <a:lnTo>
                  <a:pt x="1384915" y="1043147"/>
                </a:lnTo>
                <a:lnTo>
                  <a:pt x="1386468" y="1094192"/>
                </a:lnTo>
                <a:lnTo>
                  <a:pt x="1374311" y="1109590"/>
                </a:lnTo>
                <a:lnTo>
                  <a:pt x="1370843" y="1146286"/>
                </a:lnTo>
                <a:lnTo>
                  <a:pt x="1355213" y="1172643"/>
                </a:lnTo>
                <a:lnTo>
                  <a:pt x="1343406" y="1172622"/>
                </a:lnTo>
                <a:lnTo>
                  <a:pt x="1312152" y="1154383"/>
                </a:lnTo>
                <a:lnTo>
                  <a:pt x="1321383" y="1146594"/>
                </a:lnTo>
                <a:lnTo>
                  <a:pt x="1305927" y="1130082"/>
                </a:lnTo>
                <a:lnTo>
                  <a:pt x="1311889" y="1114960"/>
                </a:lnTo>
                <a:lnTo>
                  <a:pt x="1292204" y="1088200"/>
                </a:lnTo>
                <a:lnTo>
                  <a:pt x="1290299" y="1063098"/>
                </a:lnTo>
                <a:lnTo>
                  <a:pt x="1301756" y="1045882"/>
                </a:lnTo>
                <a:lnTo>
                  <a:pt x="1345159" y="1021047"/>
                </a:lnTo>
                <a:lnTo>
                  <a:pt x="1366520" y="1020728"/>
                </a:lnTo>
                <a:lnTo>
                  <a:pt x="1363195" y="1009090"/>
                </a:lnTo>
                <a:close/>
                <a:moveTo>
                  <a:pt x="708767" y="0"/>
                </a:moveTo>
                <a:lnTo>
                  <a:pt x="717372" y="35340"/>
                </a:lnTo>
                <a:lnTo>
                  <a:pt x="740130" y="49339"/>
                </a:lnTo>
                <a:lnTo>
                  <a:pt x="767294" y="39059"/>
                </a:lnTo>
                <a:lnTo>
                  <a:pt x="780416" y="71647"/>
                </a:lnTo>
                <a:lnTo>
                  <a:pt x="811404" y="75517"/>
                </a:lnTo>
                <a:lnTo>
                  <a:pt x="817876" y="96106"/>
                </a:lnTo>
                <a:lnTo>
                  <a:pt x="852143" y="93136"/>
                </a:lnTo>
                <a:lnTo>
                  <a:pt x="862645" y="103786"/>
                </a:lnTo>
                <a:lnTo>
                  <a:pt x="870894" y="130536"/>
                </a:lnTo>
                <a:lnTo>
                  <a:pt x="868305" y="143993"/>
                </a:lnTo>
                <a:lnTo>
                  <a:pt x="892587" y="146425"/>
                </a:lnTo>
                <a:lnTo>
                  <a:pt x="928655" y="139154"/>
                </a:lnTo>
                <a:lnTo>
                  <a:pt x="932835" y="165075"/>
                </a:lnTo>
                <a:lnTo>
                  <a:pt x="955560" y="168790"/>
                </a:lnTo>
                <a:lnTo>
                  <a:pt x="987466" y="189190"/>
                </a:lnTo>
                <a:lnTo>
                  <a:pt x="992538" y="201468"/>
                </a:lnTo>
                <a:lnTo>
                  <a:pt x="1025378" y="195648"/>
                </a:lnTo>
                <a:lnTo>
                  <a:pt x="1041605" y="206968"/>
                </a:lnTo>
                <a:lnTo>
                  <a:pt x="1060358" y="200574"/>
                </a:lnTo>
                <a:lnTo>
                  <a:pt x="1078499" y="205295"/>
                </a:lnTo>
                <a:lnTo>
                  <a:pt x="1094773" y="209735"/>
                </a:lnTo>
                <a:lnTo>
                  <a:pt x="1114425" y="243630"/>
                </a:lnTo>
                <a:lnTo>
                  <a:pt x="1132487" y="236152"/>
                </a:lnTo>
                <a:lnTo>
                  <a:pt x="1155099" y="249002"/>
                </a:lnTo>
                <a:lnTo>
                  <a:pt x="1187517" y="243111"/>
                </a:lnTo>
                <a:lnTo>
                  <a:pt x="1205024" y="258459"/>
                </a:lnTo>
                <a:lnTo>
                  <a:pt x="1229995" y="256824"/>
                </a:lnTo>
                <a:lnTo>
                  <a:pt x="1249355" y="266427"/>
                </a:lnTo>
                <a:lnTo>
                  <a:pt x="1246288" y="287035"/>
                </a:lnTo>
                <a:lnTo>
                  <a:pt x="1221480" y="308263"/>
                </a:lnTo>
                <a:lnTo>
                  <a:pt x="1204151" y="360980"/>
                </a:lnTo>
                <a:lnTo>
                  <a:pt x="1195658" y="373238"/>
                </a:lnTo>
                <a:lnTo>
                  <a:pt x="1199920" y="391352"/>
                </a:lnTo>
                <a:lnTo>
                  <a:pt x="1190011" y="429137"/>
                </a:lnTo>
                <a:lnTo>
                  <a:pt x="1196734" y="438758"/>
                </a:lnTo>
                <a:lnTo>
                  <a:pt x="1176594" y="458159"/>
                </a:lnTo>
                <a:lnTo>
                  <a:pt x="1138085" y="450503"/>
                </a:lnTo>
                <a:lnTo>
                  <a:pt x="1132103" y="467552"/>
                </a:lnTo>
                <a:lnTo>
                  <a:pt x="1135397" y="481292"/>
                </a:lnTo>
                <a:lnTo>
                  <a:pt x="1102670" y="512051"/>
                </a:lnTo>
                <a:lnTo>
                  <a:pt x="1084850" y="519763"/>
                </a:lnTo>
                <a:lnTo>
                  <a:pt x="1084664" y="540656"/>
                </a:lnTo>
                <a:lnTo>
                  <a:pt x="1053714" y="562614"/>
                </a:lnTo>
                <a:lnTo>
                  <a:pt x="1050024" y="576089"/>
                </a:lnTo>
                <a:lnTo>
                  <a:pt x="1059440" y="588143"/>
                </a:lnTo>
                <a:lnTo>
                  <a:pt x="1039558" y="615010"/>
                </a:lnTo>
                <a:lnTo>
                  <a:pt x="1055229" y="615522"/>
                </a:lnTo>
                <a:lnTo>
                  <a:pt x="1069719" y="606469"/>
                </a:lnTo>
                <a:lnTo>
                  <a:pt x="1064221" y="594760"/>
                </a:lnTo>
                <a:lnTo>
                  <a:pt x="1093206" y="577229"/>
                </a:lnTo>
                <a:lnTo>
                  <a:pt x="1122424" y="580775"/>
                </a:lnTo>
                <a:lnTo>
                  <a:pt x="1126656" y="598552"/>
                </a:lnTo>
                <a:lnTo>
                  <a:pt x="1120730" y="607936"/>
                </a:lnTo>
                <a:lnTo>
                  <a:pt x="1144081" y="641881"/>
                </a:lnTo>
                <a:lnTo>
                  <a:pt x="1122142" y="652315"/>
                </a:lnTo>
                <a:lnTo>
                  <a:pt x="1121222" y="665686"/>
                </a:lnTo>
                <a:lnTo>
                  <a:pt x="1139812" y="675929"/>
                </a:lnTo>
                <a:lnTo>
                  <a:pt x="1139740" y="692211"/>
                </a:lnTo>
                <a:lnTo>
                  <a:pt x="1157694" y="704395"/>
                </a:lnTo>
                <a:lnTo>
                  <a:pt x="1153028" y="722081"/>
                </a:lnTo>
                <a:lnTo>
                  <a:pt x="1103699" y="740616"/>
                </a:lnTo>
                <a:lnTo>
                  <a:pt x="1115402" y="762036"/>
                </a:lnTo>
                <a:lnTo>
                  <a:pt x="1139873" y="771565"/>
                </a:lnTo>
                <a:lnTo>
                  <a:pt x="1142586" y="784978"/>
                </a:lnTo>
                <a:lnTo>
                  <a:pt x="1125533" y="808977"/>
                </a:lnTo>
                <a:lnTo>
                  <a:pt x="1129786" y="827221"/>
                </a:lnTo>
                <a:lnTo>
                  <a:pt x="1140489" y="843669"/>
                </a:lnTo>
                <a:lnTo>
                  <a:pt x="1174350" y="857963"/>
                </a:lnTo>
                <a:lnTo>
                  <a:pt x="1204616" y="853382"/>
                </a:lnTo>
                <a:lnTo>
                  <a:pt x="1208740" y="861361"/>
                </a:lnTo>
                <a:lnTo>
                  <a:pt x="1189251" y="885280"/>
                </a:lnTo>
                <a:lnTo>
                  <a:pt x="1191004" y="897280"/>
                </a:lnTo>
                <a:lnTo>
                  <a:pt x="1155033" y="912635"/>
                </a:lnTo>
                <a:lnTo>
                  <a:pt x="1135052" y="926772"/>
                </a:lnTo>
                <a:lnTo>
                  <a:pt x="1129256" y="939220"/>
                </a:lnTo>
                <a:lnTo>
                  <a:pt x="1114191" y="941545"/>
                </a:lnTo>
                <a:lnTo>
                  <a:pt x="1106836" y="966536"/>
                </a:lnTo>
                <a:lnTo>
                  <a:pt x="1062362" y="976053"/>
                </a:lnTo>
                <a:lnTo>
                  <a:pt x="1055116" y="980386"/>
                </a:lnTo>
                <a:lnTo>
                  <a:pt x="1021782" y="974299"/>
                </a:lnTo>
                <a:lnTo>
                  <a:pt x="1012665" y="968479"/>
                </a:lnTo>
                <a:lnTo>
                  <a:pt x="985215" y="964581"/>
                </a:lnTo>
                <a:lnTo>
                  <a:pt x="980327" y="950475"/>
                </a:lnTo>
                <a:lnTo>
                  <a:pt x="951433" y="951482"/>
                </a:lnTo>
                <a:lnTo>
                  <a:pt x="943092" y="939497"/>
                </a:lnTo>
                <a:lnTo>
                  <a:pt x="924324" y="948578"/>
                </a:lnTo>
                <a:lnTo>
                  <a:pt x="907900" y="948023"/>
                </a:lnTo>
                <a:lnTo>
                  <a:pt x="899984" y="936232"/>
                </a:lnTo>
                <a:lnTo>
                  <a:pt x="871738" y="935483"/>
                </a:lnTo>
                <a:lnTo>
                  <a:pt x="850134" y="924703"/>
                </a:lnTo>
                <a:lnTo>
                  <a:pt x="829781" y="937738"/>
                </a:lnTo>
                <a:lnTo>
                  <a:pt x="818440" y="936241"/>
                </a:lnTo>
                <a:lnTo>
                  <a:pt x="767087" y="973218"/>
                </a:lnTo>
                <a:lnTo>
                  <a:pt x="748750" y="1007137"/>
                </a:lnTo>
                <a:lnTo>
                  <a:pt x="756431" y="1015390"/>
                </a:lnTo>
                <a:lnTo>
                  <a:pt x="758303" y="1043831"/>
                </a:lnTo>
                <a:lnTo>
                  <a:pt x="769609" y="1055604"/>
                </a:lnTo>
                <a:lnTo>
                  <a:pt x="737165" y="1052817"/>
                </a:lnTo>
                <a:lnTo>
                  <a:pt x="702700" y="1066748"/>
                </a:lnTo>
                <a:lnTo>
                  <a:pt x="680812" y="1055220"/>
                </a:lnTo>
                <a:lnTo>
                  <a:pt x="657140" y="1065354"/>
                </a:lnTo>
                <a:lnTo>
                  <a:pt x="650405" y="1054547"/>
                </a:lnTo>
                <a:lnTo>
                  <a:pt x="629402" y="1047550"/>
                </a:lnTo>
                <a:lnTo>
                  <a:pt x="629548" y="1037730"/>
                </a:lnTo>
                <a:lnTo>
                  <a:pt x="612320" y="1029860"/>
                </a:lnTo>
                <a:lnTo>
                  <a:pt x="601996" y="1035958"/>
                </a:lnTo>
                <a:lnTo>
                  <a:pt x="593746" y="1022427"/>
                </a:lnTo>
                <a:lnTo>
                  <a:pt x="575697" y="1023747"/>
                </a:lnTo>
                <a:lnTo>
                  <a:pt x="566271" y="1015036"/>
                </a:lnTo>
                <a:lnTo>
                  <a:pt x="530960" y="1005828"/>
                </a:lnTo>
                <a:lnTo>
                  <a:pt x="526287" y="1025757"/>
                </a:lnTo>
                <a:lnTo>
                  <a:pt x="490962" y="1027813"/>
                </a:lnTo>
                <a:lnTo>
                  <a:pt x="479414" y="1020367"/>
                </a:lnTo>
                <a:lnTo>
                  <a:pt x="461555" y="1026492"/>
                </a:lnTo>
                <a:lnTo>
                  <a:pt x="435620" y="1008843"/>
                </a:lnTo>
                <a:lnTo>
                  <a:pt x="419460" y="1013462"/>
                </a:lnTo>
                <a:lnTo>
                  <a:pt x="404184" y="1009280"/>
                </a:lnTo>
                <a:lnTo>
                  <a:pt x="391693" y="995998"/>
                </a:lnTo>
                <a:lnTo>
                  <a:pt x="370956" y="995027"/>
                </a:lnTo>
                <a:lnTo>
                  <a:pt x="354548" y="986762"/>
                </a:lnTo>
                <a:lnTo>
                  <a:pt x="322952" y="984132"/>
                </a:lnTo>
                <a:lnTo>
                  <a:pt x="328456" y="959786"/>
                </a:lnTo>
                <a:lnTo>
                  <a:pt x="289600" y="948399"/>
                </a:lnTo>
                <a:lnTo>
                  <a:pt x="308035" y="937850"/>
                </a:lnTo>
                <a:lnTo>
                  <a:pt x="322283" y="914016"/>
                </a:lnTo>
                <a:lnTo>
                  <a:pt x="335038" y="856465"/>
                </a:lnTo>
                <a:lnTo>
                  <a:pt x="341395" y="811666"/>
                </a:lnTo>
                <a:lnTo>
                  <a:pt x="340326" y="794787"/>
                </a:lnTo>
                <a:lnTo>
                  <a:pt x="349974" y="716828"/>
                </a:lnTo>
                <a:lnTo>
                  <a:pt x="355842" y="688012"/>
                </a:lnTo>
                <a:lnTo>
                  <a:pt x="384664" y="711449"/>
                </a:lnTo>
                <a:lnTo>
                  <a:pt x="383096" y="693730"/>
                </a:lnTo>
                <a:lnTo>
                  <a:pt x="345329" y="669089"/>
                </a:lnTo>
                <a:lnTo>
                  <a:pt x="360516" y="632046"/>
                </a:lnTo>
                <a:lnTo>
                  <a:pt x="344176" y="612284"/>
                </a:lnTo>
                <a:lnTo>
                  <a:pt x="343321" y="599019"/>
                </a:lnTo>
                <a:lnTo>
                  <a:pt x="320134" y="590744"/>
                </a:lnTo>
                <a:lnTo>
                  <a:pt x="287049" y="572729"/>
                </a:lnTo>
                <a:lnTo>
                  <a:pt x="282725" y="558577"/>
                </a:lnTo>
                <a:lnTo>
                  <a:pt x="255152" y="533116"/>
                </a:lnTo>
                <a:lnTo>
                  <a:pt x="253890" y="524497"/>
                </a:lnTo>
                <a:lnTo>
                  <a:pt x="270476" y="507425"/>
                </a:lnTo>
                <a:lnTo>
                  <a:pt x="240099" y="482376"/>
                </a:lnTo>
                <a:lnTo>
                  <a:pt x="221100" y="477342"/>
                </a:lnTo>
                <a:lnTo>
                  <a:pt x="217864" y="466592"/>
                </a:lnTo>
                <a:lnTo>
                  <a:pt x="226168" y="449920"/>
                </a:lnTo>
                <a:lnTo>
                  <a:pt x="198180" y="444604"/>
                </a:lnTo>
                <a:lnTo>
                  <a:pt x="190327" y="434770"/>
                </a:lnTo>
                <a:lnTo>
                  <a:pt x="162909" y="441881"/>
                </a:lnTo>
                <a:lnTo>
                  <a:pt x="140515" y="425018"/>
                </a:lnTo>
                <a:lnTo>
                  <a:pt x="121559" y="417881"/>
                </a:lnTo>
                <a:lnTo>
                  <a:pt x="89834" y="413245"/>
                </a:lnTo>
                <a:lnTo>
                  <a:pt x="84996" y="405208"/>
                </a:lnTo>
                <a:lnTo>
                  <a:pt x="41727" y="406863"/>
                </a:lnTo>
                <a:lnTo>
                  <a:pt x="34482" y="392872"/>
                </a:lnTo>
                <a:lnTo>
                  <a:pt x="15232" y="379785"/>
                </a:lnTo>
                <a:lnTo>
                  <a:pt x="49285" y="371830"/>
                </a:lnTo>
                <a:lnTo>
                  <a:pt x="26885" y="341486"/>
                </a:lnTo>
                <a:lnTo>
                  <a:pt x="1649" y="347717"/>
                </a:lnTo>
                <a:lnTo>
                  <a:pt x="0" y="325868"/>
                </a:lnTo>
                <a:lnTo>
                  <a:pt x="7241" y="317612"/>
                </a:lnTo>
                <a:lnTo>
                  <a:pt x="41587" y="304397"/>
                </a:lnTo>
                <a:lnTo>
                  <a:pt x="76417" y="298129"/>
                </a:lnTo>
                <a:lnTo>
                  <a:pt x="108673" y="301888"/>
                </a:lnTo>
                <a:lnTo>
                  <a:pt x="149545" y="280635"/>
                </a:lnTo>
                <a:lnTo>
                  <a:pt x="170600" y="293214"/>
                </a:lnTo>
                <a:lnTo>
                  <a:pt x="207916" y="323062"/>
                </a:lnTo>
                <a:lnTo>
                  <a:pt x="237173" y="304795"/>
                </a:lnTo>
                <a:lnTo>
                  <a:pt x="249072" y="316396"/>
                </a:lnTo>
                <a:lnTo>
                  <a:pt x="274846" y="302206"/>
                </a:lnTo>
                <a:lnTo>
                  <a:pt x="291368" y="313610"/>
                </a:lnTo>
                <a:lnTo>
                  <a:pt x="312488" y="310158"/>
                </a:lnTo>
                <a:lnTo>
                  <a:pt x="309063" y="282922"/>
                </a:lnTo>
                <a:lnTo>
                  <a:pt x="311815" y="260987"/>
                </a:lnTo>
                <a:lnTo>
                  <a:pt x="306887" y="239495"/>
                </a:lnTo>
                <a:lnTo>
                  <a:pt x="286040" y="214217"/>
                </a:lnTo>
                <a:lnTo>
                  <a:pt x="282921" y="183515"/>
                </a:lnTo>
                <a:lnTo>
                  <a:pt x="305293" y="183388"/>
                </a:lnTo>
                <a:lnTo>
                  <a:pt x="325008" y="175748"/>
                </a:lnTo>
                <a:lnTo>
                  <a:pt x="343584" y="185933"/>
                </a:lnTo>
                <a:lnTo>
                  <a:pt x="335872" y="195723"/>
                </a:lnTo>
                <a:lnTo>
                  <a:pt x="354245" y="218966"/>
                </a:lnTo>
                <a:lnTo>
                  <a:pt x="423949" y="222408"/>
                </a:lnTo>
                <a:lnTo>
                  <a:pt x="453979" y="226815"/>
                </a:lnTo>
                <a:lnTo>
                  <a:pt x="473219" y="214605"/>
                </a:lnTo>
                <a:lnTo>
                  <a:pt x="469962" y="196444"/>
                </a:lnTo>
                <a:lnTo>
                  <a:pt x="482344" y="174535"/>
                </a:lnTo>
                <a:lnTo>
                  <a:pt x="516825" y="157987"/>
                </a:lnTo>
                <a:lnTo>
                  <a:pt x="561663" y="149029"/>
                </a:lnTo>
                <a:lnTo>
                  <a:pt x="603079" y="124593"/>
                </a:lnTo>
                <a:lnTo>
                  <a:pt x="611220" y="102883"/>
                </a:lnTo>
                <a:lnTo>
                  <a:pt x="615417" y="67173"/>
                </a:lnTo>
                <a:lnTo>
                  <a:pt x="615387" y="28092"/>
                </a:lnTo>
                <a:lnTo>
                  <a:pt x="629438" y="19489"/>
                </a:lnTo>
                <a:close/>
              </a:path>
            </a:pathLst>
          </a:cu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ee4p_36_1_43215">
            <a:extLst>
              <a:ext uri="{FF2B5EF4-FFF2-40B4-BE49-F238E27FC236}">
                <a16:creationId xmlns:a16="http://schemas.microsoft.com/office/drawing/2014/main" id="{D15B010C-38A1-4A4A-95C6-A28F5323D68C}"/>
              </a:ext>
            </a:extLst>
          </p:cNvPr>
          <p:cNvSpPr>
            <a:spLocks noChangeAspect="1"/>
          </p:cNvSpPr>
          <p:nvPr>
            <p:custDataLst>
              <p:tags r:id="rId8"/>
            </p:custDataLst>
          </p:nvPr>
        </p:nvSpPr>
        <p:spPr bwMode="gray">
          <a:xfrm>
            <a:off x="6492497" y="5032795"/>
            <a:ext cx="389563" cy="237938"/>
          </a:xfrm>
          <a:custGeom>
            <a:avLst/>
            <a:gdLst/>
            <a:ahLst/>
            <a:cxnLst/>
            <a:rect l="0" t="0" r="0" b="0"/>
            <a:pathLst>
              <a:path w="436155" h="240953">
                <a:moveTo>
                  <a:pt x="347764" y="31932"/>
                </a:moveTo>
                <a:lnTo>
                  <a:pt x="356046" y="45029"/>
                </a:lnTo>
                <a:lnTo>
                  <a:pt x="345057" y="65213"/>
                </a:lnTo>
                <a:lnTo>
                  <a:pt x="340747" y="76553"/>
                </a:lnTo>
                <a:lnTo>
                  <a:pt x="352443" y="90882"/>
                </a:lnTo>
                <a:lnTo>
                  <a:pt x="380010" y="99658"/>
                </a:lnTo>
                <a:lnTo>
                  <a:pt x="400639" y="117719"/>
                </a:lnTo>
                <a:lnTo>
                  <a:pt x="412977" y="114623"/>
                </a:lnTo>
                <a:lnTo>
                  <a:pt x="424230" y="99453"/>
                </a:lnTo>
                <a:lnTo>
                  <a:pt x="435906" y="116013"/>
                </a:lnTo>
                <a:lnTo>
                  <a:pt x="429236" y="130785"/>
                </a:lnTo>
                <a:lnTo>
                  <a:pt x="436154" y="153922"/>
                </a:lnTo>
                <a:lnTo>
                  <a:pt x="400344" y="145747"/>
                </a:lnTo>
                <a:lnTo>
                  <a:pt x="394525" y="164986"/>
                </a:lnTo>
                <a:lnTo>
                  <a:pt x="407389" y="188978"/>
                </a:lnTo>
                <a:lnTo>
                  <a:pt x="394688" y="191991"/>
                </a:lnTo>
                <a:lnTo>
                  <a:pt x="381544" y="173715"/>
                </a:lnTo>
                <a:lnTo>
                  <a:pt x="362803" y="184361"/>
                </a:lnTo>
                <a:lnTo>
                  <a:pt x="345628" y="182263"/>
                </a:lnTo>
                <a:lnTo>
                  <a:pt x="338734" y="162894"/>
                </a:lnTo>
                <a:lnTo>
                  <a:pt x="321059" y="159609"/>
                </a:lnTo>
                <a:lnTo>
                  <a:pt x="322743" y="180270"/>
                </a:lnTo>
                <a:lnTo>
                  <a:pt x="312477" y="198205"/>
                </a:lnTo>
                <a:lnTo>
                  <a:pt x="295672" y="213533"/>
                </a:lnTo>
                <a:lnTo>
                  <a:pt x="296697" y="240952"/>
                </a:lnTo>
                <a:lnTo>
                  <a:pt x="273681" y="218807"/>
                </a:lnTo>
                <a:lnTo>
                  <a:pt x="268769" y="205008"/>
                </a:lnTo>
                <a:lnTo>
                  <a:pt x="255937" y="203719"/>
                </a:lnTo>
                <a:lnTo>
                  <a:pt x="238329" y="183683"/>
                </a:lnTo>
                <a:lnTo>
                  <a:pt x="241643" y="165194"/>
                </a:lnTo>
                <a:lnTo>
                  <a:pt x="205255" y="187524"/>
                </a:lnTo>
                <a:lnTo>
                  <a:pt x="212955" y="197745"/>
                </a:lnTo>
                <a:lnTo>
                  <a:pt x="195886" y="220278"/>
                </a:lnTo>
                <a:lnTo>
                  <a:pt x="183249" y="229345"/>
                </a:lnTo>
                <a:lnTo>
                  <a:pt x="162059" y="223398"/>
                </a:lnTo>
                <a:lnTo>
                  <a:pt x="128293" y="229422"/>
                </a:lnTo>
                <a:lnTo>
                  <a:pt x="104523" y="229159"/>
                </a:lnTo>
                <a:lnTo>
                  <a:pt x="81172" y="195214"/>
                </a:lnTo>
                <a:lnTo>
                  <a:pt x="87098" y="185830"/>
                </a:lnTo>
                <a:lnTo>
                  <a:pt x="82866" y="168053"/>
                </a:lnTo>
                <a:lnTo>
                  <a:pt x="53648" y="164507"/>
                </a:lnTo>
                <a:lnTo>
                  <a:pt x="24663" y="182038"/>
                </a:lnTo>
                <a:lnTo>
                  <a:pt x="30161" y="193747"/>
                </a:lnTo>
                <a:lnTo>
                  <a:pt x="15671" y="202800"/>
                </a:lnTo>
                <a:lnTo>
                  <a:pt x="0" y="202288"/>
                </a:lnTo>
                <a:lnTo>
                  <a:pt x="19882" y="175421"/>
                </a:lnTo>
                <a:lnTo>
                  <a:pt x="10466" y="163367"/>
                </a:lnTo>
                <a:lnTo>
                  <a:pt x="14156" y="149892"/>
                </a:lnTo>
                <a:lnTo>
                  <a:pt x="45106" y="127934"/>
                </a:lnTo>
                <a:lnTo>
                  <a:pt x="45292" y="107041"/>
                </a:lnTo>
                <a:lnTo>
                  <a:pt x="63112" y="99329"/>
                </a:lnTo>
                <a:lnTo>
                  <a:pt x="95839" y="68570"/>
                </a:lnTo>
                <a:lnTo>
                  <a:pt x="92545" y="54830"/>
                </a:lnTo>
                <a:lnTo>
                  <a:pt x="98527" y="37781"/>
                </a:lnTo>
                <a:lnTo>
                  <a:pt x="137036" y="45437"/>
                </a:lnTo>
                <a:lnTo>
                  <a:pt x="157176" y="26036"/>
                </a:lnTo>
                <a:lnTo>
                  <a:pt x="167702" y="32996"/>
                </a:lnTo>
                <a:lnTo>
                  <a:pt x="185818" y="26160"/>
                </a:lnTo>
                <a:lnTo>
                  <a:pt x="198752" y="30881"/>
                </a:lnTo>
                <a:lnTo>
                  <a:pt x="217044" y="22209"/>
                </a:lnTo>
                <a:lnTo>
                  <a:pt x="228474" y="28228"/>
                </a:lnTo>
                <a:lnTo>
                  <a:pt x="244259" y="3472"/>
                </a:lnTo>
                <a:lnTo>
                  <a:pt x="256190" y="0"/>
                </a:lnTo>
                <a:lnTo>
                  <a:pt x="278512" y="10983"/>
                </a:lnTo>
                <a:lnTo>
                  <a:pt x="318527" y="17573"/>
                </a:lnTo>
                <a:close/>
              </a:path>
            </a:pathLst>
          </a:cu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56" name="ee4p_5_1_43215">
            <a:extLst>
              <a:ext uri="{FF2B5EF4-FFF2-40B4-BE49-F238E27FC236}">
                <a16:creationId xmlns:a16="http://schemas.microsoft.com/office/drawing/2014/main" id="{2D4B7EC5-D8BC-4D2F-AB7D-543521494FB9}"/>
              </a:ext>
            </a:extLst>
          </p:cNvPr>
          <p:cNvSpPr>
            <a:spLocks noChangeAspect="1"/>
          </p:cNvSpPr>
          <p:nvPr>
            <p:custDataLst>
              <p:tags r:id="rId9"/>
            </p:custDataLst>
          </p:nvPr>
        </p:nvSpPr>
        <p:spPr bwMode="gray">
          <a:xfrm>
            <a:off x="7369633" y="4937323"/>
            <a:ext cx="586167" cy="343844"/>
          </a:xfrm>
          <a:custGeom>
            <a:avLst/>
            <a:gdLst/>
            <a:ahLst/>
            <a:cxnLst/>
            <a:rect l="0" t="0" r="0" b="0"/>
            <a:pathLst>
              <a:path w="656273" h="348201">
                <a:moveTo>
                  <a:pt x="584576" y="22277"/>
                </a:moveTo>
                <a:lnTo>
                  <a:pt x="606763" y="43254"/>
                </a:lnTo>
                <a:lnTo>
                  <a:pt x="616888" y="40804"/>
                </a:lnTo>
                <a:lnTo>
                  <a:pt x="634785" y="60836"/>
                </a:lnTo>
                <a:lnTo>
                  <a:pt x="649872" y="58349"/>
                </a:lnTo>
                <a:lnTo>
                  <a:pt x="656272" y="77859"/>
                </a:lnTo>
                <a:lnTo>
                  <a:pt x="635830" y="97897"/>
                </a:lnTo>
                <a:lnTo>
                  <a:pt x="595147" y="105340"/>
                </a:lnTo>
                <a:lnTo>
                  <a:pt x="586124" y="122477"/>
                </a:lnTo>
                <a:lnTo>
                  <a:pt x="571771" y="131572"/>
                </a:lnTo>
                <a:lnTo>
                  <a:pt x="572961" y="142666"/>
                </a:lnTo>
                <a:lnTo>
                  <a:pt x="559411" y="156474"/>
                </a:lnTo>
                <a:lnTo>
                  <a:pt x="543049" y="182939"/>
                </a:lnTo>
                <a:lnTo>
                  <a:pt x="524007" y="229043"/>
                </a:lnTo>
                <a:lnTo>
                  <a:pt x="504708" y="239896"/>
                </a:lnTo>
                <a:lnTo>
                  <a:pt x="490258" y="279661"/>
                </a:lnTo>
                <a:lnTo>
                  <a:pt x="448486" y="286144"/>
                </a:lnTo>
                <a:lnTo>
                  <a:pt x="401600" y="301188"/>
                </a:lnTo>
                <a:lnTo>
                  <a:pt x="369935" y="295156"/>
                </a:lnTo>
                <a:lnTo>
                  <a:pt x="358399" y="301017"/>
                </a:lnTo>
                <a:lnTo>
                  <a:pt x="334189" y="294852"/>
                </a:lnTo>
                <a:lnTo>
                  <a:pt x="306876" y="316860"/>
                </a:lnTo>
                <a:lnTo>
                  <a:pt x="289385" y="311636"/>
                </a:lnTo>
                <a:lnTo>
                  <a:pt x="268597" y="325989"/>
                </a:lnTo>
                <a:lnTo>
                  <a:pt x="250761" y="326357"/>
                </a:lnTo>
                <a:lnTo>
                  <a:pt x="225746" y="348200"/>
                </a:lnTo>
                <a:lnTo>
                  <a:pt x="194488" y="341894"/>
                </a:lnTo>
                <a:lnTo>
                  <a:pt x="170455" y="343151"/>
                </a:lnTo>
                <a:lnTo>
                  <a:pt x="150804" y="336429"/>
                </a:lnTo>
                <a:lnTo>
                  <a:pt x="140015" y="323978"/>
                </a:lnTo>
                <a:lnTo>
                  <a:pt x="110769" y="314716"/>
                </a:lnTo>
                <a:lnTo>
                  <a:pt x="103139" y="298222"/>
                </a:lnTo>
                <a:lnTo>
                  <a:pt x="83148" y="289281"/>
                </a:lnTo>
                <a:lnTo>
                  <a:pt x="72771" y="273567"/>
                </a:lnTo>
                <a:lnTo>
                  <a:pt x="46731" y="258817"/>
                </a:lnTo>
                <a:lnTo>
                  <a:pt x="26753" y="239088"/>
                </a:lnTo>
                <a:lnTo>
                  <a:pt x="17178" y="210509"/>
                </a:lnTo>
                <a:lnTo>
                  <a:pt x="0" y="210968"/>
                </a:lnTo>
                <a:lnTo>
                  <a:pt x="16337" y="194474"/>
                </a:lnTo>
                <a:lnTo>
                  <a:pt x="36645" y="193752"/>
                </a:lnTo>
                <a:lnTo>
                  <a:pt x="31011" y="169310"/>
                </a:lnTo>
                <a:lnTo>
                  <a:pt x="57248" y="130946"/>
                </a:lnTo>
                <a:lnTo>
                  <a:pt x="61461" y="111461"/>
                </a:lnTo>
                <a:lnTo>
                  <a:pt x="92544" y="105704"/>
                </a:lnTo>
                <a:lnTo>
                  <a:pt x="101304" y="71373"/>
                </a:lnTo>
                <a:lnTo>
                  <a:pt x="118073" y="73014"/>
                </a:lnTo>
                <a:lnTo>
                  <a:pt x="129417" y="86016"/>
                </a:lnTo>
                <a:lnTo>
                  <a:pt x="160830" y="104150"/>
                </a:lnTo>
                <a:lnTo>
                  <a:pt x="210854" y="105310"/>
                </a:lnTo>
                <a:lnTo>
                  <a:pt x="247226" y="101471"/>
                </a:lnTo>
                <a:lnTo>
                  <a:pt x="259891" y="94093"/>
                </a:lnTo>
                <a:lnTo>
                  <a:pt x="256864" y="74033"/>
                </a:lnTo>
                <a:lnTo>
                  <a:pt x="267148" y="66412"/>
                </a:lnTo>
                <a:lnTo>
                  <a:pt x="323938" y="61934"/>
                </a:lnTo>
                <a:lnTo>
                  <a:pt x="340305" y="41276"/>
                </a:lnTo>
                <a:lnTo>
                  <a:pt x="358828" y="51329"/>
                </a:lnTo>
                <a:lnTo>
                  <a:pt x="378940" y="50317"/>
                </a:lnTo>
                <a:lnTo>
                  <a:pt x="403560" y="39800"/>
                </a:lnTo>
                <a:lnTo>
                  <a:pt x="424597" y="6904"/>
                </a:lnTo>
                <a:lnTo>
                  <a:pt x="456952" y="0"/>
                </a:lnTo>
                <a:lnTo>
                  <a:pt x="468548" y="7599"/>
                </a:lnTo>
                <a:lnTo>
                  <a:pt x="488218" y="8061"/>
                </a:lnTo>
                <a:lnTo>
                  <a:pt x="516400" y="986"/>
                </a:lnTo>
                <a:lnTo>
                  <a:pt x="532191" y="9121"/>
                </a:lnTo>
                <a:lnTo>
                  <a:pt x="537478" y="24036"/>
                </a:lnTo>
                <a:lnTo>
                  <a:pt x="553601" y="30801"/>
                </a:lnTo>
                <a:close/>
              </a:path>
            </a:pathLst>
          </a:custGeom>
          <a:solidFill>
            <a:schemeClr val="accent1">
              <a:lumMod val="40000"/>
              <a:lumOff val="6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57" name="ee4p_6_1_43215">
            <a:extLst>
              <a:ext uri="{FF2B5EF4-FFF2-40B4-BE49-F238E27FC236}">
                <a16:creationId xmlns:a16="http://schemas.microsoft.com/office/drawing/2014/main" id="{BAF7DC77-EB6C-450A-BAB9-0304C3DDC669}"/>
              </a:ext>
            </a:extLst>
          </p:cNvPr>
          <p:cNvSpPr>
            <a:spLocks noChangeAspect="1"/>
          </p:cNvSpPr>
          <p:nvPr>
            <p:custDataLst>
              <p:tags r:id="rId10"/>
            </p:custDataLst>
          </p:nvPr>
        </p:nvSpPr>
        <p:spPr bwMode="gray">
          <a:xfrm>
            <a:off x="5173428" y="5513582"/>
            <a:ext cx="1175085" cy="873594"/>
          </a:xfrm>
          <a:custGeom>
            <a:avLst/>
            <a:gdLst/>
            <a:ahLst/>
            <a:cxnLst/>
            <a:rect l="l" t="t" r="r" b="b"/>
            <a:pathLst>
              <a:path w="1315628" h="884664">
                <a:moveTo>
                  <a:pt x="1048888" y="537400"/>
                </a:moveTo>
                <a:lnTo>
                  <a:pt x="1056418" y="546371"/>
                </a:lnTo>
                <a:lnTo>
                  <a:pt x="1047612" y="556616"/>
                </a:lnTo>
                <a:lnTo>
                  <a:pt x="1029590" y="565105"/>
                </a:lnTo>
                <a:lnTo>
                  <a:pt x="1019065" y="554096"/>
                </a:lnTo>
                <a:lnTo>
                  <a:pt x="1030774" y="542970"/>
                </a:lnTo>
                <a:close/>
                <a:moveTo>
                  <a:pt x="1210578" y="442015"/>
                </a:moveTo>
                <a:lnTo>
                  <a:pt x="1198673" y="447062"/>
                </a:lnTo>
                <a:lnTo>
                  <a:pt x="1204373" y="463037"/>
                </a:lnTo>
                <a:lnTo>
                  <a:pt x="1234232" y="465951"/>
                </a:lnTo>
                <a:lnTo>
                  <a:pt x="1232183" y="478566"/>
                </a:lnTo>
                <a:lnTo>
                  <a:pt x="1219094" y="493400"/>
                </a:lnTo>
                <a:lnTo>
                  <a:pt x="1212166" y="509850"/>
                </a:lnTo>
                <a:lnTo>
                  <a:pt x="1194796" y="520475"/>
                </a:lnTo>
                <a:lnTo>
                  <a:pt x="1187485" y="510554"/>
                </a:lnTo>
                <a:lnTo>
                  <a:pt x="1169380" y="509394"/>
                </a:lnTo>
                <a:lnTo>
                  <a:pt x="1159909" y="487910"/>
                </a:lnTo>
                <a:lnTo>
                  <a:pt x="1130566" y="490898"/>
                </a:lnTo>
                <a:lnTo>
                  <a:pt x="1128818" y="480941"/>
                </a:lnTo>
                <a:lnTo>
                  <a:pt x="1146965" y="471078"/>
                </a:lnTo>
                <a:lnTo>
                  <a:pt x="1168537" y="453381"/>
                </a:lnTo>
                <a:lnTo>
                  <a:pt x="1185007" y="446233"/>
                </a:lnTo>
                <a:close/>
                <a:moveTo>
                  <a:pt x="1295834" y="430265"/>
                </a:moveTo>
                <a:lnTo>
                  <a:pt x="1315628" y="448658"/>
                </a:lnTo>
                <a:lnTo>
                  <a:pt x="1309901" y="458044"/>
                </a:lnTo>
                <a:lnTo>
                  <a:pt x="1288875" y="445879"/>
                </a:lnTo>
                <a:lnTo>
                  <a:pt x="1269302" y="445093"/>
                </a:lnTo>
                <a:lnTo>
                  <a:pt x="1271473" y="430798"/>
                </a:lnTo>
                <a:close/>
                <a:moveTo>
                  <a:pt x="152991" y="0"/>
                </a:moveTo>
                <a:lnTo>
                  <a:pt x="187893" y="11043"/>
                </a:lnTo>
                <a:lnTo>
                  <a:pt x="199582" y="23190"/>
                </a:lnTo>
                <a:lnTo>
                  <a:pt x="284840" y="25192"/>
                </a:lnTo>
                <a:lnTo>
                  <a:pt x="324215" y="21274"/>
                </a:lnTo>
                <a:lnTo>
                  <a:pt x="334437" y="12800"/>
                </a:lnTo>
                <a:lnTo>
                  <a:pt x="348639" y="26098"/>
                </a:lnTo>
                <a:lnTo>
                  <a:pt x="376439" y="24637"/>
                </a:lnTo>
                <a:lnTo>
                  <a:pt x="401853" y="33791"/>
                </a:lnTo>
                <a:lnTo>
                  <a:pt x="452729" y="43322"/>
                </a:lnTo>
                <a:lnTo>
                  <a:pt x="495746" y="42853"/>
                </a:lnTo>
                <a:lnTo>
                  <a:pt x="530945" y="31849"/>
                </a:lnTo>
                <a:lnTo>
                  <a:pt x="551649" y="29680"/>
                </a:lnTo>
                <a:lnTo>
                  <a:pt x="568121" y="41378"/>
                </a:lnTo>
                <a:lnTo>
                  <a:pt x="593750" y="48731"/>
                </a:lnTo>
                <a:lnTo>
                  <a:pt x="614684" y="38781"/>
                </a:lnTo>
                <a:lnTo>
                  <a:pt x="656932" y="45730"/>
                </a:lnTo>
                <a:lnTo>
                  <a:pt x="689619" y="56181"/>
                </a:lnTo>
                <a:lnTo>
                  <a:pt x="720679" y="45548"/>
                </a:lnTo>
                <a:lnTo>
                  <a:pt x="726873" y="48798"/>
                </a:lnTo>
                <a:lnTo>
                  <a:pt x="765729" y="60185"/>
                </a:lnTo>
                <a:lnTo>
                  <a:pt x="760225" y="84531"/>
                </a:lnTo>
                <a:lnTo>
                  <a:pt x="791821" y="87161"/>
                </a:lnTo>
                <a:lnTo>
                  <a:pt x="808229" y="95426"/>
                </a:lnTo>
                <a:lnTo>
                  <a:pt x="828966" y="96397"/>
                </a:lnTo>
                <a:lnTo>
                  <a:pt x="841457" y="109679"/>
                </a:lnTo>
                <a:lnTo>
                  <a:pt x="856733" y="113861"/>
                </a:lnTo>
                <a:lnTo>
                  <a:pt x="872893" y="109242"/>
                </a:lnTo>
                <a:lnTo>
                  <a:pt x="898828" y="126891"/>
                </a:lnTo>
                <a:lnTo>
                  <a:pt x="916687" y="120766"/>
                </a:lnTo>
                <a:lnTo>
                  <a:pt x="928235" y="128212"/>
                </a:lnTo>
                <a:lnTo>
                  <a:pt x="963560" y="126156"/>
                </a:lnTo>
                <a:lnTo>
                  <a:pt x="968233" y="106227"/>
                </a:lnTo>
                <a:lnTo>
                  <a:pt x="1003544" y="115435"/>
                </a:lnTo>
                <a:lnTo>
                  <a:pt x="1012970" y="124146"/>
                </a:lnTo>
                <a:lnTo>
                  <a:pt x="1031019" y="122826"/>
                </a:lnTo>
                <a:lnTo>
                  <a:pt x="1039269" y="136357"/>
                </a:lnTo>
                <a:lnTo>
                  <a:pt x="1040481" y="155923"/>
                </a:lnTo>
                <a:lnTo>
                  <a:pt x="1066675" y="147949"/>
                </a:lnTo>
                <a:lnTo>
                  <a:pt x="1087678" y="154946"/>
                </a:lnTo>
                <a:lnTo>
                  <a:pt x="1094413" y="165753"/>
                </a:lnTo>
                <a:lnTo>
                  <a:pt x="1118085" y="155619"/>
                </a:lnTo>
                <a:lnTo>
                  <a:pt x="1139973" y="167147"/>
                </a:lnTo>
                <a:lnTo>
                  <a:pt x="1174438" y="153216"/>
                </a:lnTo>
                <a:lnTo>
                  <a:pt x="1206882" y="156003"/>
                </a:lnTo>
                <a:lnTo>
                  <a:pt x="1201321" y="180805"/>
                </a:lnTo>
                <a:lnTo>
                  <a:pt x="1210658" y="199560"/>
                </a:lnTo>
                <a:lnTo>
                  <a:pt x="1209625" y="219258"/>
                </a:lnTo>
                <a:lnTo>
                  <a:pt x="1168537" y="247415"/>
                </a:lnTo>
                <a:lnTo>
                  <a:pt x="1117663" y="270651"/>
                </a:lnTo>
                <a:lnTo>
                  <a:pt x="1106700" y="286964"/>
                </a:lnTo>
                <a:lnTo>
                  <a:pt x="1025456" y="307577"/>
                </a:lnTo>
                <a:lnTo>
                  <a:pt x="993206" y="319050"/>
                </a:lnTo>
                <a:lnTo>
                  <a:pt x="976357" y="337661"/>
                </a:lnTo>
                <a:lnTo>
                  <a:pt x="983000" y="358248"/>
                </a:lnTo>
                <a:lnTo>
                  <a:pt x="958002" y="365754"/>
                </a:lnTo>
                <a:lnTo>
                  <a:pt x="933608" y="402695"/>
                </a:lnTo>
                <a:lnTo>
                  <a:pt x="904694" y="432632"/>
                </a:lnTo>
                <a:lnTo>
                  <a:pt x="899120" y="446512"/>
                </a:lnTo>
                <a:lnTo>
                  <a:pt x="883038" y="465873"/>
                </a:lnTo>
                <a:lnTo>
                  <a:pt x="867208" y="501243"/>
                </a:lnTo>
                <a:lnTo>
                  <a:pt x="885474" y="552409"/>
                </a:lnTo>
                <a:lnTo>
                  <a:pt x="898224" y="564997"/>
                </a:lnTo>
                <a:lnTo>
                  <a:pt x="922109" y="579466"/>
                </a:lnTo>
                <a:lnTo>
                  <a:pt x="884814" y="603129"/>
                </a:lnTo>
                <a:lnTo>
                  <a:pt x="863353" y="613508"/>
                </a:lnTo>
                <a:lnTo>
                  <a:pt x="850830" y="625731"/>
                </a:lnTo>
                <a:lnTo>
                  <a:pt x="850591" y="638680"/>
                </a:lnTo>
                <a:lnTo>
                  <a:pt x="838322" y="647191"/>
                </a:lnTo>
                <a:lnTo>
                  <a:pt x="835089" y="665776"/>
                </a:lnTo>
                <a:lnTo>
                  <a:pt x="816473" y="694396"/>
                </a:lnTo>
                <a:lnTo>
                  <a:pt x="829938" y="707326"/>
                </a:lnTo>
                <a:lnTo>
                  <a:pt x="810587" y="712942"/>
                </a:lnTo>
                <a:lnTo>
                  <a:pt x="779096" y="710623"/>
                </a:lnTo>
                <a:lnTo>
                  <a:pt x="737805" y="735242"/>
                </a:lnTo>
                <a:lnTo>
                  <a:pt x="725877" y="749363"/>
                </a:lnTo>
                <a:lnTo>
                  <a:pt x="715737" y="777206"/>
                </a:lnTo>
                <a:lnTo>
                  <a:pt x="694133" y="804723"/>
                </a:lnTo>
                <a:lnTo>
                  <a:pt x="670547" y="792546"/>
                </a:lnTo>
                <a:lnTo>
                  <a:pt x="651781" y="795308"/>
                </a:lnTo>
                <a:lnTo>
                  <a:pt x="643639" y="807973"/>
                </a:lnTo>
                <a:lnTo>
                  <a:pt x="631552" y="810394"/>
                </a:lnTo>
                <a:lnTo>
                  <a:pt x="617149" y="802665"/>
                </a:lnTo>
                <a:lnTo>
                  <a:pt x="585228" y="802186"/>
                </a:lnTo>
                <a:lnTo>
                  <a:pt x="568729" y="808914"/>
                </a:lnTo>
                <a:lnTo>
                  <a:pt x="528560" y="802257"/>
                </a:lnTo>
                <a:lnTo>
                  <a:pt x="472176" y="806347"/>
                </a:lnTo>
                <a:lnTo>
                  <a:pt x="450894" y="829659"/>
                </a:lnTo>
                <a:lnTo>
                  <a:pt x="429540" y="829620"/>
                </a:lnTo>
                <a:lnTo>
                  <a:pt x="398818" y="839902"/>
                </a:lnTo>
                <a:lnTo>
                  <a:pt x="368881" y="879740"/>
                </a:lnTo>
                <a:lnTo>
                  <a:pt x="357295" y="884664"/>
                </a:lnTo>
                <a:lnTo>
                  <a:pt x="338734" y="877114"/>
                </a:lnTo>
                <a:lnTo>
                  <a:pt x="327350" y="865342"/>
                </a:lnTo>
                <a:lnTo>
                  <a:pt x="315209" y="864504"/>
                </a:lnTo>
                <a:lnTo>
                  <a:pt x="295026" y="836132"/>
                </a:lnTo>
                <a:lnTo>
                  <a:pt x="297462" y="823517"/>
                </a:lnTo>
                <a:lnTo>
                  <a:pt x="281609" y="816180"/>
                </a:lnTo>
                <a:lnTo>
                  <a:pt x="280622" y="796181"/>
                </a:lnTo>
                <a:lnTo>
                  <a:pt x="261793" y="772626"/>
                </a:lnTo>
                <a:lnTo>
                  <a:pt x="219757" y="752276"/>
                </a:lnTo>
                <a:lnTo>
                  <a:pt x="183470" y="755444"/>
                </a:lnTo>
                <a:lnTo>
                  <a:pt x="178176" y="724535"/>
                </a:lnTo>
                <a:lnTo>
                  <a:pt x="171760" y="713186"/>
                </a:lnTo>
                <a:lnTo>
                  <a:pt x="181871" y="691760"/>
                </a:lnTo>
                <a:lnTo>
                  <a:pt x="198306" y="668281"/>
                </a:lnTo>
                <a:lnTo>
                  <a:pt x="213111" y="658367"/>
                </a:lnTo>
                <a:lnTo>
                  <a:pt x="222120" y="660633"/>
                </a:lnTo>
                <a:lnTo>
                  <a:pt x="228637" y="640686"/>
                </a:lnTo>
                <a:lnTo>
                  <a:pt x="214123" y="644172"/>
                </a:lnTo>
                <a:lnTo>
                  <a:pt x="191722" y="613745"/>
                </a:lnTo>
                <a:lnTo>
                  <a:pt x="197773" y="581346"/>
                </a:lnTo>
                <a:lnTo>
                  <a:pt x="219151" y="564370"/>
                </a:lnTo>
                <a:lnTo>
                  <a:pt x="227063" y="547808"/>
                </a:lnTo>
                <a:lnTo>
                  <a:pt x="219462" y="537343"/>
                </a:lnTo>
                <a:lnTo>
                  <a:pt x="199015" y="526921"/>
                </a:lnTo>
                <a:lnTo>
                  <a:pt x="192305" y="511899"/>
                </a:lnTo>
                <a:lnTo>
                  <a:pt x="193847" y="498849"/>
                </a:lnTo>
                <a:lnTo>
                  <a:pt x="174035" y="483625"/>
                </a:lnTo>
                <a:lnTo>
                  <a:pt x="190064" y="477795"/>
                </a:lnTo>
                <a:lnTo>
                  <a:pt x="220869" y="474425"/>
                </a:lnTo>
                <a:lnTo>
                  <a:pt x="231730" y="451443"/>
                </a:lnTo>
                <a:lnTo>
                  <a:pt x="233875" y="432218"/>
                </a:lnTo>
                <a:lnTo>
                  <a:pt x="221203" y="422434"/>
                </a:lnTo>
                <a:lnTo>
                  <a:pt x="221177" y="411051"/>
                </a:lnTo>
                <a:lnTo>
                  <a:pt x="234769" y="406971"/>
                </a:lnTo>
                <a:lnTo>
                  <a:pt x="243546" y="395243"/>
                </a:lnTo>
                <a:lnTo>
                  <a:pt x="237057" y="384856"/>
                </a:lnTo>
                <a:lnTo>
                  <a:pt x="242299" y="361201"/>
                </a:lnTo>
                <a:lnTo>
                  <a:pt x="235026" y="327130"/>
                </a:lnTo>
                <a:lnTo>
                  <a:pt x="244581" y="307965"/>
                </a:lnTo>
                <a:lnTo>
                  <a:pt x="284994" y="278705"/>
                </a:lnTo>
                <a:lnTo>
                  <a:pt x="300799" y="255954"/>
                </a:lnTo>
                <a:lnTo>
                  <a:pt x="284599" y="244146"/>
                </a:lnTo>
                <a:lnTo>
                  <a:pt x="266072" y="243150"/>
                </a:lnTo>
                <a:lnTo>
                  <a:pt x="269005" y="221152"/>
                </a:lnTo>
                <a:lnTo>
                  <a:pt x="261127" y="212698"/>
                </a:lnTo>
                <a:lnTo>
                  <a:pt x="215073" y="212335"/>
                </a:lnTo>
                <a:lnTo>
                  <a:pt x="191804" y="224926"/>
                </a:lnTo>
                <a:lnTo>
                  <a:pt x="166805" y="226429"/>
                </a:lnTo>
                <a:lnTo>
                  <a:pt x="154233" y="217384"/>
                </a:lnTo>
                <a:lnTo>
                  <a:pt x="126689" y="222047"/>
                </a:lnTo>
                <a:lnTo>
                  <a:pt x="113028" y="228857"/>
                </a:lnTo>
                <a:lnTo>
                  <a:pt x="109785" y="208690"/>
                </a:lnTo>
                <a:lnTo>
                  <a:pt x="93488" y="196895"/>
                </a:lnTo>
                <a:lnTo>
                  <a:pt x="74560" y="197661"/>
                </a:lnTo>
                <a:lnTo>
                  <a:pt x="42077" y="221537"/>
                </a:lnTo>
                <a:lnTo>
                  <a:pt x="38706" y="193675"/>
                </a:lnTo>
                <a:lnTo>
                  <a:pt x="46320" y="191713"/>
                </a:lnTo>
                <a:lnTo>
                  <a:pt x="46426" y="167415"/>
                </a:lnTo>
                <a:lnTo>
                  <a:pt x="37813" y="151250"/>
                </a:lnTo>
                <a:lnTo>
                  <a:pt x="50897" y="137541"/>
                </a:lnTo>
                <a:lnTo>
                  <a:pt x="43159" y="129160"/>
                </a:lnTo>
                <a:lnTo>
                  <a:pt x="29890" y="144282"/>
                </a:lnTo>
                <a:lnTo>
                  <a:pt x="21439" y="138608"/>
                </a:lnTo>
                <a:lnTo>
                  <a:pt x="34579" y="116466"/>
                </a:lnTo>
                <a:lnTo>
                  <a:pt x="17854" y="112212"/>
                </a:lnTo>
                <a:lnTo>
                  <a:pt x="16708" y="101053"/>
                </a:lnTo>
                <a:lnTo>
                  <a:pt x="0" y="98994"/>
                </a:lnTo>
                <a:lnTo>
                  <a:pt x="8292" y="72571"/>
                </a:lnTo>
                <a:lnTo>
                  <a:pt x="34676" y="63339"/>
                </a:lnTo>
                <a:lnTo>
                  <a:pt x="45754" y="51389"/>
                </a:lnTo>
                <a:lnTo>
                  <a:pt x="73931" y="52946"/>
                </a:lnTo>
                <a:lnTo>
                  <a:pt x="96041" y="42447"/>
                </a:lnTo>
                <a:lnTo>
                  <a:pt x="94224" y="28273"/>
                </a:lnTo>
                <a:lnTo>
                  <a:pt x="119567" y="7038"/>
                </a:lnTo>
                <a:close/>
              </a:path>
            </a:pathLst>
          </a:cu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58" name="ee4p_9_1_43215">
            <a:extLst>
              <a:ext uri="{FF2B5EF4-FFF2-40B4-BE49-F238E27FC236}">
                <a16:creationId xmlns:a16="http://schemas.microsoft.com/office/drawing/2014/main" id="{D4254517-130A-4CF6-A5CE-5B9C275FF530}"/>
              </a:ext>
            </a:extLst>
          </p:cNvPr>
          <p:cNvSpPr>
            <a:spLocks noChangeAspect="1"/>
          </p:cNvSpPr>
          <p:nvPr>
            <p:custDataLst>
              <p:tags r:id="rId11"/>
            </p:custDataLst>
          </p:nvPr>
        </p:nvSpPr>
        <p:spPr bwMode="gray">
          <a:xfrm>
            <a:off x="6197042" y="4575460"/>
            <a:ext cx="330475" cy="248726"/>
          </a:xfrm>
          <a:custGeom>
            <a:avLst/>
            <a:gdLst/>
            <a:ahLst/>
            <a:cxnLst/>
            <a:rect l="0" t="0" r="0" b="0"/>
            <a:pathLst>
              <a:path w="370001" h="251878">
                <a:moveTo>
                  <a:pt x="336242" y="93200"/>
                </a:moveTo>
                <a:lnTo>
                  <a:pt x="345366" y="97301"/>
                </a:lnTo>
                <a:lnTo>
                  <a:pt x="356094" y="126242"/>
                </a:lnTo>
                <a:lnTo>
                  <a:pt x="370000" y="137125"/>
                </a:lnTo>
                <a:lnTo>
                  <a:pt x="347531" y="172475"/>
                </a:lnTo>
                <a:lnTo>
                  <a:pt x="324076" y="174719"/>
                </a:lnTo>
                <a:lnTo>
                  <a:pt x="308642" y="201907"/>
                </a:lnTo>
                <a:lnTo>
                  <a:pt x="323210" y="225549"/>
                </a:lnTo>
                <a:lnTo>
                  <a:pt x="316611" y="246057"/>
                </a:lnTo>
                <a:lnTo>
                  <a:pt x="283771" y="251877"/>
                </a:lnTo>
                <a:lnTo>
                  <a:pt x="278699" y="239599"/>
                </a:lnTo>
                <a:lnTo>
                  <a:pt x="246793" y="219199"/>
                </a:lnTo>
                <a:lnTo>
                  <a:pt x="224068" y="215484"/>
                </a:lnTo>
                <a:lnTo>
                  <a:pt x="219888" y="189563"/>
                </a:lnTo>
                <a:lnTo>
                  <a:pt x="183820" y="196834"/>
                </a:lnTo>
                <a:lnTo>
                  <a:pt x="159538" y="194402"/>
                </a:lnTo>
                <a:lnTo>
                  <a:pt x="162127" y="180945"/>
                </a:lnTo>
                <a:lnTo>
                  <a:pt x="153878" y="154195"/>
                </a:lnTo>
                <a:lnTo>
                  <a:pt x="143376" y="143545"/>
                </a:lnTo>
                <a:lnTo>
                  <a:pt x="109109" y="146515"/>
                </a:lnTo>
                <a:lnTo>
                  <a:pt x="102637" y="125926"/>
                </a:lnTo>
                <a:lnTo>
                  <a:pt x="71649" y="122056"/>
                </a:lnTo>
                <a:lnTo>
                  <a:pt x="58527" y="89468"/>
                </a:lnTo>
                <a:lnTo>
                  <a:pt x="31363" y="99748"/>
                </a:lnTo>
                <a:lnTo>
                  <a:pt x="8605" y="85749"/>
                </a:lnTo>
                <a:lnTo>
                  <a:pt x="0" y="50409"/>
                </a:lnTo>
                <a:lnTo>
                  <a:pt x="51242" y="23200"/>
                </a:lnTo>
                <a:lnTo>
                  <a:pt x="79460" y="14680"/>
                </a:lnTo>
                <a:lnTo>
                  <a:pt x="85280" y="30527"/>
                </a:lnTo>
                <a:lnTo>
                  <a:pt x="101208" y="22728"/>
                </a:lnTo>
                <a:lnTo>
                  <a:pt x="136705" y="34199"/>
                </a:lnTo>
                <a:lnTo>
                  <a:pt x="163410" y="17232"/>
                </a:lnTo>
                <a:lnTo>
                  <a:pt x="164266" y="13833"/>
                </a:lnTo>
                <a:lnTo>
                  <a:pt x="192765" y="0"/>
                </a:lnTo>
                <a:lnTo>
                  <a:pt x="202767" y="7769"/>
                </a:lnTo>
                <a:lnTo>
                  <a:pt x="244324" y="11433"/>
                </a:lnTo>
                <a:lnTo>
                  <a:pt x="260778" y="22697"/>
                </a:lnTo>
                <a:lnTo>
                  <a:pt x="320243" y="43341"/>
                </a:lnTo>
                <a:lnTo>
                  <a:pt x="305296" y="89629"/>
                </a:lnTo>
                <a:close/>
              </a:path>
            </a:pathLst>
          </a:custGeom>
          <a:solidFill>
            <a:schemeClr val="bg2"/>
          </a:solidFill>
          <a:ln w="9525" cap="flat" cmpd="sng" algn="ctr">
            <a:solidFill>
              <a:schemeClr val="bg1"/>
            </a:solidFill>
            <a:prstDash val="solid"/>
          </a:ln>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7358380" algn="l"/>
              </a:tabLst>
            </a:pPr>
            <a:endParaRPr lang="en-US" sz="1500" dirty="0">
              <a:solidFill>
                <a:schemeClr val="accent3"/>
              </a:solidFill>
            </a:endParaRPr>
          </a:p>
        </p:txBody>
      </p:sp>
      <p:sp>
        <p:nvSpPr>
          <p:cNvPr id="59" name="ee4p_16_1_43215">
            <a:extLst>
              <a:ext uri="{FF2B5EF4-FFF2-40B4-BE49-F238E27FC236}">
                <a16:creationId xmlns:a16="http://schemas.microsoft.com/office/drawing/2014/main" id="{39CC1995-76A9-420B-B0C5-74E35ACEC83A}"/>
              </a:ext>
            </a:extLst>
          </p:cNvPr>
          <p:cNvSpPr>
            <a:spLocks noChangeAspect="1"/>
          </p:cNvSpPr>
          <p:nvPr>
            <p:custDataLst>
              <p:tags r:id="rId12"/>
            </p:custDataLst>
          </p:nvPr>
        </p:nvSpPr>
        <p:spPr bwMode="gray">
          <a:xfrm>
            <a:off x="7662716" y="1860137"/>
            <a:ext cx="1030919" cy="1594702"/>
          </a:xfrm>
          <a:custGeom>
            <a:avLst/>
            <a:gdLst/>
            <a:ahLst/>
            <a:cxnLst/>
            <a:rect l="l" t="t" r="r" b="b"/>
            <a:pathLst>
              <a:path w="1154219" h="1614909">
                <a:moveTo>
                  <a:pt x="305006" y="1555469"/>
                </a:moveTo>
                <a:lnTo>
                  <a:pt x="309400" y="1561336"/>
                </a:lnTo>
                <a:lnTo>
                  <a:pt x="307062" y="1564125"/>
                </a:lnTo>
                <a:lnTo>
                  <a:pt x="300351" y="1588320"/>
                </a:lnTo>
                <a:lnTo>
                  <a:pt x="262997" y="1587406"/>
                </a:lnTo>
                <a:lnTo>
                  <a:pt x="271250" y="1560468"/>
                </a:lnTo>
                <a:close/>
                <a:moveTo>
                  <a:pt x="25979" y="1529949"/>
                </a:moveTo>
                <a:lnTo>
                  <a:pt x="51543" y="1539924"/>
                </a:lnTo>
                <a:lnTo>
                  <a:pt x="56321" y="1559878"/>
                </a:lnTo>
                <a:lnTo>
                  <a:pt x="37336" y="1561034"/>
                </a:lnTo>
                <a:lnTo>
                  <a:pt x="29545" y="1577749"/>
                </a:lnTo>
                <a:lnTo>
                  <a:pt x="7187" y="1573389"/>
                </a:lnTo>
                <a:lnTo>
                  <a:pt x="0" y="1553967"/>
                </a:lnTo>
                <a:lnTo>
                  <a:pt x="23108" y="1549162"/>
                </a:lnTo>
                <a:close/>
                <a:moveTo>
                  <a:pt x="769686" y="0"/>
                </a:moveTo>
                <a:lnTo>
                  <a:pt x="805668" y="10495"/>
                </a:lnTo>
                <a:lnTo>
                  <a:pt x="846308" y="44271"/>
                </a:lnTo>
                <a:lnTo>
                  <a:pt x="916925" y="65464"/>
                </a:lnTo>
                <a:lnTo>
                  <a:pt x="936533" y="102699"/>
                </a:lnTo>
                <a:lnTo>
                  <a:pt x="887662" y="146063"/>
                </a:lnTo>
                <a:lnTo>
                  <a:pt x="897122" y="175382"/>
                </a:lnTo>
                <a:lnTo>
                  <a:pt x="855137" y="196025"/>
                </a:lnTo>
                <a:lnTo>
                  <a:pt x="884649" y="206319"/>
                </a:lnTo>
                <a:lnTo>
                  <a:pt x="849152" y="261874"/>
                </a:lnTo>
                <a:lnTo>
                  <a:pt x="869687" y="319362"/>
                </a:lnTo>
                <a:lnTo>
                  <a:pt x="935575" y="339654"/>
                </a:lnTo>
                <a:lnTo>
                  <a:pt x="967731" y="384743"/>
                </a:lnTo>
                <a:lnTo>
                  <a:pt x="1002336" y="406145"/>
                </a:lnTo>
                <a:lnTo>
                  <a:pt x="993935" y="431053"/>
                </a:lnTo>
                <a:lnTo>
                  <a:pt x="911016" y="517306"/>
                </a:lnTo>
                <a:lnTo>
                  <a:pt x="915440" y="548989"/>
                </a:lnTo>
                <a:lnTo>
                  <a:pt x="954202" y="598427"/>
                </a:lnTo>
                <a:lnTo>
                  <a:pt x="972580" y="635183"/>
                </a:lnTo>
                <a:lnTo>
                  <a:pt x="993266" y="657844"/>
                </a:lnTo>
                <a:lnTo>
                  <a:pt x="1007312" y="695009"/>
                </a:lnTo>
                <a:lnTo>
                  <a:pt x="1002344" y="726657"/>
                </a:lnTo>
                <a:lnTo>
                  <a:pt x="974858" y="762231"/>
                </a:lnTo>
                <a:lnTo>
                  <a:pt x="987090" y="802927"/>
                </a:lnTo>
                <a:lnTo>
                  <a:pt x="964595" y="827279"/>
                </a:lnTo>
                <a:lnTo>
                  <a:pt x="975495" y="869785"/>
                </a:lnTo>
                <a:lnTo>
                  <a:pt x="1004843" y="869300"/>
                </a:lnTo>
                <a:lnTo>
                  <a:pt x="1013833" y="891802"/>
                </a:lnTo>
                <a:lnTo>
                  <a:pt x="999700" y="901457"/>
                </a:lnTo>
                <a:lnTo>
                  <a:pt x="1005031" y="930292"/>
                </a:lnTo>
                <a:lnTo>
                  <a:pt x="1047371" y="951990"/>
                </a:lnTo>
                <a:lnTo>
                  <a:pt x="1051781" y="985041"/>
                </a:lnTo>
                <a:lnTo>
                  <a:pt x="1025887" y="1020034"/>
                </a:lnTo>
                <a:lnTo>
                  <a:pt x="997970" y="1030011"/>
                </a:lnTo>
                <a:lnTo>
                  <a:pt x="1047522" y="1074565"/>
                </a:lnTo>
                <a:lnTo>
                  <a:pt x="1076907" y="1083960"/>
                </a:lnTo>
                <a:lnTo>
                  <a:pt x="1120658" y="1112591"/>
                </a:lnTo>
                <a:lnTo>
                  <a:pt x="1123128" y="1128191"/>
                </a:lnTo>
                <a:lnTo>
                  <a:pt x="1154219" y="1159540"/>
                </a:lnTo>
                <a:lnTo>
                  <a:pt x="1118893" y="1221489"/>
                </a:lnTo>
                <a:lnTo>
                  <a:pt x="952607" y="1376306"/>
                </a:lnTo>
                <a:lnTo>
                  <a:pt x="927617" y="1404468"/>
                </a:lnTo>
                <a:lnTo>
                  <a:pt x="886423" y="1426441"/>
                </a:lnTo>
                <a:lnTo>
                  <a:pt x="870544" y="1451734"/>
                </a:lnTo>
                <a:lnTo>
                  <a:pt x="857927" y="1450617"/>
                </a:lnTo>
                <a:lnTo>
                  <a:pt x="796400" y="1501002"/>
                </a:lnTo>
                <a:lnTo>
                  <a:pt x="782405" y="1516796"/>
                </a:lnTo>
                <a:lnTo>
                  <a:pt x="757067" y="1520468"/>
                </a:lnTo>
                <a:lnTo>
                  <a:pt x="714895" y="1509995"/>
                </a:lnTo>
                <a:lnTo>
                  <a:pt x="702903" y="1522155"/>
                </a:lnTo>
                <a:lnTo>
                  <a:pt x="670118" y="1523175"/>
                </a:lnTo>
                <a:lnTo>
                  <a:pt x="626785" y="1532670"/>
                </a:lnTo>
                <a:lnTo>
                  <a:pt x="558732" y="1557828"/>
                </a:lnTo>
                <a:lnTo>
                  <a:pt x="550597" y="1552007"/>
                </a:lnTo>
                <a:lnTo>
                  <a:pt x="513304" y="1567486"/>
                </a:lnTo>
                <a:lnTo>
                  <a:pt x="482173" y="1572598"/>
                </a:lnTo>
                <a:lnTo>
                  <a:pt x="465035" y="1591473"/>
                </a:lnTo>
                <a:lnTo>
                  <a:pt x="419407" y="1586100"/>
                </a:lnTo>
                <a:lnTo>
                  <a:pt x="393479" y="1597423"/>
                </a:lnTo>
                <a:lnTo>
                  <a:pt x="359687" y="1598933"/>
                </a:lnTo>
                <a:lnTo>
                  <a:pt x="341728" y="1614032"/>
                </a:lnTo>
                <a:lnTo>
                  <a:pt x="316108" y="1614909"/>
                </a:lnTo>
                <a:lnTo>
                  <a:pt x="312277" y="1602044"/>
                </a:lnTo>
                <a:lnTo>
                  <a:pt x="325592" y="1582953"/>
                </a:lnTo>
                <a:lnTo>
                  <a:pt x="309400" y="1561336"/>
                </a:lnTo>
                <a:lnTo>
                  <a:pt x="321781" y="1546566"/>
                </a:lnTo>
                <a:lnTo>
                  <a:pt x="310074" y="1554718"/>
                </a:lnTo>
                <a:lnTo>
                  <a:pt x="305006" y="1555469"/>
                </a:lnTo>
                <a:lnTo>
                  <a:pt x="303036" y="1552839"/>
                </a:lnTo>
                <a:lnTo>
                  <a:pt x="272000" y="1549576"/>
                </a:lnTo>
                <a:lnTo>
                  <a:pt x="223078" y="1512142"/>
                </a:lnTo>
                <a:lnTo>
                  <a:pt x="162404" y="1490088"/>
                </a:lnTo>
                <a:lnTo>
                  <a:pt x="171709" y="1479653"/>
                </a:lnTo>
                <a:lnTo>
                  <a:pt x="147215" y="1460620"/>
                </a:lnTo>
                <a:lnTo>
                  <a:pt x="171499" y="1437120"/>
                </a:lnTo>
                <a:lnTo>
                  <a:pt x="181511" y="1385103"/>
                </a:lnTo>
                <a:lnTo>
                  <a:pt x="178137" y="1356313"/>
                </a:lnTo>
                <a:lnTo>
                  <a:pt x="183209" y="1332943"/>
                </a:lnTo>
                <a:lnTo>
                  <a:pt x="170344" y="1303025"/>
                </a:lnTo>
                <a:lnTo>
                  <a:pt x="156892" y="1297235"/>
                </a:lnTo>
                <a:lnTo>
                  <a:pt x="163624" y="1240104"/>
                </a:lnTo>
                <a:lnTo>
                  <a:pt x="142912" y="1225131"/>
                </a:lnTo>
                <a:lnTo>
                  <a:pt x="149221" y="1206999"/>
                </a:lnTo>
                <a:lnTo>
                  <a:pt x="141629" y="1176138"/>
                </a:lnTo>
                <a:lnTo>
                  <a:pt x="164335" y="1164832"/>
                </a:lnTo>
                <a:lnTo>
                  <a:pt x="189129" y="1133108"/>
                </a:lnTo>
                <a:lnTo>
                  <a:pt x="179892" y="1111912"/>
                </a:lnTo>
                <a:lnTo>
                  <a:pt x="208302" y="1105552"/>
                </a:lnTo>
                <a:lnTo>
                  <a:pt x="235700" y="1110907"/>
                </a:lnTo>
                <a:lnTo>
                  <a:pt x="264631" y="1094957"/>
                </a:lnTo>
                <a:lnTo>
                  <a:pt x="246353" y="1076844"/>
                </a:lnTo>
                <a:lnTo>
                  <a:pt x="266000" y="1070130"/>
                </a:lnTo>
                <a:lnTo>
                  <a:pt x="293380" y="1018476"/>
                </a:lnTo>
                <a:lnTo>
                  <a:pt x="362696" y="1001841"/>
                </a:lnTo>
                <a:lnTo>
                  <a:pt x="422999" y="928368"/>
                </a:lnTo>
                <a:lnTo>
                  <a:pt x="456488" y="906341"/>
                </a:lnTo>
                <a:lnTo>
                  <a:pt x="459492" y="889088"/>
                </a:lnTo>
                <a:lnTo>
                  <a:pt x="487677" y="857293"/>
                </a:lnTo>
                <a:lnTo>
                  <a:pt x="557367" y="837243"/>
                </a:lnTo>
                <a:lnTo>
                  <a:pt x="539086" y="816827"/>
                </a:lnTo>
                <a:lnTo>
                  <a:pt x="550090" y="770027"/>
                </a:lnTo>
                <a:lnTo>
                  <a:pt x="521667" y="738524"/>
                </a:lnTo>
                <a:lnTo>
                  <a:pt x="485685" y="732591"/>
                </a:lnTo>
                <a:lnTo>
                  <a:pt x="473268" y="719984"/>
                </a:lnTo>
                <a:lnTo>
                  <a:pt x="435133" y="707611"/>
                </a:lnTo>
                <a:lnTo>
                  <a:pt x="412209" y="652346"/>
                </a:lnTo>
                <a:lnTo>
                  <a:pt x="385831" y="629845"/>
                </a:lnTo>
                <a:lnTo>
                  <a:pt x="386278" y="605093"/>
                </a:lnTo>
                <a:lnTo>
                  <a:pt x="406252" y="588628"/>
                </a:lnTo>
                <a:lnTo>
                  <a:pt x="408181" y="556781"/>
                </a:lnTo>
                <a:lnTo>
                  <a:pt x="419655" y="546027"/>
                </a:lnTo>
                <a:lnTo>
                  <a:pt x="377014" y="489330"/>
                </a:lnTo>
                <a:lnTo>
                  <a:pt x="393268" y="470488"/>
                </a:lnTo>
                <a:lnTo>
                  <a:pt x="397344" y="446572"/>
                </a:lnTo>
                <a:lnTo>
                  <a:pt x="362583" y="434590"/>
                </a:lnTo>
                <a:lnTo>
                  <a:pt x="376088" y="420849"/>
                </a:lnTo>
                <a:lnTo>
                  <a:pt x="371194" y="374625"/>
                </a:lnTo>
                <a:lnTo>
                  <a:pt x="386058" y="358292"/>
                </a:lnTo>
                <a:lnTo>
                  <a:pt x="360967" y="344122"/>
                </a:lnTo>
                <a:lnTo>
                  <a:pt x="330145" y="301994"/>
                </a:lnTo>
                <a:lnTo>
                  <a:pt x="260286" y="271542"/>
                </a:lnTo>
                <a:lnTo>
                  <a:pt x="230878" y="271991"/>
                </a:lnTo>
                <a:lnTo>
                  <a:pt x="215855" y="254359"/>
                </a:lnTo>
                <a:lnTo>
                  <a:pt x="170337" y="235367"/>
                </a:lnTo>
                <a:lnTo>
                  <a:pt x="167239" y="223948"/>
                </a:lnTo>
                <a:lnTo>
                  <a:pt x="86166" y="174013"/>
                </a:lnTo>
                <a:lnTo>
                  <a:pt x="156820" y="131142"/>
                </a:lnTo>
                <a:lnTo>
                  <a:pt x="190518" y="137161"/>
                </a:lnTo>
                <a:lnTo>
                  <a:pt x="259576" y="213428"/>
                </a:lnTo>
                <a:lnTo>
                  <a:pt x="304090" y="236995"/>
                </a:lnTo>
                <a:lnTo>
                  <a:pt x="339578" y="246935"/>
                </a:lnTo>
                <a:lnTo>
                  <a:pt x="388534" y="233966"/>
                </a:lnTo>
                <a:lnTo>
                  <a:pt x="418512" y="213443"/>
                </a:lnTo>
                <a:lnTo>
                  <a:pt x="444408" y="230322"/>
                </a:lnTo>
                <a:lnTo>
                  <a:pt x="513185" y="248766"/>
                </a:lnTo>
                <a:lnTo>
                  <a:pt x="530647" y="220182"/>
                </a:lnTo>
                <a:lnTo>
                  <a:pt x="589002" y="177439"/>
                </a:lnTo>
                <a:lnTo>
                  <a:pt x="584091" y="149438"/>
                </a:lnTo>
                <a:lnTo>
                  <a:pt x="593625" y="112520"/>
                </a:lnTo>
                <a:lnTo>
                  <a:pt x="626774" y="58019"/>
                </a:lnTo>
                <a:lnTo>
                  <a:pt x="661114" y="22418"/>
                </a:lnTo>
                <a:lnTo>
                  <a:pt x="739513" y="20741"/>
                </a:lnTo>
                <a:close/>
              </a:path>
            </a:pathLst>
          </a:custGeom>
          <a:solidFill>
            <a:schemeClr val="bg2"/>
          </a:solidFill>
          <a:ln w="9525" cap="flat" cmpd="sng" algn="ctr">
            <a:solidFill>
              <a:schemeClr val="bg1"/>
            </a:solidFill>
            <a:prstDash val="solid"/>
          </a:ln>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60" name="ee4p_19_1_43215">
            <a:extLst>
              <a:ext uri="{FF2B5EF4-FFF2-40B4-BE49-F238E27FC236}">
                <a16:creationId xmlns:a16="http://schemas.microsoft.com/office/drawing/2014/main" id="{662A3A0D-6BF5-453F-BFEE-A4219EC8FE5D}"/>
              </a:ext>
            </a:extLst>
          </p:cNvPr>
          <p:cNvSpPr>
            <a:spLocks noChangeAspect="1"/>
          </p:cNvSpPr>
          <p:nvPr>
            <p:custDataLst>
              <p:tags r:id="rId13"/>
            </p:custDataLst>
          </p:nvPr>
        </p:nvSpPr>
        <p:spPr bwMode="gray">
          <a:xfrm>
            <a:off x="5073381" y="4069736"/>
            <a:ext cx="384437" cy="507335"/>
          </a:xfrm>
          <a:custGeom>
            <a:avLst/>
            <a:gdLst/>
            <a:ahLst/>
            <a:cxnLst/>
            <a:rect l="0" t="0" r="0" b="0"/>
            <a:pathLst>
              <a:path w="430416" h="513764">
                <a:moveTo>
                  <a:pt x="309596" y="40644"/>
                </a:moveTo>
                <a:lnTo>
                  <a:pt x="295116" y="49189"/>
                </a:lnTo>
                <a:lnTo>
                  <a:pt x="291587" y="65930"/>
                </a:lnTo>
                <a:lnTo>
                  <a:pt x="262185" y="89347"/>
                </a:lnTo>
                <a:lnTo>
                  <a:pt x="261563" y="103568"/>
                </a:lnTo>
                <a:lnTo>
                  <a:pt x="237032" y="110554"/>
                </a:lnTo>
                <a:lnTo>
                  <a:pt x="221956" y="124441"/>
                </a:lnTo>
                <a:lnTo>
                  <a:pt x="251204" y="154379"/>
                </a:lnTo>
                <a:lnTo>
                  <a:pt x="279611" y="166477"/>
                </a:lnTo>
                <a:lnTo>
                  <a:pt x="301507" y="163853"/>
                </a:lnTo>
                <a:lnTo>
                  <a:pt x="329165" y="128439"/>
                </a:lnTo>
                <a:lnTo>
                  <a:pt x="346345" y="137153"/>
                </a:lnTo>
                <a:lnTo>
                  <a:pt x="352237" y="153602"/>
                </a:lnTo>
                <a:lnTo>
                  <a:pt x="370171" y="162912"/>
                </a:lnTo>
                <a:lnTo>
                  <a:pt x="370777" y="178431"/>
                </a:lnTo>
                <a:lnTo>
                  <a:pt x="405201" y="169691"/>
                </a:lnTo>
                <a:lnTo>
                  <a:pt x="394723" y="193714"/>
                </a:lnTo>
                <a:lnTo>
                  <a:pt x="407209" y="202623"/>
                </a:lnTo>
                <a:lnTo>
                  <a:pt x="410340" y="231827"/>
                </a:lnTo>
                <a:lnTo>
                  <a:pt x="423098" y="241529"/>
                </a:lnTo>
                <a:lnTo>
                  <a:pt x="421396" y="278093"/>
                </a:lnTo>
                <a:lnTo>
                  <a:pt x="430415" y="318851"/>
                </a:lnTo>
                <a:lnTo>
                  <a:pt x="408928" y="364139"/>
                </a:lnTo>
                <a:lnTo>
                  <a:pt x="412299" y="372314"/>
                </a:lnTo>
                <a:lnTo>
                  <a:pt x="387045" y="400831"/>
                </a:lnTo>
                <a:lnTo>
                  <a:pt x="396261" y="422792"/>
                </a:lnTo>
                <a:lnTo>
                  <a:pt x="362295" y="417369"/>
                </a:lnTo>
                <a:lnTo>
                  <a:pt x="335009" y="426639"/>
                </a:lnTo>
                <a:lnTo>
                  <a:pt x="291502" y="428895"/>
                </a:lnTo>
                <a:lnTo>
                  <a:pt x="272860" y="434825"/>
                </a:lnTo>
                <a:lnTo>
                  <a:pt x="277624" y="446482"/>
                </a:lnTo>
                <a:lnTo>
                  <a:pt x="250414" y="454576"/>
                </a:lnTo>
                <a:lnTo>
                  <a:pt x="231476" y="470057"/>
                </a:lnTo>
                <a:lnTo>
                  <a:pt x="208552" y="478373"/>
                </a:lnTo>
                <a:lnTo>
                  <a:pt x="168442" y="500929"/>
                </a:lnTo>
                <a:lnTo>
                  <a:pt x="153759" y="498041"/>
                </a:lnTo>
                <a:lnTo>
                  <a:pt x="107552" y="513763"/>
                </a:lnTo>
                <a:lnTo>
                  <a:pt x="96781" y="506634"/>
                </a:lnTo>
                <a:lnTo>
                  <a:pt x="73085" y="513719"/>
                </a:lnTo>
                <a:lnTo>
                  <a:pt x="48124" y="482136"/>
                </a:lnTo>
                <a:lnTo>
                  <a:pt x="10149" y="460272"/>
                </a:lnTo>
                <a:lnTo>
                  <a:pt x="32863" y="430002"/>
                </a:lnTo>
                <a:lnTo>
                  <a:pt x="0" y="432753"/>
                </a:lnTo>
                <a:lnTo>
                  <a:pt x="9210" y="414834"/>
                </a:lnTo>
                <a:lnTo>
                  <a:pt x="27028" y="407605"/>
                </a:lnTo>
                <a:lnTo>
                  <a:pt x="62657" y="413718"/>
                </a:lnTo>
                <a:lnTo>
                  <a:pt x="57224" y="390011"/>
                </a:lnTo>
                <a:lnTo>
                  <a:pt x="74157" y="382651"/>
                </a:lnTo>
                <a:lnTo>
                  <a:pt x="72409" y="359734"/>
                </a:lnTo>
                <a:lnTo>
                  <a:pt x="106820" y="325898"/>
                </a:lnTo>
                <a:lnTo>
                  <a:pt x="101303" y="312682"/>
                </a:lnTo>
                <a:lnTo>
                  <a:pt x="115337" y="294926"/>
                </a:lnTo>
                <a:lnTo>
                  <a:pt x="142016" y="292871"/>
                </a:lnTo>
                <a:lnTo>
                  <a:pt x="143710" y="279619"/>
                </a:lnTo>
                <a:lnTo>
                  <a:pt x="91508" y="286045"/>
                </a:lnTo>
                <a:lnTo>
                  <a:pt x="32414" y="261624"/>
                </a:lnTo>
                <a:lnTo>
                  <a:pt x="31575" y="239568"/>
                </a:lnTo>
                <a:lnTo>
                  <a:pt x="52739" y="236133"/>
                </a:lnTo>
                <a:lnTo>
                  <a:pt x="53717" y="214503"/>
                </a:lnTo>
                <a:lnTo>
                  <a:pt x="76802" y="211406"/>
                </a:lnTo>
                <a:lnTo>
                  <a:pt x="75236" y="196488"/>
                </a:lnTo>
                <a:lnTo>
                  <a:pt x="46414" y="170553"/>
                </a:lnTo>
                <a:lnTo>
                  <a:pt x="44383" y="142616"/>
                </a:lnTo>
                <a:lnTo>
                  <a:pt x="59849" y="140218"/>
                </a:lnTo>
                <a:lnTo>
                  <a:pt x="138921" y="143882"/>
                </a:lnTo>
                <a:lnTo>
                  <a:pt x="157843" y="149643"/>
                </a:lnTo>
                <a:lnTo>
                  <a:pt x="172415" y="135193"/>
                </a:lnTo>
                <a:lnTo>
                  <a:pt x="209832" y="119509"/>
                </a:lnTo>
                <a:lnTo>
                  <a:pt x="219489" y="97931"/>
                </a:lnTo>
                <a:lnTo>
                  <a:pt x="171871" y="100706"/>
                </a:lnTo>
                <a:lnTo>
                  <a:pt x="161302" y="91423"/>
                </a:lnTo>
                <a:lnTo>
                  <a:pt x="184088" y="71994"/>
                </a:lnTo>
                <a:lnTo>
                  <a:pt x="206705" y="40500"/>
                </a:lnTo>
                <a:lnTo>
                  <a:pt x="273323" y="12431"/>
                </a:lnTo>
                <a:lnTo>
                  <a:pt x="297335" y="10151"/>
                </a:lnTo>
                <a:lnTo>
                  <a:pt x="306069" y="0"/>
                </a:lnTo>
                <a:lnTo>
                  <a:pt x="338768" y="21456"/>
                </a:lnTo>
                <a:close/>
              </a:path>
            </a:pathLst>
          </a:custGeom>
          <a:solidFill>
            <a:schemeClr val="bg2"/>
          </a:solidFill>
          <a:ln w="9525" cap="flat" cmpd="sng" algn="ctr">
            <a:solidFill>
              <a:schemeClr val="bg1"/>
            </a:solidFill>
            <a:prstDash val="solid"/>
          </a:ln>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7358380" algn="l"/>
              </a:tabLst>
            </a:pPr>
            <a:endParaRPr lang="en-US" sz="1500" dirty="0">
              <a:solidFill>
                <a:schemeClr val="accent3"/>
              </a:solidFill>
            </a:endParaRPr>
          </a:p>
        </p:txBody>
      </p:sp>
      <p:sp>
        <p:nvSpPr>
          <p:cNvPr id="61" name="ee4p_22_1_43215">
            <a:extLst>
              <a:ext uri="{FF2B5EF4-FFF2-40B4-BE49-F238E27FC236}">
                <a16:creationId xmlns:a16="http://schemas.microsoft.com/office/drawing/2014/main" id="{DEC4E8B6-787A-4219-BF92-B144D730598D}"/>
              </a:ext>
            </a:extLst>
          </p:cNvPr>
          <p:cNvSpPr>
            <a:spLocks noChangeAspect="1"/>
          </p:cNvSpPr>
          <p:nvPr>
            <p:custDataLst>
              <p:tags r:id="rId14"/>
            </p:custDataLst>
          </p:nvPr>
        </p:nvSpPr>
        <p:spPr bwMode="gray">
          <a:xfrm>
            <a:off x="6406513" y="1670167"/>
            <a:ext cx="2253005" cy="2044521"/>
          </a:xfrm>
          <a:custGeom>
            <a:avLst/>
            <a:gdLst/>
            <a:ahLst/>
            <a:cxnLst/>
            <a:rect l="l" t="t" r="r" b="b"/>
            <a:pathLst>
              <a:path w="2522468" h="2070429">
                <a:moveTo>
                  <a:pt x="70578" y="1774245"/>
                </a:moveTo>
                <a:lnTo>
                  <a:pt x="57665" y="1798485"/>
                </a:lnTo>
                <a:lnTo>
                  <a:pt x="39148" y="1784573"/>
                </a:lnTo>
                <a:close/>
                <a:moveTo>
                  <a:pt x="68356" y="1685406"/>
                </a:moveTo>
                <a:lnTo>
                  <a:pt x="71814" y="1712583"/>
                </a:lnTo>
                <a:lnTo>
                  <a:pt x="51195" y="1718081"/>
                </a:lnTo>
                <a:lnTo>
                  <a:pt x="35806" y="1704084"/>
                </a:lnTo>
                <a:lnTo>
                  <a:pt x="48615" y="1695334"/>
                </a:lnTo>
                <a:close/>
                <a:moveTo>
                  <a:pt x="389950" y="1240624"/>
                </a:moveTo>
                <a:lnTo>
                  <a:pt x="408843" y="1253315"/>
                </a:lnTo>
                <a:lnTo>
                  <a:pt x="374486" y="1266014"/>
                </a:lnTo>
                <a:lnTo>
                  <a:pt x="330536" y="1273331"/>
                </a:lnTo>
                <a:lnTo>
                  <a:pt x="322292" y="1263364"/>
                </a:lnTo>
                <a:lnTo>
                  <a:pt x="357360" y="1243282"/>
                </a:lnTo>
                <a:close/>
                <a:moveTo>
                  <a:pt x="872907" y="487600"/>
                </a:moveTo>
                <a:lnTo>
                  <a:pt x="890173" y="501625"/>
                </a:lnTo>
                <a:lnTo>
                  <a:pt x="833863" y="528952"/>
                </a:lnTo>
                <a:lnTo>
                  <a:pt x="823303" y="510666"/>
                </a:lnTo>
                <a:close/>
                <a:moveTo>
                  <a:pt x="986502" y="470832"/>
                </a:moveTo>
                <a:lnTo>
                  <a:pt x="946613" y="499494"/>
                </a:lnTo>
                <a:lnTo>
                  <a:pt x="895941" y="516789"/>
                </a:lnTo>
                <a:lnTo>
                  <a:pt x="906957" y="487327"/>
                </a:lnTo>
                <a:lnTo>
                  <a:pt x="925094" y="475340"/>
                </a:lnTo>
                <a:close/>
                <a:moveTo>
                  <a:pt x="1041181" y="383019"/>
                </a:moveTo>
                <a:lnTo>
                  <a:pt x="1058821" y="384202"/>
                </a:lnTo>
                <a:lnTo>
                  <a:pt x="1068129" y="414642"/>
                </a:lnTo>
                <a:lnTo>
                  <a:pt x="1096412" y="395330"/>
                </a:lnTo>
                <a:lnTo>
                  <a:pt x="1120532" y="407106"/>
                </a:lnTo>
                <a:lnTo>
                  <a:pt x="1116907" y="450180"/>
                </a:lnTo>
                <a:lnTo>
                  <a:pt x="1078488" y="453673"/>
                </a:lnTo>
                <a:lnTo>
                  <a:pt x="1063092" y="478866"/>
                </a:lnTo>
                <a:lnTo>
                  <a:pt x="1034579" y="492764"/>
                </a:lnTo>
                <a:lnTo>
                  <a:pt x="995565" y="483243"/>
                </a:lnTo>
                <a:lnTo>
                  <a:pt x="990399" y="448823"/>
                </a:lnTo>
                <a:lnTo>
                  <a:pt x="1019392" y="437003"/>
                </a:lnTo>
                <a:lnTo>
                  <a:pt x="1014913" y="408480"/>
                </a:lnTo>
                <a:close/>
                <a:moveTo>
                  <a:pt x="983008" y="372922"/>
                </a:moveTo>
                <a:lnTo>
                  <a:pt x="1008494" y="403386"/>
                </a:lnTo>
                <a:lnTo>
                  <a:pt x="1010568" y="429806"/>
                </a:lnTo>
                <a:lnTo>
                  <a:pt x="973770" y="448088"/>
                </a:lnTo>
                <a:lnTo>
                  <a:pt x="952446" y="433614"/>
                </a:lnTo>
                <a:lnTo>
                  <a:pt x="909435" y="430180"/>
                </a:lnTo>
                <a:lnTo>
                  <a:pt x="930823" y="411212"/>
                </a:lnTo>
                <a:lnTo>
                  <a:pt x="959350" y="412193"/>
                </a:lnTo>
                <a:lnTo>
                  <a:pt x="979212" y="394237"/>
                </a:lnTo>
                <a:close/>
                <a:moveTo>
                  <a:pt x="1080199" y="321859"/>
                </a:moveTo>
                <a:lnTo>
                  <a:pt x="1075740" y="350755"/>
                </a:lnTo>
                <a:lnTo>
                  <a:pt x="1055099" y="372257"/>
                </a:lnTo>
                <a:lnTo>
                  <a:pt x="1025101" y="358938"/>
                </a:lnTo>
                <a:close/>
                <a:moveTo>
                  <a:pt x="1267368" y="293519"/>
                </a:moveTo>
                <a:lnTo>
                  <a:pt x="1252150" y="322547"/>
                </a:lnTo>
                <a:lnTo>
                  <a:pt x="1257127" y="346637"/>
                </a:lnTo>
                <a:lnTo>
                  <a:pt x="1201797" y="351104"/>
                </a:lnTo>
                <a:lnTo>
                  <a:pt x="1183486" y="364391"/>
                </a:lnTo>
                <a:lnTo>
                  <a:pt x="1152322" y="338791"/>
                </a:lnTo>
                <a:lnTo>
                  <a:pt x="1189710" y="306502"/>
                </a:lnTo>
                <a:lnTo>
                  <a:pt x="1227774" y="293768"/>
                </a:lnTo>
                <a:close/>
                <a:moveTo>
                  <a:pt x="1340810" y="229589"/>
                </a:moveTo>
                <a:lnTo>
                  <a:pt x="1362835" y="244701"/>
                </a:lnTo>
                <a:lnTo>
                  <a:pt x="1335187" y="280266"/>
                </a:lnTo>
                <a:lnTo>
                  <a:pt x="1281246" y="288360"/>
                </a:lnTo>
                <a:lnTo>
                  <a:pt x="1266324" y="270947"/>
                </a:lnTo>
                <a:lnTo>
                  <a:pt x="1320141" y="247203"/>
                </a:lnTo>
                <a:close/>
                <a:moveTo>
                  <a:pt x="1379340" y="191421"/>
                </a:moveTo>
                <a:lnTo>
                  <a:pt x="1403102" y="214363"/>
                </a:lnTo>
                <a:lnTo>
                  <a:pt x="1391989" y="235280"/>
                </a:lnTo>
                <a:lnTo>
                  <a:pt x="1364048" y="241601"/>
                </a:lnTo>
                <a:lnTo>
                  <a:pt x="1328997" y="218807"/>
                </a:lnTo>
                <a:lnTo>
                  <a:pt x="1342096" y="201351"/>
                </a:lnTo>
                <a:close/>
                <a:moveTo>
                  <a:pt x="1527122" y="165395"/>
                </a:moveTo>
                <a:lnTo>
                  <a:pt x="1531832" y="195841"/>
                </a:lnTo>
                <a:lnTo>
                  <a:pt x="1497737" y="197617"/>
                </a:lnTo>
                <a:lnTo>
                  <a:pt x="1490509" y="180778"/>
                </a:lnTo>
                <a:close/>
                <a:moveTo>
                  <a:pt x="1790831" y="97376"/>
                </a:moveTo>
                <a:lnTo>
                  <a:pt x="1806369" y="129145"/>
                </a:lnTo>
                <a:lnTo>
                  <a:pt x="1758747" y="158319"/>
                </a:lnTo>
                <a:lnTo>
                  <a:pt x="1731540" y="128908"/>
                </a:lnTo>
                <a:close/>
                <a:moveTo>
                  <a:pt x="1823536" y="79539"/>
                </a:moveTo>
                <a:lnTo>
                  <a:pt x="1851956" y="103453"/>
                </a:lnTo>
                <a:lnTo>
                  <a:pt x="1819505" y="116900"/>
                </a:lnTo>
                <a:lnTo>
                  <a:pt x="1805357" y="81785"/>
                </a:lnTo>
                <a:close/>
                <a:moveTo>
                  <a:pt x="1780209" y="59639"/>
                </a:moveTo>
                <a:lnTo>
                  <a:pt x="1792938" y="66229"/>
                </a:lnTo>
                <a:lnTo>
                  <a:pt x="1738007" y="113484"/>
                </a:lnTo>
                <a:lnTo>
                  <a:pt x="1680632" y="120941"/>
                </a:lnTo>
                <a:lnTo>
                  <a:pt x="1681664" y="94466"/>
                </a:lnTo>
                <a:lnTo>
                  <a:pt x="1721338" y="71956"/>
                </a:lnTo>
                <a:lnTo>
                  <a:pt x="1748461" y="83240"/>
                </a:lnTo>
                <a:close/>
                <a:moveTo>
                  <a:pt x="2180240" y="15353"/>
                </a:moveTo>
                <a:lnTo>
                  <a:pt x="2281486" y="36510"/>
                </a:lnTo>
                <a:lnTo>
                  <a:pt x="2242255" y="77362"/>
                </a:lnTo>
                <a:lnTo>
                  <a:pt x="2278355" y="78790"/>
                </a:lnTo>
                <a:lnTo>
                  <a:pt x="2301394" y="56239"/>
                </a:lnTo>
                <a:lnTo>
                  <a:pt x="2345779" y="56207"/>
                </a:lnTo>
                <a:lnTo>
                  <a:pt x="2368874" y="83132"/>
                </a:lnTo>
                <a:lnTo>
                  <a:pt x="2401243" y="77963"/>
                </a:lnTo>
                <a:lnTo>
                  <a:pt x="2441516" y="87882"/>
                </a:lnTo>
                <a:lnTo>
                  <a:pt x="2442114" y="109273"/>
                </a:lnTo>
                <a:lnTo>
                  <a:pt x="2515198" y="129008"/>
                </a:lnTo>
                <a:lnTo>
                  <a:pt x="2522468" y="152621"/>
                </a:lnTo>
                <a:lnTo>
                  <a:pt x="2471713" y="164052"/>
                </a:lnTo>
                <a:lnTo>
                  <a:pt x="2457032" y="181359"/>
                </a:lnTo>
                <a:lnTo>
                  <a:pt x="2404715" y="194842"/>
                </a:lnTo>
                <a:lnTo>
                  <a:pt x="2299973" y="177000"/>
                </a:lnTo>
                <a:lnTo>
                  <a:pt x="2308341" y="190462"/>
                </a:lnTo>
                <a:lnTo>
                  <a:pt x="2373441" y="205463"/>
                </a:lnTo>
                <a:lnTo>
                  <a:pt x="2409893" y="250844"/>
                </a:lnTo>
                <a:lnTo>
                  <a:pt x="2462345" y="238613"/>
                </a:lnTo>
                <a:lnTo>
                  <a:pt x="2498801" y="241584"/>
                </a:lnTo>
                <a:lnTo>
                  <a:pt x="2512789" y="281247"/>
                </a:lnTo>
                <a:lnTo>
                  <a:pt x="2471869" y="284731"/>
                </a:lnTo>
                <a:lnTo>
                  <a:pt x="2443620" y="265390"/>
                </a:lnTo>
                <a:lnTo>
                  <a:pt x="2433289" y="296810"/>
                </a:lnTo>
                <a:lnTo>
                  <a:pt x="2380279" y="322844"/>
                </a:lnTo>
                <a:lnTo>
                  <a:pt x="2353096" y="326491"/>
                </a:lnTo>
                <a:lnTo>
                  <a:pt x="2348624" y="357667"/>
                </a:lnTo>
                <a:lnTo>
                  <a:pt x="2318378" y="368053"/>
                </a:lnTo>
                <a:lnTo>
                  <a:pt x="2308918" y="338734"/>
                </a:lnTo>
                <a:lnTo>
                  <a:pt x="2357789" y="295370"/>
                </a:lnTo>
                <a:lnTo>
                  <a:pt x="2338181" y="258135"/>
                </a:lnTo>
                <a:lnTo>
                  <a:pt x="2267564" y="236942"/>
                </a:lnTo>
                <a:lnTo>
                  <a:pt x="2226924" y="203166"/>
                </a:lnTo>
                <a:lnTo>
                  <a:pt x="2190942" y="192671"/>
                </a:lnTo>
                <a:lnTo>
                  <a:pt x="2160769" y="213412"/>
                </a:lnTo>
                <a:lnTo>
                  <a:pt x="2082370" y="215089"/>
                </a:lnTo>
                <a:lnTo>
                  <a:pt x="2048030" y="250690"/>
                </a:lnTo>
                <a:lnTo>
                  <a:pt x="2014881" y="305191"/>
                </a:lnTo>
                <a:lnTo>
                  <a:pt x="2005347" y="342109"/>
                </a:lnTo>
                <a:lnTo>
                  <a:pt x="2010258" y="370110"/>
                </a:lnTo>
                <a:lnTo>
                  <a:pt x="1951903" y="412853"/>
                </a:lnTo>
                <a:lnTo>
                  <a:pt x="1934441" y="441437"/>
                </a:lnTo>
                <a:lnTo>
                  <a:pt x="1865664" y="422993"/>
                </a:lnTo>
                <a:lnTo>
                  <a:pt x="1839768" y="406114"/>
                </a:lnTo>
                <a:lnTo>
                  <a:pt x="1809790" y="426637"/>
                </a:lnTo>
                <a:lnTo>
                  <a:pt x="1760834" y="439606"/>
                </a:lnTo>
                <a:lnTo>
                  <a:pt x="1725346" y="429666"/>
                </a:lnTo>
                <a:lnTo>
                  <a:pt x="1680832" y="406099"/>
                </a:lnTo>
                <a:lnTo>
                  <a:pt x="1611774" y="329832"/>
                </a:lnTo>
                <a:lnTo>
                  <a:pt x="1578076" y="323813"/>
                </a:lnTo>
                <a:lnTo>
                  <a:pt x="1507422" y="366684"/>
                </a:lnTo>
                <a:lnTo>
                  <a:pt x="1460146" y="369095"/>
                </a:lnTo>
                <a:lnTo>
                  <a:pt x="1484002" y="389363"/>
                </a:lnTo>
                <a:lnTo>
                  <a:pt x="1473962" y="433308"/>
                </a:lnTo>
                <a:lnTo>
                  <a:pt x="1448288" y="451475"/>
                </a:lnTo>
                <a:lnTo>
                  <a:pt x="1476256" y="462748"/>
                </a:lnTo>
                <a:lnTo>
                  <a:pt x="1446730" y="485342"/>
                </a:lnTo>
                <a:lnTo>
                  <a:pt x="1356008" y="458359"/>
                </a:lnTo>
                <a:lnTo>
                  <a:pt x="1320924" y="460039"/>
                </a:lnTo>
                <a:lnTo>
                  <a:pt x="1300069" y="447451"/>
                </a:lnTo>
                <a:lnTo>
                  <a:pt x="1272999" y="455075"/>
                </a:lnTo>
                <a:lnTo>
                  <a:pt x="1275459" y="511618"/>
                </a:lnTo>
                <a:lnTo>
                  <a:pt x="1251115" y="549814"/>
                </a:lnTo>
                <a:lnTo>
                  <a:pt x="1191294" y="524953"/>
                </a:lnTo>
                <a:lnTo>
                  <a:pt x="1138714" y="558974"/>
                </a:lnTo>
                <a:lnTo>
                  <a:pt x="1121119" y="603168"/>
                </a:lnTo>
                <a:lnTo>
                  <a:pt x="1106739" y="621818"/>
                </a:lnTo>
                <a:lnTo>
                  <a:pt x="1075985" y="638081"/>
                </a:lnTo>
                <a:lnTo>
                  <a:pt x="1106394" y="675864"/>
                </a:lnTo>
                <a:lnTo>
                  <a:pt x="1104812" y="701935"/>
                </a:lnTo>
                <a:lnTo>
                  <a:pt x="1071044" y="723615"/>
                </a:lnTo>
                <a:lnTo>
                  <a:pt x="1030656" y="775244"/>
                </a:lnTo>
                <a:lnTo>
                  <a:pt x="1007033" y="793031"/>
                </a:lnTo>
                <a:lnTo>
                  <a:pt x="1017435" y="825565"/>
                </a:lnTo>
                <a:lnTo>
                  <a:pt x="973985" y="846278"/>
                </a:lnTo>
                <a:lnTo>
                  <a:pt x="923728" y="849644"/>
                </a:lnTo>
                <a:lnTo>
                  <a:pt x="934293" y="900954"/>
                </a:lnTo>
                <a:lnTo>
                  <a:pt x="922033" y="947165"/>
                </a:lnTo>
                <a:lnTo>
                  <a:pt x="922813" y="980665"/>
                </a:lnTo>
                <a:lnTo>
                  <a:pt x="905314" y="1010770"/>
                </a:lnTo>
                <a:lnTo>
                  <a:pt x="840317" y="1095190"/>
                </a:lnTo>
                <a:lnTo>
                  <a:pt x="884789" y="1113556"/>
                </a:lnTo>
                <a:lnTo>
                  <a:pt x="888973" y="1155091"/>
                </a:lnTo>
                <a:lnTo>
                  <a:pt x="870629" y="1184031"/>
                </a:lnTo>
                <a:lnTo>
                  <a:pt x="797437" y="1170524"/>
                </a:lnTo>
                <a:lnTo>
                  <a:pt x="746392" y="1189242"/>
                </a:lnTo>
                <a:lnTo>
                  <a:pt x="694741" y="1247745"/>
                </a:lnTo>
                <a:lnTo>
                  <a:pt x="700848" y="1265417"/>
                </a:lnTo>
                <a:lnTo>
                  <a:pt x="677790" y="1297400"/>
                </a:lnTo>
                <a:lnTo>
                  <a:pt x="701366" y="1338312"/>
                </a:lnTo>
                <a:lnTo>
                  <a:pt x="687477" y="1353144"/>
                </a:lnTo>
                <a:lnTo>
                  <a:pt x="693446" y="1376548"/>
                </a:lnTo>
                <a:lnTo>
                  <a:pt x="685682" y="1397082"/>
                </a:lnTo>
                <a:lnTo>
                  <a:pt x="709217" y="1448877"/>
                </a:lnTo>
                <a:lnTo>
                  <a:pt x="693570" y="1530040"/>
                </a:lnTo>
                <a:lnTo>
                  <a:pt x="720851" y="1553913"/>
                </a:lnTo>
                <a:lnTo>
                  <a:pt x="735337" y="1553058"/>
                </a:lnTo>
                <a:lnTo>
                  <a:pt x="764513" y="1584470"/>
                </a:lnTo>
                <a:lnTo>
                  <a:pt x="746297" y="1627991"/>
                </a:lnTo>
                <a:lnTo>
                  <a:pt x="701923" y="1635067"/>
                </a:lnTo>
                <a:lnTo>
                  <a:pt x="718506" y="1675998"/>
                </a:lnTo>
                <a:lnTo>
                  <a:pt x="738972" y="1708290"/>
                </a:lnTo>
                <a:lnTo>
                  <a:pt x="728514" y="1735813"/>
                </a:lnTo>
                <a:lnTo>
                  <a:pt x="732685" y="1754727"/>
                </a:lnTo>
                <a:lnTo>
                  <a:pt x="723755" y="1776903"/>
                </a:lnTo>
                <a:lnTo>
                  <a:pt x="697114" y="1798654"/>
                </a:lnTo>
                <a:lnTo>
                  <a:pt x="664742" y="1805731"/>
                </a:lnTo>
                <a:lnTo>
                  <a:pt x="674432" y="1826795"/>
                </a:lnTo>
                <a:lnTo>
                  <a:pt x="650363" y="1841899"/>
                </a:lnTo>
                <a:lnTo>
                  <a:pt x="662469" y="1877011"/>
                </a:lnTo>
                <a:lnTo>
                  <a:pt x="658549" y="1913844"/>
                </a:lnTo>
                <a:lnTo>
                  <a:pt x="650165" y="1932378"/>
                </a:lnTo>
                <a:lnTo>
                  <a:pt x="628079" y="1927849"/>
                </a:lnTo>
                <a:lnTo>
                  <a:pt x="619765" y="1912042"/>
                </a:lnTo>
                <a:lnTo>
                  <a:pt x="599654" y="1903161"/>
                </a:lnTo>
                <a:lnTo>
                  <a:pt x="566561" y="1904376"/>
                </a:lnTo>
                <a:lnTo>
                  <a:pt x="550600" y="1878311"/>
                </a:lnTo>
                <a:lnTo>
                  <a:pt x="524132" y="1886987"/>
                </a:lnTo>
                <a:lnTo>
                  <a:pt x="517180" y="1916108"/>
                </a:lnTo>
                <a:lnTo>
                  <a:pt x="473015" y="1932173"/>
                </a:lnTo>
                <a:lnTo>
                  <a:pt x="435671" y="1938332"/>
                </a:lnTo>
                <a:lnTo>
                  <a:pt x="423780" y="1961102"/>
                </a:lnTo>
                <a:lnTo>
                  <a:pt x="391224" y="1983514"/>
                </a:lnTo>
                <a:lnTo>
                  <a:pt x="344659" y="2029484"/>
                </a:lnTo>
                <a:lnTo>
                  <a:pt x="317985" y="2048686"/>
                </a:lnTo>
                <a:lnTo>
                  <a:pt x="297893" y="2046587"/>
                </a:lnTo>
                <a:lnTo>
                  <a:pt x="284573" y="2057753"/>
                </a:lnTo>
                <a:lnTo>
                  <a:pt x="257288" y="2065605"/>
                </a:lnTo>
                <a:lnTo>
                  <a:pt x="216734" y="2063272"/>
                </a:lnTo>
                <a:lnTo>
                  <a:pt x="201771" y="2070429"/>
                </a:lnTo>
                <a:lnTo>
                  <a:pt x="188461" y="2055591"/>
                </a:lnTo>
                <a:lnTo>
                  <a:pt x="161439" y="2058211"/>
                </a:lnTo>
                <a:lnTo>
                  <a:pt x="168494" y="2036288"/>
                </a:lnTo>
                <a:lnTo>
                  <a:pt x="139484" y="2029941"/>
                </a:lnTo>
                <a:lnTo>
                  <a:pt x="104698" y="2014704"/>
                </a:lnTo>
                <a:lnTo>
                  <a:pt x="70170" y="1991950"/>
                </a:lnTo>
                <a:lnTo>
                  <a:pt x="50507" y="1961092"/>
                </a:lnTo>
                <a:lnTo>
                  <a:pt x="59466" y="1921044"/>
                </a:lnTo>
                <a:lnTo>
                  <a:pt x="95190" y="1933363"/>
                </a:lnTo>
                <a:lnTo>
                  <a:pt x="88991" y="1914390"/>
                </a:lnTo>
                <a:lnTo>
                  <a:pt x="109524" y="1894882"/>
                </a:lnTo>
                <a:lnTo>
                  <a:pt x="97091" y="1874900"/>
                </a:lnTo>
                <a:lnTo>
                  <a:pt x="50280" y="1887481"/>
                </a:lnTo>
                <a:lnTo>
                  <a:pt x="34275" y="1877906"/>
                </a:lnTo>
                <a:lnTo>
                  <a:pt x="24408" y="1854963"/>
                </a:lnTo>
                <a:lnTo>
                  <a:pt x="33733" y="1837494"/>
                </a:lnTo>
                <a:lnTo>
                  <a:pt x="78660" y="1828408"/>
                </a:lnTo>
                <a:lnTo>
                  <a:pt x="81337" y="1792320"/>
                </a:lnTo>
                <a:lnTo>
                  <a:pt x="99138" y="1789301"/>
                </a:lnTo>
                <a:lnTo>
                  <a:pt x="119219" y="1766131"/>
                </a:lnTo>
                <a:lnTo>
                  <a:pt x="101149" y="1743728"/>
                </a:lnTo>
                <a:lnTo>
                  <a:pt x="92172" y="1774450"/>
                </a:lnTo>
                <a:lnTo>
                  <a:pt x="60972" y="1753414"/>
                </a:lnTo>
                <a:lnTo>
                  <a:pt x="35437" y="1755460"/>
                </a:lnTo>
                <a:lnTo>
                  <a:pt x="19422" y="1728685"/>
                </a:lnTo>
                <a:lnTo>
                  <a:pt x="74378" y="1716090"/>
                </a:lnTo>
                <a:lnTo>
                  <a:pt x="73961" y="1682587"/>
                </a:lnTo>
                <a:lnTo>
                  <a:pt x="68356" y="1685406"/>
                </a:lnTo>
                <a:lnTo>
                  <a:pt x="67939" y="1682133"/>
                </a:lnTo>
                <a:lnTo>
                  <a:pt x="48615" y="1695334"/>
                </a:lnTo>
                <a:lnTo>
                  <a:pt x="31709" y="1703836"/>
                </a:lnTo>
                <a:lnTo>
                  <a:pt x="15117" y="1688241"/>
                </a:lnTo>
                <a:lnTo>
                  <a:pt x="32971" y="1664228"/>
                </a:lnTo>
                <a:lnTo>
                  <a:pt x="9288" y="1659876"/>
                </a:lnTo>
                <a:lnTo>
                  <a:pt x="3194" y="1643774"/>
                </a:lnTo>
                <a:lnTo>
                  <a:pt x="11737" y="1626444"/>
                </a:lnTo>
                <a:lnTo>
                  <a:pt x="3113" y="1573548"/>
                </a:lnTo>
                <a:lnTo>
                  <a:pt x="25786" y="1569834"/>
                </a:lnTo>
                <a:lnTo>
                  <a:pt x="25435" y="1546789"/>
                </a:lnTo>
                <a:lnTo>
                  <a:pt x="0" y="1530440"/>
                </a:lnTo>
                <a:lnTo>
                  <a:pt x="39595" y="1503028"/>
                </a:lnTo>
                <a:lnTo>
                  <a:pt x="29517" y="1492099"/>
                </a:lnTo>
                <a:lnTo>
                  <a:pt x="45589" y="1462200"/>
                </a:lnTo>
                <a:lnTo>
                  <a:pt x="73490" y="1463313"/>
                </a:lnTo>
                <a:lnTo>
                  <a:pt x="143330" y="1428862"/>
                </a:lnTo>
                <a:lnTo>
                  <a:pt x="124496" y="1401738"/>
                </a:lnTo>
                <a:lnTo>
                  <a:pt x="172840" y="1390768"/>
                </a:lnTo>
                <a:lnTo>
                  <a:pt x="234771" y="1394545"/>
                </a:lnTo>
                <a:lnTo>
                  <a:pt x="221840" y="1377203"/>
                </a:lnTo>
                <a:lnTo>
                  <a:pt x="197886" y="1380088"/>
                </a:lnTo>
                <a:lnTo>
                  <a:pt x="194954" y="1348300"/>
                </a:lnTo>
                <a:lnTo>
                  <a:pt x="211577" y="1338921"/>
                </a:lnTo>
                <a:lnTo>
                  <a:pt x="248515" y="1351786"/>
                </a:lnTo>
                <a:lnTo>
                  <a:pt x="290784" y="1342456"/>
                </a:lnTo>
                <a:lnTo>
                  <a:pt x="291202" y="1324857"/>
                </a:lnTo>
                <a:lnTo>
                  <a:pt x="317843" y="1315907"/>
                </a:lnTo>
                <a:lnTo>
                  <a:pt x="347642" y="1317942"/>
                </a:lnTo>
                <a:lnTo>
                  <a:pt x="341583" y="1294066"/>
                </a:lnTo>
                <a:lnTo>
                  <a:pt x="356611" y="1276185"/>
                </a:lnTo>
                <a:lnTo>
                  <a:pt x="399245" y="1270997"/>
                </a:lnTo>
                <a:lnTo>
                  <a:pt x="440525" y="1247464"/>
                </a:lnTo>
                <a:lnTo>
                  <a:pt x="461726" y="1244407"/>
                </a:lnTo>
                <a:lnTo>
                  <a:pt x="471987" y="1264515"/>
                </a:lnTo>
                <a:lnTo>
                  <a:pt x="493366" y="1276808"/>
                </a:lnTo>
                <a:lnTo>
                  <a:pt x="559950" y="1261867"/>
                </a:lnTo>
                <a:lnTo>
                  <a:pt x="555660" y="1244449"/>
                </a:lnTo>
                <a:lnTo>
                  <a:pt x="578953" y="1231349"/>
                </a:lnTo>
                <a:lnTo>
                  <a:pt x="625882" y="1219291"/>
                </a:lnTo>
                <a:lnTo>
                  <a:pt x="615528" y="1201390"/>
                </a:lnTo>
                <a:lnTo>
                  <a:pt x="588208" y="1203732"/>
                </a:lnTo>
                <a:lnTo>
                  <a:pt x="579136" y="1224459"/>
                </a:lnTo>
                <a:lnTo>
                  <a:pt x="546889" y="1235919"/>
                </a:lnTo>
                <a:lnTo>
                  <a:pt x="527350" y="1251319"/>
                </a:lnTo>
                <a:lnTo>
                  <a:pt x="481753" y="1262757"/>
                </a:lnTo>
                <a:lnTo>
                  <a:pt x="444070" y="1220832"/>
                </a:lnTo>
                <a:lnTo>
                  <a:pt x="489396" y="1194797"/>
                </a:lnTo>
                <a:lnTo>
                  <a:pt x="486977" y="1182483"/>
                </a:lnTo>
                <a:lnTo>
                  <a:pt x="507261" y="1153347"/>
                </a:lnTo>
                <a:lnTo>
                  <a:pt x="531327" y="1136136"/>
                </a:lnTo>
                <a:lnTo>
                  <a:pt x="537999" y="1117057"/>
                </a:lnTo>
                <a:lnTo>
                  <a:pt x="581052" y="1101673"/>
                </a:lnTo>
                <a:lnTo>
                  <a:pt x="617619" y="1120409"/>
                </a:lnTo>
                <a:lnTo>
                  <a:pt x="633345" y="1097278"/>
                </a:lnTo>
                <a:lnTo>
                  <a:pt x="622869" y="1076206"/>
                </a:lnTo>
                <a:lnTo>
                  <a:pt x="639020" y="1048116"/>
                </a:lnTo>
                <a:lnTo>
                  <a:pt x="691431" y="1010034"/>
                </a:lnTo>
                <a:lnTo>
                  <a:pt x="688930" y="991269"/>
                </a:lnTo>
                <a:lnTo>
                  <a:pt x="705976" y="938183"/>
                </a:lnTo>
                <a:lnTo>
                  <a:pt x="736180" y="908296"/>
                </a:lnTo>
                <a:lnTo>
                  <a:pt x="744857" y="883388"/>
                </a:lnTo>
                <a:lnTo>
                  <a:pt x="767221" y="873348"/>
                </a:lnTo>
                <a:lnTo>
                  <a:pt x="760575" y="850314"/>
                </a:lnTo>
                <a:lnTo>
                  <a:pt x="800364" y="840714"/>
                </a:lnTo>
                <a:lnTo>
                  <a:pt x="807856" y="830757"/>
                </a:lnTo>
                <a:lnTo>
                  <a:pt x="792464" y="805502"/>
                </a:lnTo>
                <a:lnTo>
                  <a:pt x="805018" y="752495"/>
                </a:lnTo>
                <a:lnTo>
                  <a:pt x="825442" y="741123"/>
                </a:lnTo>
                <a:lnTo>
                  <a:pt x="826828" y="716556"/>
                </a:lnTo>
                <a:lnTo>
                  <a:pt x="894747" y="710575"/>
                </a:lnTo>
                <a:lnTo>
                  <a:pt x="906917" y="680845"/>
                </a:lnTo>
                <a:lnTo>
                  <a:pt x="930420" y="664122"/>
                </a:lnTo>
                <a:lnTo>
                  <a:pt x="936801" y="631222"/>
                </a:lnTo>
                <a:lnTo>
                  <a:pt x="961136" y="616181"/>
                </a:lnTo>
                <a:lnTo>
                  <a:pt x="948423" y="573047"/>
                </a:lnTo>
                <a:lnTo>
                  <a:pt x="994541" y="562666"/>
                </a:lnTo>
                <a:lnTo>
                  <a:pt x="1061341" y="539743"/>
                </a:lnTo>
                <a:lnTo>
                  <a:pt x="997948" y="534004"/>
                </a:lnTo>
                <a:lnTo>
                  <a:pt x="1009913" y="521043"/>
                </a:lnTo>
                <a:lnTo>
                  <a:pt x="1104926" y="539957"/>
                </a:lnTo>
                <a:lnTo>
                  <a:pt x="1096068" y="481766"/>
                </a:lnTo>
                <a:lnTo>
                  <a:pt x="1141092" y="474586"/>
                </a:lnTo>
                <a:lnTo>
                  <a:pt x="1159801" y="485110"/>
                </a:lnTo>
                <a:lnTo>
                  <a:pt x="1201324" y="474370"/>
                </a:lnTo>
                <a:lnTo>
                  <a:pt x="1158081" y="458702"/>
                </a:lnTo>
                <a:lnTo>
                  <a:pt x="1115857" y="470073"/>
                </a:lnTo>
                <a:lnTo>
                  <a:pt x="1126726" y="437165"/>
                </a:lnTo>
                <a:lnTo>
                  <a:pt x="1194478" y="420091"/>
                </a:lnTo>
                <a:lnTo>
                  <a:pt x="1209594" y="384884"/>
                </a:lnTo>
                <a:lnTo>
                  <a:pt x="1232796" y="356627"/>
                </a:lnTo>
                <a:lnTo>
                  <a:pt x="1259628" y="350965"/>
                </a:lnTo>
                <a:lnTo>
                  <a:pt x="1259779" y="324486"/>
                </a:lnTo>
                <a:lnTo>
                  <a:pt x="1303997" y="289804"/>
                </a:lnTo>
                <a:lnTo>
                  <a:pt x="1352224" y="281578"/>
                </a:lnTo>
                <a:lnTo>
                  <a:pt x="1367125" y="251437"/>
                </a:lnTo>
                <a:lnTo>
                  <a:pt x="1423776" y="237305"/>
                </a:lnTo>
                <a:lnTo>
                  <a:pt x="1439813" y="245163"/>
                </a:lnTo>
                <a:lnTo>
                  <a:pt x="1481925" y="209539"/>
                </a:lnTo>
                <a:lnTo>
                  <a:pt x="1506608" y="245980"/>
                </a:lnTo>
                <a:lnTo>
                  <a:pt x="1543835" y="239961"/>
                </a:lnTo>
                <a:lnTo>
                  <a:pt x="1593302" y="203150"/>
                </a:lnTo>
                <a:lnTo>
                  <a:pt x="1575752" y="175328"/>
                </a:lnTo>
                <a:lnTo>
                  <a:pt x="1598554" y="151506"/>
                </a:lnTo>
                <a:lnTo>
                  <a:pt x="1642910" y="148444"/>
                </a:lnTo>
                <a:lnTo>
                  <a:pt x="1740695" y="171391"/>
                </a:lnTo>
                <a:lnTo>
                  <a:pt x="1742270" y="197909"/>
                </a:lnTo>
                <a:lnTo>
                  <a:pt x="1778043" y="188467"/>
                </a:lnTo>
                <a:lnTo>
                  <a:pt x="1762000" y="168079"/>
                </a:lnTo>
                <a:lnTo>
                  <a:pt x="1822305" y="122230"/>
                </a:lnTo>
                <a:lnTo>
                  <a:pt x="1864220" y="101133"/>
                </a:lnTo>
                <a:lnTo>
                  <a:pt x="1866154" y="70829"/>
                </a:lnTo>
                <a:lnTo>
                  <a:pt x="1893233" y="36466"/>
                </a:lnTo>
                <a:lnTo>
                  <a:pt x="1934468" y="36986"/>
                </a:lnTo>
                <a:lnTo>
                  <a:pt x="1971100" y="60711"/>
                </a:lnTo>
                <a:lnTo>
                  <a:pt x="1991108" y="45873"/>
                </a:lnTo>
                <a:lnTo>
                  <a:pt x="2023923" y="55946"/>
                </a:lnTo>
                <a:lnTo>
                  <a:pt x="1960790" y="107068"/>
                </a:lnTo>
                <a:lnTo>
                  <a:pt x="1955019" y="154519"/>
                </a:lnTo>
                <a:lnTo>
                  <a:pt x="1928334" y="179135"/>
                </a:lnTo>
                <a:lnTo>
                  <a:pt x="1959571" y="190047"/>
                </a:lnTo>
                <a:lnTo>
                  <a:pt x="2003323" y="119447"/>
                </a:lnTo>
                <a:lnTo>
                  <a:pt x="2033108" y="99833"/>
                </a:lnTo>
                <a:lnTo>
                  <a:pt x="2039680" y="79120"/>
                </a:lnTo>
                <a:lnTo>
                  <a:pt x="2087247" y="40372"/>
                </a:lnTo>
                <a:lnTo>
                  <a:pt x="2104892" y="42053"/>
                </a:lnTo>
                <a:lnTo>
                  <a:pt x="2084058" y="132085"/>
                </a:lnTo>
                <a:lnTo>
                  <a:pt x="2138862" y="98571"/>
                </a:lnTo>
                <a:lnTo>
                  <a:pt x="2165726" y="49012"/>
                </a:lnTo>
                <a:lnTo>
                  <a:pt x="2145749" y="33827"/>
                </a:lnTo>
                <a:close/>
                <a:moveTo>
                  <a:pt x="2003354" y="0"/>
                </a:moveTo>
                <a:lnTo>
                  <a:pt x="2033377" y="5728"/>
                </a:lnTo>
                <a:lnTo>
                  <a:pt x="2035058" y="28750"/>
                </a:lnTo>
                <a:lnTo>
                  <a:pt x="1992125" y="42729"/>
                </a:lnTo>
                <a:lnTo>
                  <a:pt x="1961581" y="21761"/>
                </a:lnTo>
                <a:close/>
              </a:path>
            </a:pathLst>
          </a:custGeom>
          <a:solidFill>
            <a:schemeClr val="bg1">
              <a:lumMod val="6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62" name="ee4p_23_1_43215">
            <a:extLst>
              <a:ext uri="{FF2B5EF4-FFF2-40B4-BE49-F238E27FC236}">
                <a16:creationId xmlns:a16="http://schemas.microsoft.com/office/drawing/2014/main" id="{58FF19D7-DE5F-4BC8-BD66-468F96DF5D41}"/>
              </a:ext>
            </a:extLst>
          </p:cNvPr>
          <p:cNvSpPr>
            <a:spLocks noChangeAspect="1"/>
          </p:cNvSpPr>
          <p:nvPr>
            <p:custDataLst>
              <p:tags r:id="rId15"/>
            </p:custDataLst>
          </p:nvPr>
        </p:nvSpPr>
        <p:spPr bwMode="gray">
          <a:xfrm>
            <a:off x="5155927" y="5708013"/>
            <a:ext cx="286167" cy="574981"/>
          </a:xfrm>
          <a:custGeom>
            <a:avLst/>
            <a:gdLst/>
            <a:ahLst/>
            <a:cxnLst/>
            <a:rect l="0" t="0" r="0" b="0"/>
            <a:pathLst>
              <a:path w="320394" h="582267">
                <a:moveTo>
                  <a:pt x="203064" y="558549"/>
                </a:moveTo>
                <a:lnTo>
                  <a:pt x="192914" y="559401"/>
                </a:lnTo>
                <a:lnTo>
                  <a:pt x="156554" y="582266"/>
                </a:lnTo>
                <a:lnTo>
                  <a:pt x="127572" y="567969"/>
                </a:lnTo>
                <a:lnTo>
                  <a:pt x="117362" y="569867"/>
                </a:lnTo>
                <a:lnTo>
                  <a:pt x="85904" y="564334"/>
                </a:lnTo>
                <a:lnTo>
                  <a:pt x="50572" y="571737"/>
                </a:lnTo>
                <a:lnTo>
                  <a:pt x="67812" y="528636"/>
                </a:lnTo>
                <a:lnTo>
                  <a:pt x="69135" y="498352"/>
                </a:lnTo>
                <a:lnTo>
                  <a:pt x="65306" y="460756"/>
                </a:lnTo>
                <a:lnTo>
                  <a:pt x="70120" y="441455"/>
                </a:lnTo>
                <a:lnTo>
                  <a:pt x="67684" y="422267"/>
                </a:lnTo>
                <a:lnTo>
                  <a:pt x="72872" y="404348"/>
                </a:lnTo>
                <a:lnTo>
                  <a:pt x="42220" y="417423"/>
                </a:lnTo>
                <a:lnTo>
                  <a:pt x="26868" y="419792"/>
                </a:lnTo>
                <a:lnTo>
                  <a:pt x="35042" y="392095"/>
                </a:lnTo>
                <a:lnTo>
                  <a:pt x="55003" y="379642"/>
                </a:lnTo>
                <a:lnTo>
                  <a:pt x="45054" y="369357"/>
                </a:lnTo>
                <a:lnTo>
                  <a:pt x="35652" y="386770"/>
                </a:lnTo>
                <a:lnTo>
                  <a:pt x="15114" y="389674"/>
                </a:lnTo>
                <a:lnTo>
                  <a:pt x="0" y="378421"/>
                </a:lnTo>
                <a:lnTo>
                  <a:pt x="8230" y="359851"/>
                </a:lnTo>
                <a:lnTo>
                  <a:pt x="7600" y="345191"/>
                </a:lnTo>
                <a:lnTo>
                  <a:pt x="15955" y="322435"/>
                </a:lnTo>
                <a:lnTo>
                  <a:pt x="13022" y="314169"/>
                </a:lnTo>
                <a:lnTo>
                  <a:pt x="40886" y="286745"/>
                </a:lnTo>
                <a:lnTo>
                  <a:pt x="45568" y="266338"/>
                </a:lnTo>
                <a:lnTo>
                  <a:pt x="61684" y="224038"/>
                </a:lnTo>
                <a:lnTo>
                  <a:pt x="63301" y="202680"/>
                </a:lnTo>
                <a:lnTo>
                  <a:pt x="82785" y="123588"/>
                </a:lnTo>
                <a:lnTo>
                  <a:pt x="65200" y="47785"/>
                </a:lnTo>
                <a:lnTo>
                  <a:pt x="61671" y="24642"/>
                </a:lnTo>
                <a:lnTo>
                  <a:pt x="94154" y="766"/>
                </a:lnTo>
                <a:lnTo>
                  <a:pt x="113082" y="0"/>
                </a:lnTo>
                <a:lnTo>
                  <a:pt x="129379" y="11795"/>
                </a:lnTo>
                <a:lnTo>
                  <a:pt x="132622" y="31962"/>
                </a:lnTo>
                <a:lnTo>
                  <a:pt x="146283" y="25152"/>
                </a:lnTo>
                <a:lnTo>
                  <a:pt x="173827" y="20489"/>
                </a:lnTo>
                <a:lnTo>
                  <a:pt x="186399" y="29534"/>
                </a:lnTo>
                <a:lnTo>
                  <a:pt x="211398" y="28031"/>
                </a:lnTo>
                <a:lnTo>
                  <a:pt x="234667" y="15440"/>
                </a:lnTo>
                <a:lnTo>
                  <a:pt x="280721" y="15803"/>
                </a:lnTo>
                <a:lnTo>
                  <a:pt x="288599" y="24257"/>
                </a:lnTo>
                <a:lnTo>
                  <a:pt x="285666" y="46255"/>
                </a:lnTo>
                <a:lnTo>
                  <a:pt x="304193" y="47251"/>
                </a:lnTo>
                <a:lnTo>
                  <a:pt x="320393" y="59059"/>
                </a:lnTo>
                <a:lnTo>
                  <a:pt x="304588" y="81810"/>
                </a:lnTo>
                <a:lnTo>
                  <a:pt x="264175" y="111070"/>
                </a:lnTo>
                <a:lnTo>
                  <a:pt x="254620" y="130235"/>
                </a:lnTo>
                <a:lnTo>
                  <a:pt x="261893" y="164306"/>
                </a:lnTo>
                <a:lnTo>
                  <a:pt x="256651" y="187961"/>
                </a:lnTo>
                <a:lnTo>
                  <a:pt x="263140" y="198348"/>
                </a:lnTo>
                <a:lnTo>
                  <a:pt x="254363" y="210076"/>
                </a:lnTo>
                <a:lnTo>
                  <a:pt x="240771" y="214156"/>
                </a:lnTo>
                <a:lnTo>
                  <a:pt x="240797" y="225539"/>
                </a:lnTo>
                <a:lnTo>
                  <a:pt x="253469" y="235323"/>
                </a:lnTo>
                <a:lnTo>
                  <a:pt x="251324" y="254548"/>
                </a:lnTo>
                <a:lnTo>
                  <a:pt x="240463" y="277530"/>
                </a:lnTo>
                <a:lnTo>
                  <a:pt x="209658" y="280900"/>
                </a:lnTo>
                <a:lnTo>
                  <a:pt x="193629" y="286730"/>
                </a:lnTo>
                <a:lnTo>
                  <a:pt x="213441" y="301954"/>
                </a:lnTo>
                <a:lnTo>
                  <a:pt x="211899" y="315004"/>
                </a:lnTo>
                <a:lnTo>
                  <a:pt x="218609" y="330026"/>
                </a:lnTo>
                <a:lnTo>
                  <a:pt x="239056" y="340448"/>
                </a:lnTo>
                <a:lnTo>
                  <a:pt x="246657" y="350913"/>
                </a:lnTo>
                <a:lnTo>
                  <a:pt x="238745" y="367475"/>
                </a:lnTo>
                <a:lnTo>
                  <a:pt x="217367" y="384451"/>
                </a:lnTo>
                <a:lnTo>
                  <a:pt x="211316" y="416850"/>
                </a:lnTo>
                <a:lnTo>
                  <a:pt x="233717" y="447277"/>
                </a:lnTo>
                <a:lnTo>
                  <a:pt x="248231" y="443791"/>
                </a:lnTo>
                <a:lnTo>
                  <a:pt x="241714" y="463738"/>
                </a:lnTo>
                <a:lnTo>
                  <a:pt x="232705" y="461472"/>
                </a:lnTo>
                <a:lnTo>
                  <a:pt x="217900" y="471386"/>
                </a:lnTo>
                <a:lnTo>
                  <a:pt x="201465" y="494865"/>
                </a:lnTo>
                <a:lnTo>
                  <a:pt x="191354" y="516291"/>
                </a:lnTo>
                <a:lnTo>
                  <a:pt x="197770" y="527640"/>
                </a:lnTo>
                <a:close/>
              </a:path>
            </a:pathLst>
          </a:cu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63" name="ee4p_26_1_43215">
            <a:extLst>
              <a:ext uri="{FF2B5EF4-FFF2-40B4-BE49-F238E27FC236}">
                <a16:creationId xmlns:a16="http://schemas.microsoft.com/office/drawing/2014/main" id="{A7FE0CA3-C0EA-4778-B669-00BAD445E8F2}"/>
              </a:ext>
            </a:extLst>
          </p:cNvPr>
          <p:cNvSpPr>
            <a:spLocks noChangeAspect="1"/>
          </p:cNvSpPr>
          <p:nvPr>
            <p:custDataLst>
              <p:tags r:id="rId16"/>
            </p:custDataLst>
          </p:nvPr>
        </p:nvSpPr>
        <p:spPr bwMode="gray">
          <a:xfrm>
            <a:off x="7432807" y="4810065"/>
            <a:ext cx="494521" cy="231251"/>
          </a:xfrm>
          <a:custGeom>
            <a:avLst/>
            <a:gdLst/>
            <a:ahLst/>
            <a:cxnLst/>
            <a:rect l="0" t="0" r="0" b="0"/>
            <a:pathLst>
              <a:path w="553667" h="234182">
                <a:moveTo>
                  <a:pt x="553666" y="65865"/>
                </a:moveTo>
                <a:lnTo>
                  <a:pt x="535161" y="97445"/>
                </a:lnTo>
                <a:lnTo>
                  <a:pt x="531685" y="116263"/>
                </a:lnTo>
                <a:lnTo>
                  <a:pt x="514396" y="130808"/>
                </a:lnTo>
                <a:lnTo>
                  <a:pt x="513846" y="151148"/>
                </a:lnTo>
                <a:lnTo>
                  <a:pt x="482871" y="159672"/>
                </a:lnTo>
                <a:lnTo>
                  <a:pt x="466748" y="152907"/>
                </a:lnTo>
                <a:lnTo>
                  <a:pt x="461461" y="137992"/>
                </a:lnTo>
                <a:lnTo>
                  <a:pt x="445670" y="129857"/>
                </a:lnTo>
                <a:lnTo>
                  <a:pt x="417488" y="136932"/>
                </a:lnTo>
                <a:lnTo>
                  <a:pt x="397818" y="136470"/>
                </a:lnTo>
                <a:lnTo>
                  <a:pt x="386222" y="128871"/>
                </a:lnTo>
                <a:lnTo>
                  <a:pt x="353867" y="135775"/>
                </a:lnTo>
                <a:lnTo>
                  <a:pt x="332830" y="168671"/>
                </a:lnTo>
                <a:lnTo>
                  <a:pt x="308210" y="179188"/>
                </a:lnTo>
                <a:lnTo>
                  <a:pt x="288098" y="180200"/>
                </a:lnTo>
                <a:lnTo>
                  <a:pt x="269575" y="170147"/>
                </a:lnTo>
                <a:lnTo>
                  <a:pt x="253208" y="190805"/>
                </a:lnTo>
                <a:lnTo>
                  <a:pt x="196418" y="195283"/>
                </a:lnTo>
                <a:lnTo>
                  <a:pt x="186134" y="202904"/>
                </a:lnTo>
                <a:lnTo>
                  <a:pt x="189161" y="222964"/>
                </a:lnTo>
                <a:lnTo>
                  <a:pt x="176496" y="230342"/>
                </a:lnTo>
                <a:lnTo>
                  <a:pt x="140124" y="234181"/>
                </a:lnTo>
                <a:lnTo>
                  <a:pt x="90100" y="233021"/>
                </a:lnTo>
                <a:lnTo>
                  <a:pt x="58687" y="214887"/>
                </a:lnTo>
                <a:lnTo>
                  <a:pt x="47343" y="201885"/>
                </a:lnTo>
                <a:lnTo>
                  <a:pt x="30574" y="200244"/>
                </a:lnTo>
                <a:lnTo>
                  <a:pt x="12712" y="179779"/>
                </a:lnTo>
                <a:lnTo>
                  <a:pt x="0" y="157768"/>
                </a:lnTo>
                <a:lnTo>
                  <a:pt x="9236" y="124594"/>
                </a:lnTo>
                <a:lnTo>
                  <a:pt x="34528" y="92125"/>
                </a:lnTo>
                <a:lnTo>
                  <a:pt x="66148" y="100316"/>
                </a:lnTo>
                <a:lnTo>
                  <a:pt x="100639" y="85923"/>
                </a:lnTo>
                <a:lnTo>
                  <a:pt x="114115" y="74259"/>
                </a:lnTo>
                <a:lnTo>
                  <a:pt x="129597" y="41047"/>
                </a:lnTo>
                <a:lnTo>
                  <a:pt x="148436" y="35561"/>
                </a:lnTo>
                <a:lnTo>
                  <a:pt x="164576" y="14264"/>
                </a:lnTo>
                <a:lnTo>
                  <a:pt x="194172" y="12138"/>
                </a:lnTo>
                <a:lnTo>
                  <a:pt x="223379" y="26374"/>
                </a:lnTo>
                <a:lnTo>
                  <a:pt x="231145" y="12933"/>
                </a:lnTo>
                <a:lnTo>
                  <a:pt x="253761" y="0"/>
                </a:lnTo>
                <a:lnTo>
                  <a:pt x="270896" y="25521"/>
                </a:lnTo>
                <a:lnTo>
                  <a:pt x="285030" y="25451"/>
                </a:lnTo>
                <a:lnTo>
                  <a:pt x="285217" y="43397"/>
                </a:lnTo>
                <a:lnTo>
                  <a:pt x="311984" y="54311"/>
                </a:lnTo>
                <a:lnTo>
                  <a:pt x="319434" y="37133"/>
                </a:lnTo>
                <a:lnTo>
                  <a:pt x="336496" y="26616"/>
                </a:lnTo>
                <a:lnTo>
                  <a:pt x="364458" y="25145"/>
                </a:lnTo>
                <a:lnTo>
                  <a:pt x="395468" y="39726"/>
                </a:lnTo>
                <a:lnTo>
                  <a:pt x="428933" y="19217"/>
                </a:lnTo>
                <a:lnTo>
                  <a:pt x="460267" y="22423"/>
                </a:lnTo>
                <a:lnTo>
                  <a:pt x="492431" y="33607"/>
                </a:lnTo>
                <a:lnTo>
                  <a:pt x="501866" y="48809"/>
                </a:lnTo>
                <a:lnTo>
                  <a:pt x="538865" y="64154"/>
                </a:lnTo>
                <a:close/>
              </a:path>
            </a:pathLst>
          </a:custGeom>
          <a:solidFill>
            <a:schemeClr val="bg2"/>
          </a:solidFill>
          <a:ln w="9525" cap="flat" cmpd="sng" algn="ctr">
            <a:solidFill>
              <a:schemeClr val="bg1"/>
            </a:solidFill>
            <a:prstDash val="solid"/>
          </a:ln>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7358380" algn="l"/>
              </a:tabLst>
            </a:pPr>
            <a:endParaRPr lang="en-US" sz="1500" dirty="0">
              <a:solidFill>
                <a:schemeClr val="accent3"/>
              </a:solidFill>
            </a:endParaRPr>
          </a:p>
        </p:txBody>
      </p:sp>
      <p:sp>
        <p:nvSpPr>
          <p:cNvPr id="64" name="ee4p_29_1_43215">
            <a:extLst>
              <a:ext uri="{FF2B5EF4-FFF2-40B4-BE49-F238E27FC236}">
                <a16:creationId xmlns:a16="http://schemas.microsoft.com/office/drawing/2014/main" id="{7E8046F3-56F3-4A85-A389-3842241AAD5F}"/>
              </a:ext>
            </a:extLst>
          </p:cNvPr>
          <p:cNvSpPr>
            <a:spLocks noChangeAspect="1"/>
          </p:cNvSpPr>
          <p:nvPr>
            <p:custDataLst>
              <p:tags r:id="rId17"/>
            </p:custDataLst>
          </p:nvPr>
        </p:nvSpPr>
        <p:spPr bwMode="gray">
          <a:xfrm>
            <a:off x="7728331" y="4977546"/>
            <a:ext cx="813522" cy="552924"/>
          </a:xfrm>
          <a:custGeom>
            <a:avLst/>
            <a:gdLst/>
            <a:ahLst/>
            <a:cxnLst/>
            <a:rect l="0" t="0" r="0" b="0"/>
            <a:pathLst>
              <a:path w="910821" h="559930">
                <a:moveTo>
                  <a:pt x="804527" y="545855"/>
                </a:moveTo>
                <a:lnTo>
                  <a:pt x="771363" y="543518"/>
                </a:lnTo>
                <a:lnTo>
                  <a:pt x="747958" y="533538"/>
                </a:lnTo>
                <a:lnTo>
                  <a:pt x="743125" y="516759"/>
                </a:lnTo>
                <a:lnTo>
                  <a:pt x="720452" y="519773"/>
                </a:lnTo>
                <a:lnTo>
                  <a:pt x="710974" y="513511"/>
                </a:lnTo>
                <a:lnTo>
                  <a:pt x="690399" y="513493"/>
                </a:lnTo>
                <a:lnTo>
                  <a:pt x="677855" y="499978"/>
                </a:lnTo>
                <a:lnTo>
                  <a:pt x="642723" y="499159"/>
                </a:lnTo>
                <a:lnTo>
                  <a:pt x="629756" y="505385"/>
                </a:lnTo>
                <a:lnTo>
                  <a:pt x="591758" y="509870"/>
                </a:lnTo>
                <a:lnTo>
                  <a:pt x="566112" y="518025"/>
                </a:lnTo>
                <a:lnTo>
                  <a:pt x="529268" y="551299"/>
                </a:lnTo>
                <a:lnTo>
                  <a:pt x="495318" y="559929"/>
                </a:lnTo>
                <a:lnTo>
                  <a:pt x="458762" y="547464"/>
                </a:lnTo>
                <a:lnTo>
                  <a:pt x="432080" y="552096"/>
                </a:lnTo>
                <a:lnTo>
                  <a:pt x="409949" y="543060"/>
                </a:lnTo>
                <a:lnTo>
                  <a:pt x="378243" y="552481"/>
                </a:lnTo>
                <a:lnTo>
                  <a:pt x="333824" y="538197"/>
                </a:lnTo>
                <a:lnTo>
                  <a:pt x="303956" y="532477"/>
                </a:lnTo>
                <a:lnTo>
                  <a:pt x="270206" y="539112"/>
                </a:lnTo>
                <a:lnTo>
                  <a:pt x="251793" y="534088"/>
                </a:lnTo>
                <a:lnTo>
                  <a:pt x="257498" y="502857"/>
                </a:lnTo>
                <a:lnTo>
                  <a:pt x="233278" y="489393"/>
                </a:lnTo>
                <a:lnTo>
                  <a:pt x="218719" y="474742"/>
                </a:lnTo>
                <a:lnTo>
                  <a:pt x="221792" y="456749"/>
                </a:lnTo>
                <a:lnTo>
                  <a:pt x="232739" y="441421"/>
                </a:lnTo>
                <a:lnTo>
                  <a:pt x="213168" y="430021"/>
                </a:lnTo>
                <a:lnTo>
                  <a:pt x="200165" y="434656"/>
                </a:lnTo>
                <a:lnTo>
                  <a:pt x="185314" y="458056"/>
                </a:lnTo>
                <a:lnTo>
                  <a:pt x="167047" y="439703"/>
                </a:lnTo>
                <a:lnTo>
                  <a:pt x="133119" y="436635"/>
                </a:lnTo>
                <a:lnTo>
                  <a:pt x="128062" y="424812"/>
                </a:lnTo>
                <a:lnTo>
                  <a:pt x="109141" y="421893"/>
                </a:lnTo>
                <a:lnTo>
                  <a:pt x="110542" y="398523"/>
                </a:lnTo>
                <a:lnTo>
                  <a:pt x="122221" y="379452"/>
                </a:lnTo>
                <a:lnTo>
                  <a:pt x="117921" y="372966"/>
                </a:lnTo>
                <a:lnTo>
                  <a:pt x="80528" y="360510"/>
                </a:lnTo>
                <a:lnTo>
                  <a:pt x="55031" y="338407"/>
                </a:lnTo>
                <a:lnTo>
                  <a:pt x="48519" y="322459"/>
                </a:lnTo>
                <a:lnTo>
                  <a:pt x="52091" y="307378"/>
                </a:lnTo>
                <a:lnTo>
                  <a:pt x="13656" y="279936"/>
                </a:lnTo>
                <a:lnTo>
                  <a:pt x="0" y="260455"/>
                </a:lnTo>
                <a:lnTo>
                  <a:pt x="46886" y="245411"/>
                </a:lnTo>
                <a:lnTo>
                  <a:pt x="88658" y="238928"/>
                </a:lnTo>
                <a:lnTo>
                  <a:pt x="103108" y="199163"/>
                </a:lnTo>
                <a:lnTo>
                  <a:pt x="122407" y="188310"/>
                </a:lnTo>
                <a:lnTo>
                  <a:pt x="141449" y="142206"/>
                </a:lnTo>
                <a:lnTo>
                  <a:pt x="157811" y="115741"/>
                </a:lnTo>
                <a:lnTo>
                  <a:pt x="171361" y="101933"/>
                </a:lnTo>
                <a:lnTo>
                  <a:pt x="170171" y="90839"/>
                </a:lnTo>
                <a:lnTo>
                  <a:pt x="184524" y="81744"/>
                </a:lnTo>
                <a:lnTo>
                  <a:pt x="193547" y="64607"/>
                </a:lnTo>
                <a:lnTo>
                  <a:pt x="234230" y="57164"/>
                </a:lnTo>
                <a:lnTo>
                  <a:pt x="254672" y="37126"/>
                </a:lnTo>
                <a:lnTo>
                  <a:pt x="273408" y="30859"/>
                </a:lnTo>
                <a:lnTo>
                  <a:pt x="279318" y="17551"/>
                </a:lnTo>
                <a:lnTo>
                  <a:pt x="308224" y="34400"/>
                </a:lnTo>
                <a:lnTo>
                  <a:pt x="339390" y="32088"/>
                </a:lnTo>
                <a:lnTo>
                  <a:pt x="383557" y="44238"/>
                </a:lnTo>
                <a:lnTo>
                  <a:pt x="403645" y="35105"/>
                </a:lnTo>
                <a:lnTo>
                  <a:pt x="421788" y="37418"/>
                </a:lnTo>
                <a:lnTo>
                  <a:pt x="446923" y="65444"/>
                </a:lnTo>
                <a:lnTo>
                  <a:pt x="462084" y="65320"/>
                </a:lnTo>
                <a:lnTo>
                  <a:pt x="481350" y="44308"/>
                </a:lnTo>
                <a:lnTo>
                  <a:pt x="520538" y="37684"/>
                </a:lnTo>
                <a:lnTo>
                  <a:pt x="533184" y="38946"/>
                </a:lnTo>
                <a:lnTo>
                  <a:pt x="573186" y="32022"/>
                </a:lnTo>
                <a:lnTo>
                  <a:pt x="587182" y="8498"/>
                </a:lnTo>
                <a:lnTo>
                  <a:pt x="633119" y="0"/>
                </a:lnTo>
                <a:lnTo>
                  <a:pt x="655727" y="18630"/>
                </a:lnTo>
                <a:lnTo>
                  <a:pt x="668989" y="38012"/>
                </a:lnTo>
                <a:lnTo>
                  <a:pt x="682385" y="75636"/>
                </a:lnTo>
                <a:lnTo>
                  <a:pt x="710188" y="114082"/>
                </a:lnTo>
                <a:lnTo>
                  <a:pt x="722208" y="118140"/>
                </a:lnTo>
                <a:lnTo>
                  <a:pt x="729050" y="136963"/>
                </a:lnTo>
                <a:lnTo>
                  <a:pt x="756469" y="155546"/>
                </a:lnTo>
                <a:lnTo>
                  <a:pt x="759576" y="175944"/>
                </a:lnTo>
                <a:lnTo>
                  <a:pt x="772821" y="200339"/>
                </a:lnTo>
                <a:lnTo>
                  <a:pt x="773440" y="221776"/>
                </a:lnTo>
                <a:lnTo>
                  <a:pt x="759125" y="246408"/>
                </a:lnTo>
                <a:lnTo>
                  <a:pt x="756950" y="274566"/>
                </a:lnTo>
                <a:lnTo>
                  <a:pt x="765014" y="310724"/>
                </a:lnTo>
                <a:lnTo>
                  <a:pt x="761914" y="326706"/>
                </a:lnTo>
                <a:lnTo>
                  <a:pt x="781544" y="357012"/>
                </a:lnTo>
                <a:lnTo>
                  <a:pt x="803510" y="366256"/>
                </a:lnTo>
                <a:lnTo>
                  <a:pt x="824288" y="367506"/>
                </a:lnTo>
                <a:lnTo>
                  <a:pt x="849348" y="352804"/>
                </a:lnTo>
                <a:lnTo>
                  <a:pt x="886648" y="342940"/>
                </a:lnTo>
                <a:lnTo>
                  <a:pt x="898702" y="347120"/>
                </a:lnTo>
                <a:lnTo>
                  <a:pt x="910820" y="363910"/>
                </a:lnTo>
                <a:lnTo>
                  <a:pt x="903357" y="415127"/>
                </a:lnTo>
                <a:lnTo>
                  <a:pt x="863271" y="421680"/>
                </a:lnTo>
                <a:lnTo>
                  <a:pt x="840567" y="439242"/>
                </a:lnTo>
                <a:lnTo>
                  <a:pt x="829913" y="456256"/>
                </a:lnTo>
                <a:lnTo>
                  <a:pt x="810318" y="476535"/>
                </a:lnTo>
                <a:lnTo>
                  <a:pt x="813106" y="516524"/>
                </a:lnTo>
                <a:close/>
              </a:path>
            </a:pathLst>
          </a:custGeom>
          <a:solidFill>
            <a:srgbClr val="EEECE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65" name="ee4p_32_1_43215">
            <a:extLst>
              <a:ext uri="{FF2B5EF4-FFF2-40B4-BE49-F238E27FC236}">
                <a16:creationId xmlns:a16="http://schemas.microsoft.com/office/drawing/2014/main" id="{F7D7DF10-BD43-41F8-9698-022038C25507}"/>
              </a:ext>
            </a:extLst>
          </p:cNvPr>
          <p:cNvSpPr>
            <a:spLocks noChangeAspect="1"/>
          </p:cNvSpPr>
          <p:nvPr>
            <p:custDataLst>
              <p:tags r:id="rId18"/>
            </p:custDataLst>
          </p:nvPr>
        </p:nvSpPr>
        <p:spPr bwMode="gray">
          <a:xfrm>
            <a:off x="7749939" y="5677162"/>
            <a:ext cx="217774" cy="171106"/>
          </a:xfrm>
          <a:custGeom>
            <a:avLst/>
            <a:gdLst/>
            <a:ahLst/>
            <a:cxnLst/>
            <a:rect l="0" t="0" r="0" b="0"/>
            <a:pathLst>
              <a:path w="243820" h="173274">
                <a:moveTo>
                  <a:pt x="178610" y="4831"/>
                </a:moveTo>
                <a:lnTo>
                  <a:pt x="194918" y="24841"/>
                </a:lnTo>
                <a:lnTo>
                  <a:pt x="227669" y="38451"/>
                </a:lnTo>
                <a:lnTo>
                  <a:pt x="228863" y="49625"/>
                </a:lnTo>
                <a:lnTo>
                  <a:pt x="243819" y="74739"/>
                </a:lnTo>
                <a:lnTo>
                  <a:pt x="235863" y="82456"/>
                </a:lnTo>
                <a:lnTo>
                  <a:pt x="238355" y="105683"/>
                </a:lnTo>
                <a:lnTo>
                  <a:pt x="233511" y="117639"/>
                </a:lnTo>
                <a:lnTo>
                  <a:pt x="218076" y="119146"/>
                </a:lnTo>
                <a:lnTo>
                  <a:pt x="216075" y="137888"/>
                </a:lnTo>
                <a:lnTo>
                  <a:pt x="188792" y="143220"/>
                </a:lnTo>
                <a:lnTo>
                  <a:pt x="168940" y="137524"/>
                </a:lnTo>
                <a:lnTo>
                  <a:pt x="150244" y="138635"/>
                </a:lnTo>
                <a:lnTo>
                  <a:pt x="134941" y="146206"/>
                </a:lnTo>
                <a:lnTo>
                  <a:pt x="124386" y="159497"/>
                </a:lnTo>
                <a:lnTo>
                  <a:pt x="101813" y="172037"/>
                </a:lnTo>
                <a:lnTo>
                  <a:pt x="87369" y="166140"/>
                </a:lnTo>
                <a:lnTo>
                  <a:pt x="72102" y="172832"/>
                </a:lnTo>
                <a:lnTo>
                  <a:pt x="45080" y="173273"/>
                </a:lnTo>
                <a:lnTo>
                  <a:pt x="41074" y="165361"/>
                </a:lnTo>
                <a:lnTo>
                  <a:pt x="21090" y="166826"/>
                </a:lnTo>
                <a:lnTo>
                  <a:pt x="15125" y="146609"/>
                </a:lnTo>
                <a:lnTo>
                  <a:pt x="1852" y="133730"/>
                </a:lnTo>
                <a:lnTo>
                  <a:pt x="4205" y="89511"/>
                </a:lnTo>
                <a:lnTo>
                  <a:pt x="0" y="72301"/>
                </a:lnTo>
                <a:lnTo>
                  <a:pt x="4376" y="56205"/>
                </a:lnTo>
                <a:lnTo>
                  <a:pt x="20674" y="56787"/>
                </a:lnTo>
                <a:lnTo>
                  <a:pt x="26158" y="31862"/>
                </a:lnTo>
                <a:lnTo>
                  <a:pt x="62647" y="18114"/>
                </a:lnTo>
                <a:lnTo>
                  <a:pt x="68618" y="30000"/>
                </a:lnTo>
                <a:lnTo>
                  <a:pt x="89688" y="9130"/>
                </a:lnTo>
                <a:lnTo>
                  <a:pt x="113112" y="12911"/>
                </a:lnTo>
                <a:lnTo>
                  <a:pt x="138519" y="990"/>
                </a:lnTo>
                <a:lnTo>
                  <a:pt x="146791" y="6280"/>
                </a:lnTo>
                <a:lnTo>
                  <a:pt x="171902" y="0"/>
                </a:lnTo>
                <a:close/>
              </a:path>
            </a:pathLst>
          </a:custGeom>
          <a:solidFill>
            <a:schemeClr val="bg2"/>
          </a:solidFill>
          <a:ln w="9525" cap="flat" cmpd="sng" algn="ctr">
            <a:solidFill>
              <a:schemeClr val="bg1"/>
            </a:solidFill>
            <a:prstDash val="solid"/>
          </a:ln>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7358380" algn="l"/>
              </a:tabLst>
            </a:pPr>
            <a:endParaRPr lang="en-US" sz="1500" dirty="0">
              <a:solidFill>
                <a:schemeClr val="accent3"/>
              </a:solidFill>
            </a:endParaRPr>
          </a:p>
        </p:txBody>
      </p:sp>
      <p:sp>
        <p:nvSpPr>
          <p:cNvPr id="66" name="ee4p_33_1_43215">
            <a:extLst>
              <a:ext uri="{FF2B5EF4-FFF2-40B4-BE49-F238E27FC236}">
                <a16:creationId xmlns:a16="http://schemas.microsoft.com/office/drawing/2014/main" id="{57A19546-33A1-4408-9EC5-A121C810DDA0}"/>
              </a:ext>
            </a:extLst>
          </p:cNvPr>
          <p:cNvSpPr>
            <a:spLocks noChangeAspect="1"/>
          </p:cNvSpPr>
          <p:nvPr>
            <p:custDataLst>
              <p:tags r:id="rId19"/>
            </p:custDataLst>
          </p:nvPr>
        </p:nvSpPr>
        <p:spPr bwMode="gray">
          <a:xfrm>
            <a:off x="7570504" y="5544174"/>
            <a:ext cx="165489" cy="187844"/>
          </a:xfrm>
          <a:custGeom>
            <a:avLst/>
            <a:gdLst/>
            <a:ahLst/>
            <a:cxnLst/>
            <a:rect l="0" t="0" r="0" b="0"/>
            <a:pathLst>
              <a:path w="185281" h="190225">
                <a:moveTo>
                  <a:pt x="8428" y="126762"/>
                </a:moveTo>
                <a:lnTo>
                  <a:pt x="0" y="110979"/>
                </a:lnTo>
                <a:lnTo>
                  <a:pt x="9181" y="102112"/>
                </a:lnTo>
                <a:lnTo>
                  <a:pt x="3834" y="87687"/>
                </a:lnTo>
                <a:lnTo>
                  <a:pt x="4385" y="64226"/>
                </a:lnTo>
                <a:lnTo>
                  <a:pt x="20297" y="56309"/>
                </a:lnTo>
                <a:lnTo>
                  <a:pt x="23889" y="29835"/>
                </a:lnTo>
                <a:lnTo>
                  <a:pt x="45875" y="16577"/>
                </a:lnTo>
                <a:lnTo>
                  <a:pt x="62110" y="22322"/>
                </a:lnTo>
                <a:lnTo>
                  <a:pt x="59132" y="0"/>
                </a:lnTo>
                <a:lnTo>
                  <a:pt x="75794" y="2193"/>
                </a:lnTo>
                <a:lnTo>
                  <a:pt x="104817" y="21293"/>
                </a:lnTo>
                <a:lnTo>
                  <a:pt x="107089" y="29921"/>
                </a:lnTo>
                <a:lnTo>
                  <a:pt x="130600" y="44195"/>
                </a:lnTo>
                <a:lnTo>
                  <a:pt x="147979" y="48757"/>
                </a:lnTo>
                <a:lnTo>
                  <a:pt x="162834" y="63145"/>
                </a:lnTo>
                <a:lnTo>
                  <a:pt x="184490" y="69437"/>
                </a:lnTo>
                <a:lnTo>
                  <a:pt x="185280" y="78511"/>
                </a:lnTo>
                <a:lnTo>
                  <a:pt x="169627" y="88821"/>
                </a:lnTo>
                <a:lnTo>
                  <a:pt x="152022" y="115515"/>
                </a:lnTo>
                <a:lnTo>
                  <a:pt x="131014" y="119350"/>
                </a:lnTo>
                <a:lnTo>
                  <a:pt x="114542" y="107004"/>
                </a:lnTo>
                <a:lnTo>
                  <a:pt x="81703" y="154774"/>
                </a:lnTo>
                <a:lnTo>
                  <a:pt x="93331" y="163646"/>
                </a:lnTo>
                <a:lnTo>
                  <a:pt x="90640" y="190224"/>
                </a:lnTo>
                <a:lnTo>
                  <a:pt x="72530" y="184216"/>
                </a:lnTo>
                <a:lnTo>
                  <a:pt x="67924" y="170778"/>
                </a:lnTo>
                <a:lnTo>
                  <a:pt x="45399" y="150101"/>
                </a:lnTo>
                <a:lnTo>
                  <a:pt x="26042" y="138225"/>
                </a:lnTo>
                <a:lnTo>
                  <a:pt x="23498" y="122286"/>
                </a:lnTo>
                <a:close/>
              </a:path>
            </a:pathLst>
          </a:custGeom>
          <a:solidFill>
            <a:schemeClr val="bg2"/>
          </a:solidFill>
          <a:ln w="9525" cap="flat" cmpd="sng" algn="ctr">
            <a:solidFill>
              <a:schemeClr val="bg1"/>
            </a:solidFill>
            <a:prstDash val="solid"/>
          </a:ln>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7358380" algn="l"/>
              </a:tabLst>
            </a:pPr>
            <a:endParaRPr lang="en-US" sz="1500" dirty="0">
              <a:solidFill>
                <a:schemeClr val="accent3"/>
              </a:solidFill>
            </a:endParaRPr>
          </a:p>
        </p:txBody>
      </p:sp>
      <p:sp>
        <p:nvSpPr>
          <p:cNvPr id="67" name="ee4p_35_1_43215">
            <a:extLst>
              <a:ext uri="{FF2B5EF4-FFF2-40B4-BE49-F238E27FC236}">
                <a16:creationId xmlns:a16="http://schemas.microsoft.com/office/drawing/2014/main" id="{D422AEBE-484A-44EC-A32A-CC53B33AF5A0}"/>
              </a:ext>
            </a:extLst>
          </p:cNvPr>
          <p:cNvSpPr>
            <a:spLocks noChangeAspect="1"/>
          </p:cNvSpPr>
          <p:nvPr>
            <p:custDataLst>
              <p:tags r:id="rId20"/>
            </p:custDataLst>
          </p:nvPr>
        </p:nvSpPr>
        <p:spPr bwMode="gray">
          <a:xfrm>
            <a:off x="6549785" y="5128268"/>
            <a:ext cx="1027818" cy="1185006"/>
          </a:xfrm>
          <a:custGeom>
            <a:avLst/>
            <a:gdLst/>
            <a:ahLst/>
            <a:cxnLst/>
            <a:rect l="l" t="t" r="r" b="b"/>
            <a:pathLst>
              <a:path w="1150746" h="1200023">
                <a:moveTo>
                  <a:pt x="860420" y="1019972"/>
                </a:moveTo>
                <a:lnTo>
                  <a:pt x="873303" y="1023381"/>
                </a:lnTo>
                <a:lnTo>
                  <a:pt x="866833" y="1025546"/>
                </a:lnTo>
                <a:lnTo>
                  <a:pt x="856299" y="1047258"/>
                </a:lnTo>
                <a:lnTo>
                  <a:pt x="830535" y="1081132"/>
                </a:lnTo>
                <a:lnTo>
                  <a:pt x="827170" y="1100890"/>
                </a:lnTo>
                <a:lnTo>
                  <a:pt x="818438" y="1111303"/>
                </a:lnTo>
                <a:lnTo>
                  <a:pt x="820301" y="1130539"/>
                </a:lnTo>
                <a:lnTo>
                  <a:pt x="839362" y="1163403"/>
                </a:lnTo>
                <a:lnTo>
                  <a:pt x="828544" y="1170905"/>
                </a:lnTo>
                <a:lnTo>
                  <a:pt x="819252" y="1187375"/>
                </a:lnTo>
                <a:lnTo>
                  <a:pt x="823517" y="1200023"/>
                </a:lnTo>
                <a:lnTo>
                  <a:pt x="799869" y="1195197"/>
                </a:lnTo>
                <a:lnTo>
                  <a:pt x="789146" y="1198048"/>
                </a:lnTo>
                <a:lnTo>
                  <a:pt x="761123" y="1188823"/>
                </a:lnTo>
                <a:lnTo>
                  <a:pt x="742185" y="1161147"/>
                </a:lnTo>
                <a:lnTo>
                  <a:pt x="720061" y="1152797"/>
                </a:lnTo>
                <a:lnTo>
                  <a:pt x="706754" y="1154550"/>
                </a:lnTo>
                <a:lnTo>
                  <a:pt x="680781" y="1143560"/>
                </a:lnTo>
                <a:lnTo>
                  <a:pt x="669893" y="1133141"/>
                </a:lnTo>
                <a:lnTo>
                  <a:pt x="647754" y="1124598"/>
                </a:lnTo>
                <a:lnTo>
                  <a:pt x="633220" y="1110404"/>
                </a:lnTo>
                <a:lnTo>
                  <a:pt x="611861" y="1101599"/>
                </a:lnTo>
                <a:lnTo>
                  <a:pt x="585549" y="1102718"/>
                </a:lnTo>
                <a:lnTo>
                  <a:pt x="565436" y="1086552"/>
                </a:lnTo>
                <a:lnTo>
                  <a:pt x="564234" y="1063605"/>
                </a:lnTo>
                <a:lnTo>
                  <a:pt x="569892" y="1051075"/>
                </a:lnTo>
                <a:lnTo>
                  <a:pt x="588650" y="1041077"/>
                </a:lnTo>
                <a:lnTo>
                  <a:pt x="606257" y="1050649"/>
                </a:lnTo>
                <a:lnTo>
                  <a:pt x="624175" y="1043481"/>
                </a:lnTo>
                <a:lnTo>
                  <a:pt x="626826" y="1031956"/>
                </a:lnTo>
                <a:lnTo>
                  <a:pt x="647401" y="1028201"/>
                </a:lnTo>
                <a:lnTo>
                  <a:pt x="656282" y="1042288"/>
                </a:lnTo>
                <a:lnTo>
                  <a:pt x="688577" y="1056717"/>
                </a:lnTo>
                <a:lnTo>
                  <a:pt x="716435" y="1048882"/>
                </a:lnTo>
                <a:lnTo>
                  <a:pt x="748594" y="1051749"/>
                </a:lnTo>
                <a:lnTo>
                  <a:pt x="774439" y="1045448"/>
                </a:lnTo>
                <a:lnTo>
                  <a:pt x="785733" y="1034771"/>
                </a:lnTo>
                <a:lnTo>
                  <a:pt x="826648" y="1036361"/>
                </a:lnTo>
                <a:close/>
                <a:moveTo>
                  <a:pt x="252498" y="684169"/>
                </a:moveTo>
                <a:lnTo>
                  <a:pt x="284415" y="699157"/>
                </a:lnTo>
                <a:lnTo>
                  <a:pt x="282378" y="721792"/>
                </a:lnTo>
                <a:lnTo>
                  <a:pt x="294500" y="737172"/>
                </a:lnTo>
                <a:lnTo>
                  <a:pt x="309752" y="766675"/>
                </a:lnTo>
                <a:lnTo>
                  <a:pt x="290728" y="795542"/>
                </a:lnTo>
                <a:lnTo>
                  <a:pt x="300699" y="818486"/>
                </a:lnTo>
                <a:lnTo>
                  <a:pt x="296132" y="828808"/>
                </a:lnTo>
                <a:lnTo>
                  <a:pt x="294919" y="858331"/>
                </a:lnTo>
                <a:lnTo>
                  <a:pt x="284132" y="924692"/>
                </a:lnTo>
                <a:lnTo>
                  <a:pt x="271559" y="926489"/>
                </a:lnTo>
                <a:lnTo>
                  <a:pt x="258259" y="916590"/>
                </a:lnTo>
                <a:lnTo>
                  <a:pt x="234933" y="919379"/>
                </a:lnTo>
                <a:lnTo>
                  <a:pt x="230684" y="942187"/>
                </a:lnTo>
                <a:lnTo>
                  <a:pt x="215981" y="954582"/>
                </a:lnTo>
                <a:lnTo>
                  <a:pt x="195483" y="952938"/>
                </a:lnTo>
                <a:lnTo>
                  <a:pt x="168299" y="914881"/>
                </a:lnTo>
                <a:lnTo>
                  <a:pt x="168893" y="898285"/>
                </a:lnTo>
                <a:lnTo>
                  <a:pt x="178372" y="872587"/>
                </a:lnTo>
                <a:lnTo>
                  <a:pt x="176862" y="860052"/>
                </a:lnTo>
                <a:lnTo>
                  <a:pt x="184840" y="839501"/>
                </a:lnTo>
                <a:lnTo>
                  <a:pt x="171374" y="838062"/>
                </a:lnTo>
                <a:lnTo>
                  <a:pt x="180490" y="817206"/>
                </a:lnTo>
                <a:lnTo>
                  <a:pt x="179573" y="796100"/>
                </a:lnTo>
                <a:lnTo>
                  <a:pt x="163578" y="761785"/>
                </a:lnTo>
                <a:lnTo>
                  <a:pt x="147350" y="760895"/>
                </a:lnTo>
                <a:lnTo>
                  <a:pt x="145864" y="742833"/>
                </a:lnTo>
                <a:lnTo>
                  <a:pt x="153992" y="727603"/>
                </a:lnTo>
                <a:lnTo>
                  <a:pt x="177989" y="733292"/>
                </a:lnTo>
                <a:lnTo>
                  <a:pt x="209188" y="721527"/>
                </a:lnTo>
                <a:lnTo>
                  <a:pt x="233650" y="696714"/>
                </a:lnTo>
                <a:close/>
                <a:moveTo>
                  <a:pt x="339543" y="502758"/>
                </a:moveTo>
                <a:lnTo>
                  <a:pt x="368617" y="503711"/>
                </a:lnTo>
                <a:lnTo>
                  <a:pt x="341592" y="511553"/>
                </a:lnTo>
                <a:close/>
                <a:moveTo>
                  <a:pt x="483770" y="0"/>
                </a:moveTo>
                <a:lnTo>
                  <a:pt x="493493" y="4998"/>
                </a:lnTo>
                <a:lnTo>
                  <a:pt x="531584" y="769"/>
                </a:lnTo>
                <a:lnTo>
                  <a:pt x="556382" y="35489"/>
                </a:lnTo>
                <a:lnTo>
                  <a:pt x="575003" y="44112"/>
                </a:lnTo>
                <a:lnTo>
                  <a:pt x="625080" y="50218"/>
                </a:lnTo>
                <a:lnTo>
                  <a:pt x="647564" y="56094"/>
                </a:lnTo>
                <a:lnTo>
                  <a:pt x="685708" y="59767"/>
                </a:lnTo>
                <a:lnTo>
                  <a:pt x="683728" y="69346"/>
                </a:lnTo>
                <a:lnTo>
                  <a:pt x="658887" y="80210"/>
                </a:lnTo>
                <a:lnTo>
                  <a:pt x="657285" y="95205"/>
                </a:lnTo>
                <a:lnTo>
                  <a:pt x="680886" y="101629"/>
                </a:lnTo>
                <a:lnTo>
                  <a:pt x="663172" y="122841"/>
                </a:lnTo>
                <a:lnTo>
                  <a:pt x="678257" y="130591"/>
                </a:lnTo>
                <a:lnTo>
                  <a:pt x="672319" y="141489"/>
                </a:lnTo>
                <a:lnTo>
                  <a:pt x="693594" y="154094"/>
                </a:lnTo>
                <a:lnTo>
                  <a:pt x="705493" y="167306"/>
                </a:lnTo>
                <a:lnTo>
                  <a:pt x="686544" y="171975"/>
                </a:lnTo>
                <a:lnTo>
                  <a:pt x="689499" y="161637"/>
                </a:lnTo>
                <a:lnTo>
                  <a:pt x="677737" y="150844"/>
                </a:lnTo>
                <a:lnTo>
                  <a:pt x="662286" y="158776"/>
                </a:lnTo>
                <a:lnTo>
                  <a:pt x="638563" y="152612"/>
                </a:lnTo>
                <a:lnTo>
                  <a:pt x="626026" y="167039"/>
                </a:lnTo>
                <a:lnTo>
                  <a:pt x="608576" y="169792"/>
                </a:lnTo>
                <a:lnTo>
                  <a:pt x="565313" y="189852"/>
                </a:lnTo>
                <a:lnTo>
                  <a:pt x="559526" y="178350"/>
                </a:lnTo>
                <a:lnTo>
                  <a:pt x="535777" y="196497"/>
                </a:lnTo>
                <a:lnTo>
                  <a:pt x="532345" y="211839"/>
                </a:lnTo>
                <a:lnTo>
                  <a:pt x="548740" y="217147"/>
                </a:lnTo>
                <a:lnTo>
                  <a:pt x="548967" y="241691"/>
                </a:lnTo>
                <a:lnTo>
                  <a:pt x="567646" y="246746"/>
                </a:lnTo>
                <a:lnTo>
                  <a:pt x="543914" y="271869"/>
                </a:lnTo>
                <a:lnTo>
                  <a:pt x="547806" y="307408"/>
                </a:lnTo>
                <a:lnTo>
                  <a:pt x="560707" y="340356"/>
                </a:lnTo>
                <a:lnTo>
                  <a:pt x="591207" y="366118"/>
                </a:lnTo>
                <a:lnTo>
                  <a:pt x="607641" y="371458"/>
                </a:lnTo>
                <a:lnTo>
                  <a:pt x="645661" y="401077"/>
                </a:lnTo>
                <a:lnTo>
                  <a:pt x="666293" y="406654"/>
                </a:lnTo>
                <a:lnTo>
                  <a:pt x="676936" y="421224"/>
                </a:lnTo>
                <a:lnTo>
                  <a:pt x="698062" y="468059"/>
                </a:lnTo>
                <a:lnTo>
                  <a:pt x="707582" y="501927"/>
                </a:lnTo>
                <a:lnTo>
                  <a:pt x="724734" y="532199"/>
                </a:lnTo>
                <a:lnTo>
                  <a:pt x="753150" y="555330"/>
                </a:lnTo>
                <a:lnTo>
                  <a:pt x="762651" y="567611"/>
                </a:lnTo>
                <a:lnTo>
                  <a:pt x="782631" y="576714"/>
                </a:lnTo>
                <a:lnTo>
                  <a:pt x="782866" y="584593"/>
                </a:lnTo>
                <a:lnTo>
                  <a:pt x="817958" y="603575"/>
                </a:lnTo>
                <a:lnTo>
                  <a:pt x="845507" y="608171"/>
                </a:lnTo>
                <a:lnTo>
                  <a:pt x="908008" y="602687"/>
                </a:lnTo>
                <a:lnTo>
                  <a:pt x="923967" y="610258"/>
                </a:lnTo>
                <a:lnTo>
                  <a:pt x="924948" y="623308"/>
                </a:lnTo>
                <a:lnTo>
                  <a:pt x="897531" y="641155"/>
                </a:lnTo>
                <a:lnTo>
                  <a:pt x="905757" y="661601"/>
                </a:lnTo>
                <a:lnTo>
                  <a:pt x="968126" y="690332"/>
                </a:lnTo>
                <a:lnTo>
                  <a:pt x="1008920" y="703522"/>
                </a:lnTo>
                <a:lnTo>
                  <a:pt x="1030645" y="715768"/>
                </a:lnTo>
                <a:lnTo>
                  <a:pt x="1049341" y="731770"/>
                </a:lnTo>
                <a:lnTo>
                  <a:pt x="1101791" y="753687"/>
                </a:lnTo>
                <a:lnTo>
                  <a:pt x="1103752" y="761763"/>
                </a:lnTo>
                <a:lnTo>
                  <a:pt x="1141356" y="793563"/>
                </a:lnTo>
                <a:lnTo>
                  <a:pt x="1150746" y="814936"/>
                </a:lnTo>
                <a:lnTo>
                  <a:pt x="1142562" y="824321"/>
                </a:lnTo>
                <a:lnTo>
                  <a:pt x="1136119" y="850634"/>
                </a:lnTo>
                <a:lnTo>
                  <a:pt x="1105047" y="835280"/>
                </a:lnTo>
                <a:lnTo>
                  <a:pt x="1099169" y="811087"/>
                </a:lnTo>
                <a:lnTo>
                  <a:pt x="1086803" y="794624"/>
                </a:lnTo>
                <a:lnTo>
                  <a:pt x="1053070" y="793462"/>
                </a:lnTo>
                <a:lnTo>
                  <a:pt x="1027557" y="781925"/>
                </a:lnTo>
                <a:lnTo>
                  <a:pt x="1015945" y="767928"/>
                </a:lnTo>
                <a:lnTo>
                  <a:pt x="998541" y="773585"/>
                </a:lnTo>
                <a:lnTo>
                  <a:pt x="965543" y="817769"/>
                </a:lnTo>
                <a:lnTo>
                  <a:pt x="967814" y="831170"/>
                </a:lnTo>
                <a:lnTo>
                  <a:pt x="954334" y="849540"/>
                </a:lnTo>
                <a:lnTo>
                  <a:pt x="957023" y="864924"/>
                </a:lnTo>
                <a:lnTo>
                  <a:pt x="981463" y="870282"/>
                </a:lnTo>
                <a:lnTo>
                  <a:pt x="1006072" y="885913"/>
                </a:lnTo>
                <a:lnTo>
                  <a:pt x="1016772" y="898358"/>
                </a:lnTo>
                <a:lnTo>
                  <a:pt x="1014196" y="928216"/>
                </a:lnTo>
                <a:lnTo>
                  <a:pt x="1021923" y="938413"/>
                </a:lnTo>
                <a:lnTo>
                  <a:pt x="1013446" y="951481"/>
                </a:lnTo>
                <a:lnTo>
                  <a:pt x="1002101" y="947779"/>
                </a:lnTo>
                <a:lnTo>
                  <a:pt x="980774" y="953146"/>
                </a:lnTo>
                <a:lnTo>
                  <a:pt x="965350" y="962162"/>
                </a:lnTo>
                <a:lnTo>
                  <a:pt x="960953" y="976812"/>
                </a:lnTo>
                <a:lnTo>
                  <a:pt x="963151" y="1002812"/>
                </a:lnTo>
                <a:lnTo>
                  <a:pt x="951923" y="1015345"/>
                </a:lnTo>
                <a:lnTo>
                  <a:pt x="939447" y="1019581"/>
                </a:lnTo>
                <a:lnTo>
                  <a:pt x="922543" y="1039009"/>
                </a:lnTo>
                <a:lnTo>
                  <a:pt x="913060" y="1061855"/>
                </a:lnTo>
                <a:lnTo>
                  <a:pt x="884073" y="1062791"/>
                </a:lnTo>
                <a:lnTo>
                  <a:pt x="871481" y="1051324"/>
                </a:lnTo>
                <a:lnTo>
                  <a:pt x="871671" y="1027387"/>
                </a:lnTo>
                <a:lnTo>
                  <a:pt x="888342" y="1020616"/>
                </a:lnTo>
                <a:lnTo>
                  <a:pt x="899970" y="991503"/>
                </a:lnTo>
                <a:lnTo>
                  <a:pt x="890089" y="983254"/>
                </a:lnTo>
                <a:lnTo>
                  <a:pt x="905261" y="972156"/>
                </a:lnTo>
                <a:lnTo>
                  <a:pt x="917021" y="973270"/>
                </a:lnTo>
                <a:lnTo>
                  <a:pt x="927569" y="962155"/>
                </a:lnTo>
                <a:lnTo>
                  <a:pt x="927223" y="948584"/>
                </a:lnTo>
                <a:lnTo>
                  <a:pt x="916385" y="937416"/>
                </a:lnTo>
                <a:lnTo>
                  <a:pt x="906087" y="890087"/>
                </a:lnTo>
                <a:lnTo>
                  <a:pt x="889039" y="863741"/>
                </a:lnTo>
                <a:lnTo>
                  <a:pt x="885588" y="839369"/>
                </a:lnTo>
                <a:lnTo>
                  <a:pt x="871333" y="819409"/>
                </a:lnTo>
                <a:lnTo>
                  <a:pt x="850655" y="828199"/>
                </a:lnTo>
                <a:lnTo>
                  <a:pt x="838594" y="823848"/>
                </a:lnTo>
                <a:lnTo>
                  <a:pt x="821562" y="806884"/>
                </a:lnTo>
                <a:lnTo>
                  <a:pt x="802923" y="800593"/>
                </a:lnTo>
                <a:lnTo>
                  <a:pt x="808515" y="778701"/>
                </a:lnTo>
                <a:lnTo>
                  <a:pt x="798797" y="760775"/>
                </a:lnTo>
                <a:lnTo>
                  <a:pt x="759961" y="746435"/>
                </a:lnTo>
                <a:lnTo>
                  <a:pt x="738958" y="730394"/>
                </a:lnTo>
                <a:lnTo>
                  <a:pt x="721970" y="731992"/>
                </a:lnTo>
                <a:lnTo>
                  <a:pt x="695343" y="691276"/>
                </a:lnTo>
                <a:lnTo>
                  <a:pt x="676844" y="682461"/>
                </a:lnTo>
                <a:lnTo>
                  <a:pt x="669008" y="687862"/>
                </a:lnTo>
                <a:lnTo>
                  <a:pt x="643842" y="678219"/>
                </a:lnTo>
                <a:lnTo>
                  <a:pt x="621144" y="686416"/>
                </a:lnTo>
                <a:lnTo>
                  <a:pt x="603990" y="665639"/>
                </a:lnTo>
                <a:lnTo>
                  <a:pt x="579636" y="660394"/>
                </a:lnTo>
                <a:lnTo>
                  <a:pt x="563998" y="640381"/>
                </a:lnTo>
                <a:lnTo>
                  <a:pt x="542215" y="626926"/>
                </a:lnTo>
                <a:lnTo>
                  <a:pt x="531913" y="605425"/>
                </a:lnTo>
                <a:lnTo>
                  <a:pt x="503913" y="593450"/>
                </a:lnTo>
                <a:lnTo>
                  <a:pt x="490536" y="569708"/>
                </a:lnTo>
                <a:lnTo>
                  <a:pt x="476301" y="557127"/>
                </a:lnTo>
                <a:lnTo>
                  <a:pt x="450210" y="549325"/>
                </a:lnTo>
                <a:lnTo>
                  <a:pt x="414541" y="509065"/>
                </a:lnTo>
                <a:lnTo>
                  <a:pt x="402409" y="506582"/>
                </a:lnTo>
                <a:lnTo>
                  <a:pt x="401013" y="490660"/>
                </a:lnTo>
                <a:lnTo>
                  <a:pt x="373090" y="481525"/>
                </a:lnTo>
                <a:lnTo>
                  <a:pt x="378438" y="460404"/>
                </a:lnTo>
                <a:lnTo>
                  <a:pt x="374830" y="445977"/>
                </a:lnTo>
                <a:lnTo>
                  <a:pt x="354786" y="415222"/>
                </a:lnTo>
                <a:lnTo>
                  <a:pt x="349540" y="377770"/>
                </a:lnTo>
                <a:lnTo>
                  <a:pt x="335162" y="360866"/>
                </a:lnTo>
                <a:lnTo>
                  <a:pt x="310178" y="356462"/>
                </a:lnTo>
                <a:lnTo>
                  <a:pt x="251842" y="321016"/>
                </a:lnTo>
                <a:lnTo>
                  <a:pt x="204892" y="311648"/>
                </a:lnTo>
                <a:lnTo>
                  <a:pt x="175488" y="329601"/>
                </a:lnTo>
                <a:lnTo>
                  <a:pt x="171823" y="340873"/>
                </a:lnTo>
                <a:lnTo>
                  <a:pt x="155787" y="350222"/>
                </a:lnTo>
                <a:lnTo>
                  <a:pt x="145178" y="371024"/>
                </a:lnTo>
                <a:lnTo>
                  <a:pt x="101102" y="388780"/>
                </a:lnTo>
                <a:lnTo>
                  <a:pt x="87305" y="387876"/>
                </a:lnTo>
                <a:lnTo>
                  <a:pt x="85552" y="375876"/>
                </a:lnTo>
                <a:lnTo>
                  <a:pt x="105041" y="351957"/>
                </a:lnTo>
                <a:lnTo>
                  <a:pt x="100917" y="343978"/>
                </a:lnTo>
                <a:lnTo>
                  <a:pt x="70651" y="348559"/>
                </a:lnTo>
                <a:lnTo>
                  <a:pt x="36790" y="334265"/>
                </a:lnTo>
                <a:lnTo>
                  <a:pt x="26087" y="317817"/>
                </a:lnTo>
                <a:lnTo>
                  <a:pt x="21834" y="299573"/>
                </a:lnTo>
                <a:lnTo>
                  <a:pt x="38887" y="275574"/>
                </a:lnTo>
                <a:lnTo>
                  <a:pt x="36174" y="262161"/>
                </a:lnTo>
                <a:lnTo>
                  <a:pt x="11703" y="252632"/>
                </a:lnTo>
                <a:lnTo>
                  <a:pt x="0" y="231212"/>
                </a:lnTo>
                <a:lnTo>
                  <a:pt x="49329" y="212677"/>
                </a:lnTo>
                <a:lnTo>
                  <a:pt x="53995" y="194991"/>
                </a:lnTo>
                <a:lnTo>
                  <a:pt x="36041" y="182807"/>
                </a:lnTo>
                <a:lnTo>
                  <a:pt x="36113" y="166525"/>
                </a:lnTo>
                <a:lnTo>
                  <a:pt x="17523" y="156282"/>
                </a:lnTo>
                <a:lnTo>
                  <a:pt x="18443" y="142911"/>
                </a:lnTo>
                <a:lnTo>
                  <a:pt x="40382" y="132477"/>
                </a:lnTo>
                <a:lnTo>
                  <a:pt x="64152" y="132740"/>
                </a:lnTo>
                <a:lnTo>
                  <a:pt x="97918" y="126716"/>
                </a:lnTo>
                <a:lnTo>
                  <a:pt x="119108" y="132663"/>
                </a:lnTo>
                <a:lnTo>
                  <a:pt x="131745" y="123596"/>
                </a:lnTo>
                <a:lnTo>
                  <a:pt x="148814" y="101063"/>
                </a:lnTo>
                <a:lnTo>
                  <a:pt x="141114" y="90842"/>
                </a:lnTo>
                <a:lnTo>
                  <a:pt x="177502" y="68512"/>
                </a:lnTo>
                <a:lnTo>
                  <a:pt x="174188" y="87001"/>
                </a:lnTo>
                <a:lnTo>
                  <a:pt x="191796" y="107037"/>
                </a:lnTo>
                <a:lnTo>
                  <a:pt x="204628" y="108326"/>
                </a:lnTo>
                <a:lnTo>
                  <a:pt x="209540" y="122125"/>
                </a:lnTo>
                <a:lnTo>
                  <a:pt x="232556" y="144270"/>
                </a:lnTo>
                <a:lnTo>
                  <a:pt x="231531" y="116851"/>
                </a:lnTo>
                <a:lnTo>
                  <a:pt x="248336" y="101523"/>
                </a:lnTo>
                <a:lnTo>
                  <a:pt x="258602" y="83588"/>
                </a:lnTo>
                <a:lnTo>
                  <a:pt x="256918" y="62927"/>
                </a:lnTo>
                <a:lnTo>
                  <a:pt x="274593" y="66212"/>
                </a:lnTo>
                <a:lnTo>
                  <a:pt x="281487" y="85581"/>
                </a:lnTo>
                <a:lnTo>
                  <a:pt x="298662" y="87679"/>
                </a:lnTo>
                <a:lnTo>
                  <a:pt x="317403" y="77033"/>
                </a:lnTo>
                <a:lnTo>
                  <a:pt x="330547" y="95309"/>
                </a:lnTo>
                <a:lnTo>
                  <a:pt x="343248" y="92296"/>
                </a:lnTo>
                <a:lnTo>
                  <a:pt x="330384" y="68304"/>
                </a:lnTo>
                <a:lnTo>
                  <a:pt x="336203" y="49065"/>
                </a:lnTo>
                <a:lnTo>
                  <a:pt x="372013" y="57240"/>
                </a:lnTo>
                <a:lnTo>
                  <a:pt x="365095" y="34103"/>
                </a:lnTo>
                <a:lnTo>
                  <a:pt x="371765" y="19331"/>
                </a:lnTo>
                <a:lnTo>
                  <a:pt x="390896" y="16820"/>
                </a:lnTo>
                <a:lnTo>
                  <a:pt x="411730" y="30551"/>
                </a:lnTo>
                <a:lnTo>
                  <a:pt x="425534" y="30050"/>
                </a:lnTo>
                <a:lnTo>
                  <a:pt x="438978" y="5810"/>
                </a:lnTo>
                <a:lnTo>
                  <a:pt x="463476" y="5724"/>
                </a:lnTo>
                <a:close/>
              </a:path>
            </a:pathLst>
          </a:custGeom>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ee4p_42_1_43215">
            <a:extLst>
              <a:ext uri="{FF2B5EF4-FFF2-40B4-BE49-F238E27FC236}">
                <a16:creationId xmlns:a16="http://schemas.microsoft.com/office/drawing/2014/main" id="{B7DBF87A-222D-4415-AD63-30D190F5371A}"/>
              </a:ext>
            </a:extLst>
          </p:cNvPr>
          <p:cNvSpPr>
            <a:spLocks noChangeAspect="1"/>
          </p:cNvSpPr>
          <p:nvPr>
            <p:custDataLst>
              <p:tags r:id="rId21"/>
            </p:custDataLst>
          </p:nvPr>
        </p:nvSpPr>
        <p:spPr bwMode="gray">
          <a:xfrm>
            <a:off x="7790546" y="3701093"/>
            <a:ext cx="627093" cy="326855"/>
          </a:xfrm>
          <a:custGeom>
            <a:avLst/>
            <a:gdLst/>
            <a:ahLst/>
            <a:cxnLst/>
            <a:rect l="0" t="0" r="0" b="0"/>
            <a:pathLst>
              <a:path w="702094" h="330997">
                <a:moveTo>
                  <a:pt x="616116" y="78285"/>
                </a:moveTo>
                <a:lnTo>
                  <a:pt x="666294" y="110061"/>
                </a:lnTo>
                <a:lnTo>
                  <a:pt x="655365" y="132095"/>
                </a:lnTo>
                <a:lnTo>
                  <a:pt x="645906" y="173102"/>
                </a:lnTo>
                <a:lnTo>
                  <a:pt x="666662" y="167160"/>
                </a:lnTo>
                <a:lnTo>
                  <a:pt x="702093" y="250267"/>
                </a:lnTo>
                <a:lnTo>
                  <a:pt x="696213" y="262998"/>
                </a:lnTo>
                <a:lnTo>
                  <a:pt x="645290" y="297143"/>
                </a:lnTo>
                <a:lnTo>
                  <a:pt x="641654" y="316540"/>
                </a:lnTo>
                <a:lnTo>
                  <a:pt x="609902" y="316798"/>
                </a:lnTo>
                <a:lnTo>
                  <a:pt x="596885" y="307681"/>
                </a:lnTo>
                <a:lnTo>
                  <a:pt x="569582" y="326662"/>
                </a:lnTo>
                <a:lnTo>
                  <a:pt x="546331" y="330996"/>
                </a:lnTo>
                <a:lnTo>
                  <a:pt x="511330" y="319171"/>
                </a:lnTo>
                <a:lnTo>
                  <a:pt x="507532" y="309584"/>
                </a:lnTo>
                <a:lnTo>
                  <a:pt x="451562" y="269132"/>
                </a:lnTo>
                <a:lnTo>
                  <a:pt x="397481" y="262144"/>
                </a:lnTo>
                <a:lnTo>
                  <a:pt x="376199" y="226069"/>
                </a:lnTo>
                <a:lnTo>
                  <a:pt x="352511" y="236399"/>
                </a:lnTo>
                <a:lnTo>
                  <a:pt x="346463" y="248030"/>
                </a:lnTo>
                <a:lnTo>
                  <a:pt x="303573" y="253548"/>
                </a:lnTo>
                <a:lnTo>
                  <a:pt x="293647" y="242476"/>
                </a:lnTo>
                <a:lnTo>
                  <a:pt x="248966" y="241919"/>
                </a:lnTo>
                <a:lnTo>
                  <a:pt x="195272" y="231967"/>
                </a:lnTo>
                <a:lnTo>
                  <a:pt x="179442" y="237654"/>
                </a:lnTo>
                <a:lnTo>
                  <a:pt x="110885" y="228443"/>
                </a:lnTo>
                <a:lnTo>
                  <a:pt x="60773" y="243142"/>
                </a:lnTo>
                <a:lnTo>
                  <a:pt x="33392" y="257716"/>
                </a:lnTo>
                <a:lnTo>
                  <a:pt x="20831" y="277069"/>
                </a:lnTo>
                <a:lnTo>
                  <a:pt x="7748" y="278114"/>
                </a:lnTo>
                <a:lnTo>
                  <a:pt x="58" y="258477"/>
                </a:lnTo>
                <a:lnTo>
                  <a:pt x="0" y="216399"/>
                </a:lnTo>
                <a:lnTo>
                  <a:pt x="7725" y="172078"/>
                </a:lnTo>
                <a:lnTo>
                  <a:pt x="41243" y="143055"/>
                </a:lnTo>
                <a:lnTo>
                  <a:pt x="41354" y="113178"/>
                </a:lnTo>
                <a:lnTo>
                  <a:pt x="71439" y="70153"/>
                </a:lnTo>
                <a:lnTo>
                  <a:pt x="98311" y="66215"/>
                </a:lnTo>
                <a:lnTo>
                  <a:pt x="147307" y="46894"/>
                </a:lnTo>
                <a:lnTo>
                  <a:pt x="165372" y="73692"/>
                </a:lnTo>
                <a:lnTo>
                  <a:pt x="207117" y="99644"/>
                </a:lnTo>
                <a:lnTo>
                  <a:pt x="218099" y="135295"/>
                </a:lnTo>
                <a:lnTo>
                  <a:pt x="255453" y="155130"/>
                </a:lnTo>
                <a:lnTo>
                  <a:pt x="285105" y="149312"/>
                </a:lnTo>
                <a:lnTo>
                  <a:pt x="311008" y="133846"/>
                </a:lnTo>
                <a:lnTo>
                  <a:pt x="331506" y="113362"/>
                </a:lnTo>
                <a:lnTo>
                  <a:pt x="325041" y="52851"/>
                </a:lnTo>
                <a:lnTo>
                  <a:pt x="325954" y="28231"/>
                </a:lnTo>
                <a:lnTo>
                  <a:pt x="348429" y="16250"/>
                </a:lnTo>
                <a:lnTo>
                  <a:pt x="372521" y="14745"/>
                </a:lnTo>
                <a:lnTo>
                  <a:pt x="398817" y="0"/>
                </a:lnTo>
                <a:lnTo>
                  <a:pt x="474511" y="32362"/>
                </a:lnTo>
                <a:lnTo>
                  <a:pt x="505244" y="50832"/>
                </a:lnTo>
                <a:lnTo>
                  <a:pt x="511797" y="67160"/>
                </a:lnTo>
                <a:lnTo>
                  <a:pt x="544807" y="76746"/>
                </a:lnTo>
                <a:lnTo>
                  <a:pt x="576832" y="66499"/>
                </a:lnTo>
                <a:close/>
              </a:path>
            </a:pathLst>
          </a:custGeom>
          <a:solidFill>
            <a:schemeClr val="bg2"/>
          </a:solidFill>
          <a:ln w="9525" cap="flat" cmpd="sng" algn="ctr">
            <a:solidFill>
              <a:schemeClr val="bg1"/>
            </a:solidFill>
            <a:prstDash val="solid"/>
          </a:ln>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70" name="ee4p_43_1_43215">
            <a:extLst>
              <a:ext uri="{FF2B5EF4-FFF2-40B4-BE49-F238E27FC236}">
                <a16:creationId xmlns:a16="http://schemas.microsoft.com/office/drawing/2014/main" id="{A5BCBDBD-E8D9-41F3-A502-ABD03BBC35E7}"/>
              </a:ext>
            </a:extLst>
          </p:cNvPr>
          <p:cNvSpPr>
            <a:spLocks noChangeAspect="1"/>
          </p:cNvSpPr>
          <p:nvPr>
            <p:custDataLst>
              <p:tags r:id="rId22"/>
            </p:custDataLst>
          </p:nvPr>
        </p:nvSpPr>
        <p:spPr bwMode="gray">
          <a:xfrm>
            <a:off x="7797466" y="3924334"/>
            <a:ext cx="498460" cy="338948"/>
          </a:xfrm>
          <a:custGeom>
            <a:avLst/>
            <a:gdLst/>
            <a:ahLst/>
            <a:cxnLst/>
            <a:rect l="0" t="0" r="0" b="0"/>
            <a:pathLst>
              <a:path w="558076" h="343243">
                <a:moveTo>
                  <a:pt x="538583" y="104927"/>
                </a:moveTo>
                <a:lnTo>
                  <a:pt x="528324" y="128063"/>
                </a:lnTo>
                <a:lnTo>
                  <a:pt x="531183" y="144458"/>
                </a:lnTo>
                <a:lnTo>
                  <a:pt x="558075" y="155545"/>
                </a:lnTo>
                <a:lnTo>
                  <a:pt x="543049" y="175530"/>
                </a:lnTo>
                <a:lnTo>
                  <a:pt x="499779" y="182697"/>
                </a:lnTo>
                <a:lnTo>
                  <a:pt x="497778" y="197256"/>
                </a:lnTo>
                <a:lnTo>
                  <a:pt x="463856" y="206641"/>
                </a:lnTo>
                <a:lnTo>
                  <a:pt x="451823" y="223477"/>
                </a:lnTo>
                <a:lnTo>
                  <a:pt x="454619" y="253663"/>
                </a:lnTo>
                <a:lnTo>
                  <a:pt x="435268" y="281862"/>
                </a:lnTo>
                <a:lnTo>
                  <a:pt x="456869" y="299468"/>
                </a:lnTo>
                <a:lnTo>
                  <a:pt x="433885" y="310187"/>
                </a:lnTo>
                <a:lnTo>
                  <a:pt x="430303" y="290454"/>
                </a:lnTo>
                <a:lnTo>
                  <a:pt x="403523" y="295522"/>
                </a:lnTo>
                <a:lnTo>
                  <a:pt x="387683" y="312743"/>
                </a:lnTo>
                <a:lnTo>
                  <a:pt x="359447" y="317266"/>
                </a:lnTo>
                <a:lnTo>
                  <a:pt x="327395" y="343242"/>
                </a:lnTo>
                <a:lnTo>
                  <a:pt x="303576" y="334517"/>
                </a:lnTo>
                <a:lnTo>
                  <a:pt x="282408" y="340618"/>
                </a:lnTo>
                <a:lnTo>
                  <a:pt x="237104" y="336294"/>
                </a:lnTo>
                <a:lnTo>
                  <a:pt x="234320" y="310168"/>
                </a:lnTo>
                <a:lnTo>
                  <a:pt x="219972" y="297059"/>
                </a:lnTo>
                <a:lnTo>
                  <a:pt x="167189" y="282182"/>
                </a:lnTo>
                <a:lnTo>
                  <a:pt x="158434" y="270164"/>
                </a:lnTo>
                <a:lnTo>
                  <a:pt x="162492" y="232946"/>
                </a:lnTo>
                <a:lnTo>
                  <a:pt x="175454" y="225040"/>
                </a:lnTo>
                <a:lnTo>
                  <a:pt x="169918" y="208729"/>
                </a:lnTo>
                <a:lnTo>
                  <a:pt x="153420" y="201494"/>
                </a:lnTo>
                <a:lnTo>
                  <a:pt x="147534" y="187456"/>
                </a:lnTo>
                <a:lnTo>
                  <a:pt x="102292" y="193109"/>
                </a:lnTo>
                <a:lnTo>
                  <a:pt x="43742" y="171921"/>
                </a:lnTo>
                <a:lnTo>
                  <a:pt x="18087" y="149073"/>
                </a:lnTo>
                <a:lnTo>
                  <a:pt x="18252" y="134215"/>
                </a:lnTo>
                <a:lnTo>
                  <a:pt x="1747" y="98249"/>
                </a:lnTo>
                <a:lnTo>
                  <a:pt x="0" y="52045"/>
                </a:lnTo>
                <a:lnTo>
                  <a:pt x="13083" y="51000"/>
                </a:lnTo>
                <a:lnTo>
                  <a:pt x="25644" y="31647"/>
                </a:lnTo>
                <a:lnTo>
                  <a:pt x="53025" y="17073"/>
                </a:lnTo>
                <a:lnTo>
                  <a:pt x="103137" y="2374"/>
                </a:lnTo>
                <a:lnTo>
                  <a:pt x="171694" y="11585"/>
                </a:lnTo>
                <a:lnTo>
                  <a:pt x="187524" y="5898"/>
                </a:lnTo>
                <a:lnTo>
                  <a:pt x="241218" y="15850"/>
                </a:lnTo>
                <a:lnTo>
                  <a:pt x="285899" y="16407"/>
                </a:lnTo>
                <a:lnTo>
                  <a:pt x="295825" y="27479"/>
                </a:lnTo>
                <a:lnTo>
                  <a:pt x="338715" y="21961"/>
                </a:lnTo>
                <a:lnTo>
                  <a:pt x="344763" y="10330"/>
                </a:lnTo>
                <a:lnTo>
                  <a:pt x="368451" y="0"/>
                </a:lnTo>
                <a:lnTo>
                  <a:pt x="389733" y="36075"/>
                </a:lnTo>
                <a:lnTo>
                  <a:pt x="443814" y="43063"/>
                </a:lnTo>
                <a:lnTo>
                  <a:pt x="499784" y="83515"/>
                </a:lnTo>
                <a:lnTo>
                  <a:pt x="503582" y="93102"/>
                </a:lnTo>
                <a:close/>
              </a:path>
            </a:pathLst>
          </a:custGeom>
          <a:solidFill>
            <a:schemeClr val="bg2"/>
          </a:solidFill>
          <a:ln w="9525" cap="flat" cmpd="sng" algn="ctr">
            <a:solidFill>
              <a:schemeClr val="bg1"/>
            </a:solidFill>
            <a:prstDash val="solid"/>
          </a:ln>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72" name="ee4p_57_1_43215">
            <a:extLst>
              <a:ext uri="{FF2B5EF4-FFF2-40B4-BE49-F238E27FC236}">
                <a16:creationId xmlns:a16="http://schemas.microsoft.com/office/drawing/2014/main" id="{4EA8FD8E-E8F0-4E01-9CD1-3D31BD71E1CF}"/>
              </a:ext>
            </a:extLst>
          </p:cNvPr>
          <p:cNvSpPr>
            <a:spLocks noChangeAspect="1"/>
          </p:cNvSpPr>
          <p:nvPr>
            <p:custDataLst>
              <p:tags r:id="rId23"/>
            </p:custDataLst>
          </p:nvPr>
        </p:nvSpPr>
        <p:spPr bwMode="gray">
          <a:xfrm>
            <a:off x="7147558" y="5184414"/>
            <a:ext cx="507648" cy="425032"/>
          </a:xfrm>
          <a:custGeom>
            <a:avLst/>
            <a:gdLst/>
            <a:ahLst/>
            <a:cxnLst/>
            <a:rect l="l" t="t" r="r" b="b"/>
            <a:pathLst>
              <a:path w="568363" h="430418">
                <a:moveTo>
                  <a:pt x="286793" y="378161"/>
                </a:moveTo>
                <a:lnTo>
                  <a:pt x="316136" y="381959"/>
                </a:lnTo>
                <a:lnTo>
                  <a:pt x="320321" y="391454"/>
                </a:lnTo>
                <a:lnTo>
                  <a:pt x="289040" y="391622"/>
                </a:lnTo>
                <a:close/>
                <a:moveTo>
                  <a:pt x="129569" y="237453"/>
                </a:moveTo>
                <a:lnTo>
                  <a:pt x="164764" y="263991"/>
                </a:lnTo>
                <a:lnTo>
                  <a:pt x="151172" y="265036"/>
                </a:lnTo>
                <a:lnTo>
                  <a:pt x="131902" y="248040"/>
                </a:lnTo>
                <a:close/>
                <a:moveTo>
                  <a:pt x="75770" y="166342"/>
                </a:moveTo>
                <a:lnTo>
                  <a:pt x="85171" y="188439"/>
                </a:lnTo>
                <a:lnTo>
                  <a:pt x="94484" y="229320"/>
                </a:lnTo>
                <a:lnTo>
                  <a:pt x="81968" y="223076"/>
                </a:lnTo>
                <a:lnTo>
                  <a:pt x="80941" y="187922"/>
                </a:lnTo>
                <a:close/>
                <a:moveTo>
                  <a:pt x="101763" y="158688"/>
                </a:moveTo>
                <a:lnTo>
                  <a:pt x="112502" y="193412"/>
                </a:lnTo>
                <a:lnTo>
                  <a:pt x="92349" y="183875"/>
                </a:lnTo>
                <a:close/>
                <a:moveTo>
                  <a:pt x="273022" y="0"/>
                </a:moveTo>
                <a:lnTo>
                  <a:pt x="295366" y="8595"/>
                </a:lnTo>
                <a:lnTo>
                  <a:pt x="321406" y="23345"/>
                </a:lnTo>
                <a:lnTo>
                  <a:pt x="331783" y="39059"/>
                </a:lnTo>
                <a:lnTo>
                  <a:pt x="351774" y="48000"/>
                </a:lnTo>
                <a:lnTo>
                  <a:pt x="359404" y="64494"/>
                </a:lnTo>
                <a:lnTo>
                  <a:pt x="388650" y="73756"/>
                </a:lnTo>
                <a:lnTo>
                  <a:pt x="399439" y="86207"/>
                </a:lnTo>
                <a:lnTo>
                  <a:pt x="419090" y="92929"/>
                </a:lnTo>
                <a:lnTo>
                  <a:pt x="443123" y="91672"/>
                </a:lnTo>
                <a:lnTo>
                  <a:pt x="474381" y="97978"/>
                </a:lnTo>
                <a:lnTo>
                  <a:pt x="499396" y="76135"/>
                </a:lnTo>
                <a:lnTo>
                  <a:pt x="517232" y="75767"/>
                </a:lnTo>
                <a:lnTo>
                  <a:pt x="525820" y="97628"/>
                </a:lnTo>
                <a:lnTo>
                  <a:pt x="522684" y="122383"/>
                </a:lnTo>
                <a:lnTo>
                  <a:pt x="528407" y="143669"/>
                </a:lnTo>
                <a:lnTo>
                  <a:pt x="568363" y="166564"/>
                </a:lnTo>
                <a:lnTo>
                  <a:pt x="545995" y="166599"/>
                </a:lnTo>
                <a:lnTo>
                  <a:pt x="538157" y="176985"/>
                </a:lnTo>
                <a:lnTo>
                  <a:pt x="541810" y="193509"/>
                </a:lnTo>
                <a:lnTo>
                  <a:pt x="513365" y="203848"/>
                </a:lnTo>
                <a:lnTo>
                  <a:pt x="508153" y="187367"/>
                </a:lnTo>
                <a:lnTo>
                  <a:pt x="495749" y="179073"/>
                </a:lnTo>
                <a:lnTo>
                  <a:pt x="477369" y="179030"/>
                </a:lnTo>
                <a:lnTo>
                  <a:pt x="453988" y="170173"/>
                </a:lnTo>
                <a:lnTo>
                  <a:pt x="442752" y="176865"/>
                </a:lnTo>
                <a:lnTo>
                  <a:pt x="430577" y="168672"/>
                </a:lnTo>
                <a:lnTo>
                  <a:pt x="414993" y="180677"/>
                </a:lnTo>
                <a:lnTo>
                  <a:pt x="391655" y="173671"/>
                </a:lnTo>
                <a:lnTo>
                  <a:pt x="351581" y="168841"/>
                </a:lnTo>
                <a:lnTo>
                  <a:pt x="333474" y="159823"/>
                </a:lnTo>
                <a:lnTo>
                  <a:pt x="285124" y="161625"/>
                </a:lnTo>
                <a:lnTo>
                  <a:pt x="265560" y="186979"/>
                </a:lnTo>
                <a:lnTo>
                  <a:pt x="248208" y="175388"/>
                </a:lnTo>
                <a:lnTo>
                  <a:pt x="239725" y="162325"/>
                </a:lnTo>
                <a:lnTo>
                  <a:pt x="214845" y="166831"/>
                </a:lnTo>
                <a:lnTo>
                  <a:pt x="216678" y="189488"/>
                </a:lnTo>
                <a:lnTo>
                  <a:pt x="211371" y="207339"/>
                </a:lnTo>
                <a:lnTo>
                  <a:pt x="216484" y="216336"/>
                </a:lnTo>
                <a:lnTo>
                  <a:pt x="240689" y="227856"/>
                </a:lnTo>
                <a:lnTo>
                  <a:pt x="251258" y="248506"/>
                </a:lnTo>
                <a:lnTo>
                  <a:pt x="258174" y="279754"/>
                </a:lnTo>
                <a:lnTo>
                  <a:pt x="280402" y="302058"/>
                </a:lnTo>
                <a:lnTo>
                  <a:pt x="306342" y="322645"/>
                </a:lnTo>
                <a:lnTo>
                  <a:pt x="335152" y="355543"/>
                </a:lnTo>
                <a:lnTo>
                  <a:pt x="361715" y="368328"/>
                </a:lnTo>
                <a:lnTo>
                  <a:pt x="360062" y="379510"/>
                </a:lnTo>
                <a:lnTo>
                  <a:pt x="375697" y="401183"/>
                </a:lnTo>
                <a:lnTo>
                  <a:pt x="396424" y="412845"/>
                </a:lnTo>
                <a:lnTo>
                  <a:pt x="402631" y="425728"/>
                </a:lnTo>
                <a:lnTo>
                  <a:pt x="387049" y="430418"/>
                </a:lnTo>
                <a:lnTo>
                  <a:pt x="366856" y="410155"/>
                </a:lnTo>
                <a:lnTo>
                  <a:pt x="341862" y="395864"/>
                </a:lnTo>
                <a:lnTo>
                  <a:pt x="321665" y="376624"/>
                </a:lnTo>
                <a:lnTo>
                  <a:pt x="299679" y="371836"/>
                </a:lnTo>
                <a:lnTo>
                  <a:pt x="277283" y="359265"/>
                </a:lnTo>
                <a:lnTo>
                  <a:pt x="248611" y="367970"/>
                </a:lnTo>
                <a:lnTo>
                  <a:pt x="229513" y="355800"/>
                </a:lnTo>
                <a:lnTo>
                  <a:pt x="227348" y="340970"/>
                </a:lnTo>
                <a:lnTo>
                  <a:pt x="208219" y="332595"/>
                </a:lnTo>
                <a:lnTo>
                  <a:pt x="186207" y="315548"/>
                </a:lnTo>
                <a:lnTo>
                  <a:pt x="155949" y="284076"/>
                </a:lnTo>
                <a:lnTo>
                  <a:pt x="168343" y="262536"/>
                </a:lnTo>
                <a:lnTo>
                  <a:pt x="139744" y="237314"/>
                </a:lnTo>
                <a:lnTo>
                  <a:pt x="129182" y="211368"/>
                </a:lnTo>
                <a:lnTo>
                  <a:pt x="133873" y="192212"/>
                </a:lnTo>
                <a:lnTo>
                  <a:pt x="124824" y="173532"/>
                </a:lnTo>
                <a:lnTo>
                  <a:pt x="96542" y="153192"/>
                </a:lnTo>
                <a:lnTo>
                  <a:pt x="75663" y="143931"/>
                </a:lnTo>
                <a:lnTo>
                  <a:pt x="65838" y="169913"/>
                </a:lnTo>
                <a:lnTo>
                  <a:pt x="42067" y="205469"/>
                </a:lnTo>
                <a:lnTo>
                  <a:pt x="31908" y="209820"/>
                </a:lnTo>
                <a:lnTo>
                  <a:pt x="20970" y="188488"/>
                </a:lnTo>
                <a:lnTo>
                  <a:pt x="5082" y="169655"/>
                </a:lnTo>
                <a:lnTo>
                  <a:pt x="0" y="146532"/>
                </a:lnTo>
                <a:lnTo>
                  <a:pt x="3755" y="129226"/>
                </a:lnTo>
                <a:lnTo>
                  <a:pt x="26248" y="134402"/>
                </a:lnTo>
                <a:lnTo>
                  <a:pt x="91477" y="122029"/>
                </a:lnTo>
                <a:lnTo>
                  <a:pt x="98872" y="108206"/>
                </a:lnTo>
                <a:lnTo>
                  <a:pt x="123767" y="131232"/>
                </a:lnTo>
                <a:lnTo>
                  <a:pt x="139592" y="126910"/>
                </a:lnTo>
                <a:lnTo>
                  <a:pt x="158059" y="135950"/>
                </a:lnTo>
                <a:lnTo>
                  <a:pt x="167352" y="130596"/>
                </a:lnTo>
                <a:lnTo>
                  <a:pt x="169882" y="95900"/>
                </a:lnTo>
                <a:lnTo>
                  <a:pt x="202063" y="86694"/>
                </a:lnTo>
                <a:lnTo>
                  <a:pt x="211734" y="60865"/>
                </a:lnTo>
                <a:lnTo>
                  <a:pt x="199354" y="52675"/>
                </a:lnTo>
                <a:lnTo>
                  <a:pt x="206157" y="38768"/>
                </a:lnTo>
                <a:lnTo>
                  <a:pt x="237974" y="29039"/>
                </a:lnTo>
                <a:lnTo>
                  <a:pt x="260999" y="5868"/>
                </a:lnTo>
                <a:close/>
              </a:path>
            </a:pathLst>
          </a:custGeom>
          <a:solidFill>
            <a:schemeClr val="bg2"/>
          </a:solidFill>
          <a:ln w="9525" cap="flat" cmpd="sng" algn="ctr">
            <a:solidFill>
              <a:schemeClr val="bg1"/>
            </a:solidFill>
            <a:prstDash val="solid"/>
          </a:ln>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7358380" algn="l"/>
              </a:tabLst>
            </a:pPr>
            <a:endParaRPr lang="en-US" sz="1500" dirty="0">
              <a:solidFill>
                <a:schemeClr val="accent3"/>
              </a:solidFill>
            </a:endParaRPr>
          </a:p>
        </p:txBody>
      </p:sp>
      <p:sp>
        <p:nvSpPr>
          <p:cNvPr id="73" name="ee4p_58_1_43215">
            <a:extLst>
              <a:ext uri="{FF2B5EF4-FFF2-40B4-BE49-F238E27FC236}">
                <a16:creationId xmlns:a16="http://schemas.microsoft.com/office/drawing/2014/main" id="{6E2D11C3-DA0E-4A67-9356-C50879FA3BD2}"/>
              </a:ext>
            </a:extLst>
          </p:cNvPr>
          <p:cNvSpPr>
            <a:spLocks noChangeAspect="1"/>
          </p:cNvSpPr>
          <p:nvPr>
            <p:custDataLst>
              <p:tags r:id="rId24"/>
            </p:custDataLst>
          </p:nvPr>
        </p:nvSpPr>
        <p:spPr bwMode="gray">
          <a:xfrm>
            <a:off x="7336276" y="5342554"/>
            <a:ext cx="335719" cy="309992"/>
          </a:xfrm>
          <a:custGeom>
            <a:avLst/>
            <a:gdLst/>
            <a:ahLst/>
            <a:cxnLst/>
            <a:rect l="0" t="0" r="0" b="0"/>
            <a:pathLst>
              <a:path w="375872" h="313920">
                <a:moveTo>
                  <a:pt x="334577" y="200244"/>
                </a:moveTo>
                <a:lnTo>
                  <a:pt x="324207" y="201846"/>
                </a:lnTo>
                <a:lnTo>
                  <a:pt x="308465" y="219912"/>
                </a:lnTo>
                <a:lnTo>
                  <a:pt x="287152" y="231857"/>
                </a:lnTo>
                <a:lnTo>
                  <a:pt x="283348" y="247080"/>
                </a:lnTo>
                <a:lnTo>
                  <a:pt x="267484" y="266074"/>
                </a:lnTo>
                <a:lnTo>
                  <a:pt x="267252" y="290971"/>
                </a:lnTo>
                <a:lnTo>
                  <a:pt x="275030" y="296729"/>
                </a:lnTo>
                <a:lnTo>
                  <a:pt x="266900" y="313919"/>
                </a:lnTo>
                <a:lnTo>
                  <a:pt x="245983" y="307559"/>
                </a:lnTo>
                <a:lnTo>
                  <a:pt x="200663" y="275760"/>
                </a:lnTo>
                <a:lnTo>
                  <a:pt x="187581" y="254119"/>
                </a:lnTo>
                <a:lnTo>
                  <a:pt x="156614" y="231776"/>
                </a:lnTo>
                <a:lnTo>
                  <a:pt x="152722" y="207629"/>
                </a:lnTo>
                <a:lnTo>
                  <a:pt x="126647" y="195980"/>
                </a:lnTo>
                <a:lnTo>
                  <a:pt x="95407" y="160198"/>
                </a:lnTo>
                <a:lnTo>
                  <a:pt x="71254" y="142563"/>
                </a:lnTo>
                <a:lnTo>
                  <a:pt x="50007" y="121859"/>
                </a:lnTo>
                <a:lnTo>
                  <a:pt x="39276" y="98361"/>
                </a:lnTo>
                <a:lnTo>
                  <a:pt x="31077" y="67857"/>
                </a:lnTo>
                <a:lnTo>
                  <a:pt x="8831" y="57552"/>
                </a:lnTo>
                <a:lnTo>
                  <a:pt x="0" y="30672"/>
                </a:lnTo>
                <a:lnTo>
                  <a:pt x="2914" y="6293"/>
                </a:lnTo>
                <a:lnTo>
                  <a:pt x="28730" y="0"/>
                </a:lnTo>
                <a:lnTo>
                  <a:pt x="34565" y="13482"/>
                </a:lnTo>
                <a:lnTo>
                  <a:pt x="58026" y="24732"/>
                </a:lnTo>
                <a:lnTo>
                  <a:pt x="74885" y="188"/>
                </a:lnTo>
                <a:lnTo>
                  <a:pt x="103848" y="3708"/>
                </a:lnTo>
                <a:lnTo>
                  <a:pt x="126870" y="1041"/>
                </a:lnTo>
                <a:lnTo>
                  <a:pt x="140340" y="8114"/>
                </a:lnTo>
                <a:lnTo>
                  <a:pt x="172965" y="13660"/>
                </a:lnTo>
                <a:lnTo>
                  <a:pt x="187713" y="10217"/>
                </a:lnTo>
                <a:lnTo>
                  <a:pt x="205882" y="19700"/>
                </a:lnTo>
                <a:lnTo>
                  <a:pt x="217024" y="7802"/>
                </a:lnTo>
                <a:lnTo>
                  <a:pt x="277996" y="14961"/>
                </a:lnTo>
                <a:lnTo>
                  <a:pt x="290166" y="22548"/>
                </a:lnTo>
                <a:lnTo>
                  <a:pt x="303270" y="42415"/>
                </a:lnTo>
                <a:lnTo>
                  <a:pt x="319820" y="41852"/>
                </a:lnTo>
                <a:lnTo>
                  <a:pt x="332989" y="34472"/>
                </a:lnTo>
                <a:lnTo>
                  <a:pt x="352021" y="38634"/>
                </a:lnTo>
                <a:lnTo>
                  <a:pt x="348577" y="55117"/>
                </a:lnTo>
                <a:lnTo>
                  <a:pt x="328431" y="82810"/>
                </a:lnTo>
                <a:lnTo>
                  <a:pt x="331490" y="110390"/>
                </a:lnTo>
                <a:lnTo>
                  <a:pt x="346924" y="112242"/>
                </a:lnTo>
                <a:lnTo>
                  <a:pt x="375871" y="142485"/>
                </a:lnTo>
                <a:lnTo>
                  <a:pt x="343594" y="154570"/>
                </a:lnTo>
                <a:lnTo>
                  <a:pt x="366006" y="178448"/>
                </a:lnTo>
                <a:lnTo>
                  <a:pt x="363064" y="193302"/>
                </a:lnTo>
                <a:close/>
              </a:path>
            </a:pathLst>
          </a:custGeom>
          <a:solidFill>
            <a:schemeClr val="bg2"/>
          </a:solidFill>
          <a:ln w="9525" cap="flat" cmpd="sng" algn="ctr">
            <a:solidFill>
              <a:schemeClr val="bg1"/>
            </a:solidFill>
            <a:prstDash val="solid"/>
          </a:ln>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7358380" algn="l"/>
              </a:tabLst>
            </a:pPr>
            <a:endParaRPr lang="en-US" sz="1500" dirty="0">
              <a:solidFill>
                <a:schemeClr val="accent3"/>
              </a:solidFill>
            </a:endParaRPr>
          </a:p>
        </p:txBody>
      </p:sp>
      <p:sp>
        <p:nvSpPr>
          <p:cNvPr id="74" name="ee4p_65_1_43215">
            <a:extLst>
              <a:ext uri="{FF2B5EF4-FFF2-40B4-BE49-F238E27FC236}">
                <a16:creationId xmlns:a16="http://schemas.microsoft.com/office/drawing/2014/main" id="{1E1FD75A-D242-4F35-A955-DB2F09D46193}"/>
              </a:ext>
            </a:extLst>
          </p:cNvPr>
          <p:cNvSpPr>
            <a:spLocks noChangeAspect="1"/>
          </p:cNvSpPr>
          <p:nvPr>
            <p:custDataLst>
              <p:tags r:id="rId25"/>
            </p:custDataLst>
          </p:nvPr>
        </p:nvSpPr>
        <p:spPr bwMode="gray">
          <a:xfrm>
            <a:off x="7909204" y="5460815"/>
            <a:ext cx="540181" cy="342928"/>
          </a:xfrm>
          <a:custGeom>
            <a:avLst/>
            <a:gdLst/>
            <a:ahLst/>
            <a:cxnLst/>
            <a:rect l="0" t="0" r="0" b="0"/>
            <a:pathLst>
              <a:path w="604788" h="347274">
                <a:moveTo>
                  <a:pt x="602022" y="56462"/>
                </a:moveTo>
                <a:lnTo>
                  <a:pt x="604787" y="79986"/>
                </a:lnTo>
                <a:lnTo>
                  <a:pt x="591491" y="98413"/>
                </a:lnTo>
                <a:lnTo>
                  <a:pt x="575886" y="94263"/>
                </a:lnTo>
                <a:lnTo>
                  <a:pt x="554947" y="99204"/>
                </a:lnTo>
                <a:lnTo>
                  <a:pt x="535367" y="138460"/>
                </a:lnTo>
                <a:lnTo>
                  <a:pt x="536242" y="178504"/>
                </a:lnTo>
                <a:lnTo>
                  <a:pt x="518944" y="178304"/>
                </a:lnTo>
                <a:lnTo>
                  <a:pt x="510555" y="192761"/>
                </a:lnTo>
                <a:lnTo>
                  <a:pt x="521917" y="230298"/>
                </a:lnTo>
                <a:lnTo>
                  <a:pt x="549445" y="262084"/>
                </a:lnTo>
                <a:lnTo>
                  <a:pt x="516562" y="262690"/>
                </a:lnTo>
                <a:lnTo>
                  <a:pt x="501585" y="269879"/>
                </a:lnTo>
                <a:lnTo>
                  <a:pt x="475437" y="247994"/>
                </a:lnTo>
                <a:lnTo>
                  <a:pt x="455740" y="249289"/>
                </a:lnTo>
                <a:lnTo>
                  <a:pt x="445997" y="259865"/>
                </a:lnTo>
                <a:lnTo>
                  <a:pt x="414083" y="263253"/>
                </a:lnTo>
                <a:lnTo>
                  <a:pt x="404603" y="280608"/>
                </a:lnTo>
                <a:lnTo>
                  <a:pt x="388197" y="280932"/>
                </a:lnTo>
                <a:lnTo>
                  <a:pt x="387115" y="293635"/>
                </a:lnTo>
                <a:lnTo>
                  <a:pt x="368880" y="289279"/>
                </a:lnTo>
                <a:lnTo>
                  <a:pt x="365870" y="304921"/>
                </a:lnTo>
                <a:lnTo>
                  <a:pt x="369199" y="325893"/>
                </a:lnTo>
                <a:lnTo>
                  <a:pt x="365301" y="334831"/>
                </a:lnTo>
                <a:lnTo>
                  <a:pt x="341297" y="340680"/>
                </a:lnTo>
                <a:lnTo>
                  <a:pt x="311281" y="339015"/>
                </a:lnTo>
                <a:lnTo>
                  <a:pt x="278264" y="347273"/>
                </a:lnTo>
                <a:lnTo>
                  <a:pt x="261905" y="334218"/>
                </a:lnTo>
                <a:lnTo>
                  <a:pt x="216793" y="324895"/>
                </a:lnTo>
                <a:lnTo>
                  <a:pt x="203782" y="314729"/>
                </a:lnTo>
                <a:lnTo>
                  <a:pt x="175920" y="316283"/>
                </a:lnTo>
                <a:lnTo>
                  <a:pt x="155652" y="325060"/>
                </a:lnTo>
                <a:lnTo>
                  <a:pt x="123784" y="332458"/>
                </a:lnTo>
                <a:lnTo>
                  <a:pt x="93382" y="329666"/>
                </a:lnTo>
                <a:lnTo>
                  <a:pt x="81621" y="338418"/>
                </a:lnTo>
                <a:lnTo>
                  <a:pt x="55198" y="336727"/>
                </a:lnTo>
                <a:lnTo>
                  <a:pt x="60042" y="324771"/>
                </a:lnTo>
                <a:lnTo>
                  <a:pt x="57550" y="301544"/>
                </a:lnTo>
                <a:lnTo>
                  <a:pt x="65506" y="293827"/>
                </a:lnTo>
                <a:lnTo>
                  <a:pt x="50550" y="268713"/>
                </a:lnTo>
                <a:lnTo>
                  <a:pt x="49356" y="257539"/>
                </a:lnTo>
                <a:lnTo>
                  <a:pt x="16605" y="243929"/>
                </a:lnTo>
                <a:lnTo>
                  <a:pt x="297" y="223919"/>
                </a:lnTo>
                <a:lnTo>
                  <a:pt x="15782" y="213846"/>
                </a:lnTo>
                <a:lnTo>
                  <a:pt x="18306" y="200939"/>
                </a:lnTo>
                <a:lnTo>
                  <a:pt x="7935" y="194138"/>
                </a:lnTo>
                <a:lnTo>
                  <a:pt x="13912" y="173951"/>
                </a:lnTo>
                <a:lnTo>
                  <a:pt x="7963" y="164253"/>
                </a:lnTo>
                <a:lnTo>
                  <a:pt x="41291" y="145558"/>
                </a:lnTo>
                <a:lnTo>
                  <a:pt x="60584" y="130323"/>
                </a:lnTo>
                <a:lnTo>
                  <a:pt x="45388" y="104594"/>
                </a:lnTo>
                <a:lnTo>
                  <a:pt x="17049" y="87995"/>
                </a:lnTo>
                <a:lnTo>
                  <a:pt x="13036" y="68216"/>
                </a:lnTo>
                <a:lnTo>
                  <a:pt x="0" y="48103"/>
                </a:lnTo>
                <a:lnTo>
                  <a:pt x="5071" y="25062"/>
                </a:lnTo>
                <a:lnTo>
                  <a:pt x="25552" y="18057"/>
                </a:lnTo>
                <a:lnTo>
                  <a:pt x="30773" y="0"/>
                </a:lnTo>
                <a:lnTo>
                  <a:pt x="54993" y="13464"/>
                </a:lnTo>
                <a:lnTo>
                  <a:pt x="49288" y="44695"/>
                </a:lnTo>
                <a:lnTo>
                  <a:pt x="67701" y="49719"/>
                </a:lnTo>
                <a:lnTo>
                  <a:pt x="101451" y="43084"/>
                </a:lnTo>
                <a:lnTo>
                  <a:pt x="131319" y="48804"/>
                </a:lnTo>
                <a:lnTo>
                  <a:pt x="175738" y="63088"/>
                </a:lnTo>
                <a:lnTo>
                  <a:pt x="207444" y="53667"/>
                </a:lnTo>
                <a:lnTo>
                  <a:pt x="229575" y="62703"/>
                </a:lnTo>
                <a:lnTo>
                  <a:pt x="256257" y="58071"/>
                </a:lnTo>
                <a:lnTo>
                  <a:pt x="292813" y="70536"/>
                </a:lnTo>
                <a:lnTo>
                  <a:pt x="326763" y="61906"/>
                </a:lnTo>
                <a:lnTo>
                  <a:pt x="363607" y="28632"/>
                </a:lnTo>
                <a:lnTo>
                  <a:pt x="389253" y="20477"/>
                </a:lnTo>
                <a:lnTo>
                  <a:pt x="427251" y="15992"/>
                </a:lnTo>
                <a:lnTo>
                  <a:pt x="440218" y="9766"/>
                </a:lnTo>
                <a:lnTo>
                  <a:pt x="475350" y="10585"/>
                </a:lnTo>
                <a:lnTo>
                  <a:pt x="487894" y="24100"/>
                </a:lnTo>
                <a:lnTo>
                  <a:pt x="508469" y="24118"/>
                </a:lnTo>
                <a:lnTo>
                  <a:pt x="517947" y="30380"/>
                </a:lnTo>
                <a:lnTo>
                  <a:pt x="540620" y="27366"/>
                </a:lnTo>
                <a:lnTo>
                  <a:pt x="545453" y="44145"/>
                </a:lnTo>
                <a:lnTo>
                  <a:pt x="568858" y="54125"/>
                </a:lnTo>
                <a:close/>
              </a:path>
            </a:pathLst>
          </a:custGeom>
          <a:solidFill>
            <a:srgbClr val="EEECE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75" name="ee4p_13_1_43215">
            <a:extLst>
              <a:ext uri="{FF2B5EF4-FFF2-40B4-BE49-F238E27FC236}">
                <a16:creationId xmlns:a16="http://schemas.microsoft.com/office/drawing/2014/main" id="{4D62D2F0-2761-4212-B5F8-460098D3F742}"/>
              </a:ext>
            </a:extLst>
          </p:cNvPr>
          <p:cNvSpPr>
            <a:spLocks noChangeAspect="1"/>
          </p:cNvSpPr>
          <p:nvPr>
            <p:custDataLst>
              <p:tags r:id="rId26"/>
            </p:custDataLst>
          </p:nvPr>
        </p:nvSpPr>
        <p:spPr bwMode="gray">
          <a:xfrm>
            <a:off x="6495470" y="4396473"/>
            <a:ext cx="272499" cy="493400"/>
          </a:xfrm>
          <a:custGeom>
            <a:avLst/>
            <a:gdLst/>
            <a:ahLst/>
            <a:cxnLst/>
            <a:rect l="0" t="0" r="0" b="0"/>
            <a:pathLst>
              <a:path w="305091" h="499653">
                <a:moveTo>
                  <a:pt x="293325" y="364379"/>
                </a:moveTo>
                <a:lnTo>
                  <a:pt x="294458" y="364812"/>
                </a:lnTo>
                <a:lnTo>
                  <a:pt x="293989" y="376551"/>
                </a:lnTo>
                <a:lnTo>
                  <a:pt x="293547" y="376932"/>
                </a:lnTo>
                <a:lnTo>
                  <a:pt x="305090" y="403209"/>
                </a:lnTo>
                <a:lnTo>
                  <a:pt x="300913" y="422701"/>
                </a:lnTo>
                <a:lnTo>
                  <a:pt x="294909" y="432437"/>
                </a:lnTo>
                <a:lnTo>
                  <a:pt x="262454" y="428132"/>
                </a:lnTo>
                <a:lnTo>
                  <a:pt x="263665" y="411533"/>
                </a:lnTo>
                <a:lnTo>
                  <a:pt x="239416" y="419478"/>
                </a:lnTo>
                <a:lnTo>
                  <a:pt x="241156" y="458055"/>
                </a:lnTo>
                <a:lnTo>
                  <a:pt x="216431" y="499652"/>
                </a:lnTo>
                <a:lnTo>
                  <a:pt x="186551" y="489523"/>
                </a:lnTo>
                <a:lnTo>
                  <a:pt x="158477" y="488061"/>
                </a:lnTo>
                <a:lnTo>
                  <a:pt x="138119" y="472240"/>
                </a:lnTo>
                <a:lnTo>
                  <a:pt x="126345" y="479647"/>
                </a:lnTo>
                <a:lnTo>
                  <a:pt x="104193" y="478859"/>
                </a:lnTo>
                <a:lnTo>
                  <a:pt x="92305" y="468665"/>
                </a:lnTo>
                <a:lnTo>
                  <a:pt x="71711" y="474008"/>
                </a:lnTo>
                <a:lnTo>
                  <a:pt x="36543" y="421547"/>
                </a:lnTo>
                <a:lnTo>
                  <a:pt x="49241" y="394667"/>
                </a:lnTo>
                <a:lnTo>
                  <a:pt x="23012" y="383743"/>
                </a:lnTo>
                <a:lnTo>
                  <a:pt x="10819" y="362567"/>
                </a:lnTo>
                <a:lnTo>
                  <a:pt x="16576" y="340274"/>
                </a:lnTo>
                <a:lnTo>
                  <a:pt x="26760" y="336576"/>
                </a:lnTo>
                <a:lnTo>
                  <a:pt x="36343" y="313680"/>
                </a:lnTo>
                <a:lnTo>
                  <a:pt x="24431" y="295106"/>
                </a:lnTo>
                <a:lnTo>
                  <a:pt x="0" y="271395"/>
                </a:lnTo>
                <a:lnTo>
                  <a:pt x="8577" y="258559"/>
                </a:lnTo>
                <a:lnTo>
                  <a:pt x="3838" y="230862"/>
                </a:lnTo>
                <a:lnTo>
                  <a:pt x="7654" y="211769"/>
                </a:lnTo>
                <a:lnTo>
                  <a:pt x="22535" y="196211"/>
                </a:lnTo>
                <a:lnTo>
                  <a:pt x="21411" y="177811"/>
                </a:lnTo>
                <a:lnTo>
                  <a:pt x="3517" y="155454"/>
                </a:lnTo>
                <a:lnTo>
                  <a:pt x="5991" y="133678"/>
                </a:lnTo>
                <a:lnTo>
                  <a:pt x="46567" y="133287"/>
                </a:lnTo>
                <a:lnTo>
                  <a:pt x="80919" y="115071"/>
                </a:lnTo>
                <a:lnTo>
                  <a:pt x="67645" y="109300"/>
                </a:lnTo>
                <a:lnTo>
                  <a:pt x="95731" y="85290"/>
                </a:lnTo>
                <a:lnTo>
                  <a:pt x="104635" y="68166"/>
                </a:lnTo>
                <a:lnTo>
                  <a:pt x="69140" y="51623"/>
                </a:lnTo>
                <a:lnTo>
                  <a:pt x="69686" y="32708"/>
                </a:lnTo>
                <a:lnTo>
                  <a:pt x="102952" y="30412"/>
                </a:lnTo>
                <a:lnTo>
                  <a:pt x="110633" y="0"/>
                </a:lnTo>
                <a:lnTo>
                  <a:pt x="135852" y="6937"/>
                </a:lnTo>
                <a:lnTo>
                  <a:pt x="133628" y="31974"/>
                </a:lnTo>
                <a:lnTo>
                  <a:pt x="155535" y="36115"/>
                </a:lnTo>
                <a:lnTo>
                  <a:pt x="180420" y="22511"/>
                </a:lnTo>
                <a:lnTo>
                  <a:pt x="197771" y="37984"/>
                </a:lnTo>
                <a:lnTo>
                  <a:pt x="197807" y="39007"/>
                </a:lnTo>
                <a:lnTo>
                  <a:pt x="210029" y="41791"/>
                </a:lnTo>
                <a:lnTo>
                  <a:pt x="223654" y="25476"/>
                </a:lnTo>
                <a:lnTo>
                  <a:pt x="246216" y="14877"/>
                </a:lnTo>
                <a:lnTo>
                  <a:pt x="257680" y="22252"/>
                </a:lnTo>
                <a:lnTo>
                  <a:pt x="255269" y="38548"/>
                </a:lnTo>
                <a:lnTo>
                  <a:pt x="266325" y="45855"/>
                </a:lnTo>
                <a:lnTo>
                  <a:pt x="266315" y="45616"/>
                </a:lnTo>
                <a:lnTo>
                  <a:pt x="265039" y="83156"/>
                </a:lnTo>
                <a:lnTo>
                  <a:pt x="264819" y="82985"/>
                </a:lnTo>
                <a:lnTo>
                  <a:pt x="239471" y="80665"/>
                </a:lnTo>
                <a:lnTo>
                  <a:pt x="239220" y="101444"/>
                </a:lnTo>
                <a:lnTo>
                  <a:pt x="230486" y="117667"/>
                </a:lnTo>
                <a:lnTo>
                  <a:pt x="230077" y="118029"/>
                </a:lnTo>
                <a:lnTo>
                  <a:pt x="260216" y="125066"/>
                </a:lnTo>
                <a:lnTo>
                  <a:pt x="233769" y="146779"/>
                </a:lnTo>
                <a:lnTo>
                  <a:pt x="251050" y="163239"/>
                </a:lnTo>
                <a:lnTo>
                  <a:pt x="274995" y="163187"/>
                </a:lnTo>
                <a:lnTo>
                  <a:pt x="286267" y="193477"/>
                </a:lnTo>
                <a:lnTo>
                  <a:pt x="254814" y="200044"/>
                </a:lnTo>
                <a:lnTo>
                  <a:pt x="267903" y="221262"/>
                </a:lnTo>
                <a:lnTo>
                  <a:pt x="229243" y="260643"/>
                </a:lnTo>
                <a:lnTo>
                  <a:pt x="210918" y="267763"/>
                </a:lnTo>
                <a:lnTo>
                  <a:pt x="205101" y="284466"/>
                </a:lnTo>
                <a:lnTo>
                  <a:pt x="225813" y="304677"/>
                </a:lnTo>
                <a:lnTo>
                  <a:pt x="230795" y="322436"/>
                </a:lnTo>
                <a:lnTo>
                  <a:pt x="231212" y="322060"/>
                </a:lnTo>
                <a:lnTo>
                  <a:pt x="246651" y="311752"/>
                </a:lnTo>
                <a:lnTo>
                  <a:pt x="247058" y="312672"/>
                </a:lnTo>
                <a:lnTo>
                  <a:pt x="262063" y="338608"/>
                </a:lnTo>
                <a:lnTo>
                  <a:pt x="252197" y="366484"/>
                </a:lnTo>
                <a:lnTo>
                  <a:pt x="281161" y="354445"/>
                </a:lnTo>
                <a:close/>
              </a:path>
            </a:pathLst>
          </a:custGeom>
          <a:solidFill>
            <a:schemeClr val="bg1">
              <a:lumMod val="6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76" name="ee4p_13_2_43215">
            <a:extLst>
              <a:ext uri="{FF2B5EF4-FFF2-40B4-BE49-F238E27FC236}">
                <a16:creationId xmlns:a16="http://schemas.microsoft.com/office/drawing/2014/main" id="{2B4D79F5-85E5-4945-A62F-88E096686E6C}"/>
              </a:ext>
            </a:extLst>
          </p:cNvPr>
          <p:cNvSpPr>
            <a:spLocks noChangeAspect="1"/>
          </p:cNvSpPr>
          <p:nvPr>
            <p:custDataLst>
              <p:tags r:id="rId27"/>
            </p:custDataLst>
          </p:nvPr>
        </p:nvSpPr>
        <p:spPr bwMode="gray">
          <a:xfrm>
            <a:off x="6803613" y="4900917"/>
            <a:ext cx="138710" cy="192404"/>
          </a:xfrm>
          <a:custGeom>
            <a:avLst/>
            <a:gdLst/>
            <a:ahLst/>
            <a:cxnLst/>
            <a:rect l="0" t="0" r="0" b="0"/>
            <a:pathLst>
              <a:path w="155300" h="194842">
                <a:moveTo>
                  <a:pt x="0" y="166022"/>
                </a:moveTo>
                <a:lnTo>
                  <a:pt x="28632" y="148601"/>
                </a:lnTo>
                <a:lnTo>
                  <a:pt x="54573" y="148866"/>
                </a:lnTo>
                <a:lnTo>
                  <a:pt x="58384" y="129357"/>
                </a:lnTo>
                <a:lnTo>
                  <a:pt x="58272" y="129455"/>
                </a:lnTo>
                <a:lnTo>
                  <a:pt x="48748" y="73749"/>
                </a:lnTo>
                <a:lnTo>
                  <a:pt x="39394" y="61522"/>
                </a:lnTo>
                <a:lnTo>
                  <a:pt x="59928" y="53953"/>
                </a:lnTo>
                <a:lnTo>
                  <a:pt x="59938" y="55021"/>
                </a:lnTo>
                <a:lnTo>
                  <a:pt x="74387" y="57147"/>
                </a:lnTo>
                <a:lnTo>
                  <a:pt x="88002" y="25528"/>
                </a:lnTo>
                <a:lnTo>
                  <a:pt x="88827" y="24844"/>
                </a:lnTo>
                <a:lnTo>
                  <a:pt x="94291" y="15712"/>
                </a:lnTo>
                <a:lnTo>
                  <a:pt x="125597" y="21134"/>
                </a:lnTo>
                <a:lnTo>
                  <a:pt x="117958" y="1042"/>
                </a:lnTo>
                <a:lnTo>
                  <a:pt x="117855" y="645"/>
                </a:lnTo>
                <a:lnTo>
                  <a:pt x="130697" y="0"/>
                </a:lnTo>
                <a:lnTo>
                  <a:pt x="151282" y="17005"/>
                </a:lnTo>
                <a:lnTo>
                  <a:pt x="143039" y="30085"/>
                </a:lnTo>
                <a:lnTo>
                  <a:pt x="142826" y="30082"/>
                </a:lnTo>
                <a:lnTo>
                  <a:pt x="138707" y="34634"/>
                </a:lnTo>
                <a:lnTo>
                  <a:pt x="138633" y="34633"/>
                </a:lnTo>
                <a:lnTo>
                  <a:pt x="138145" y="41522"/>
                </a:lnTo>
                <a:lnTo>
                  <a:pt x="137885" y="41520"/>
                </a:lnTo>
                <a:lnTo>
                  <a:pt x="155299" y="66221"/>
                </a:lnTo>
                <a:lnTo>
                  <a:pt x="155297" y="66501"/>
                </a:lnTo>
                <a:lnTo>
                  <a:pt x="130503" y="78133"/>
                </a:lnTo>
                <a:lnTo>
                  <a:pt x="130456" y="78251"/>
                </a:lnTo>
                <a:lnTo>
                  <a:pt x="136298" y="88947"/>
                </a:lnTo>
                <a:lnTo>
                  <a:pt x="140367" y="120780"/>
                </a:lnTo>
                <a:lnTo>
                  <a:pt x="139535" y="120771"/>
                </a:lnTo>
                <a:lnTo>
                  <a:pt x="130302" y="144111"/>
                </a:lnTo>
                <a:lnTo>
                  <a:pt x="119871" y="146268"/>
                </a:lnTo>
                <a:lnTo>
                  <a:pt x="109604" y="165016"/>
                </a:lnTo>
                <a:lnTo>
                  <a:pt x="83844" y="169797"/>
                </a:lnTo>
                <a:lnTo>
                  <a:pt x="87764" y="178843"/>
                </a:lnTo>
                <a:lnTo>
                  <a:pt x="73412" y="194841"/>
                </a:lnTo>
                <a:lnTo>
                  <a:pt x="37787" y="166090"/>
                </a:lnTo>
                <a:close/>
              </a:path>
            </a:pathLst>
          </a:custGeom>
          <a:solidFill>
            <a:schemeClr val="bg1">
              <a:lumMod val="6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77" name="ee4p_12_1_43215">
            <a:extLst>
              <a:ext uri="{FF2B5EF4-FFF2-40B4-BE49-F238E27FC236}">
                <a16:creationId xmlns:a16="http://schemas.microsoft.com/office/drawing/2014/main" id="{9FAA777D-26E1-4C00-BADD-2D19F6284B1A}"/>
              </a:ext>
            </a:extLst>
          </p:cNvPr>
          <p:cNvSpPr>
            <a:spLocks noChangeAspect="1"/>
          </p:cNvSpPr>
          <p:nvPr>
            <p:custDataLst>
              <p:tags r:id="rId28"/>
            </p:custDataLst>
          </p:nvPr>
        </p:nvSpPr>
        <p:spPr bwMode="gray">
          <a:xfrm>
            <a:off x="6627223" y="4788463"/>
            <a:ext cx="288571" cy="276400"/>
          </a:xfrm>
          <a:custGeom>
            <a:avLst/>
            <a:gdLst/>
            <a:ahLst/>
            <a:cxnLst/>
            <a:rect l="0" t="0" r="0" b="0"/>
            <a:pathLst>
              <a:path w="323085" h="279902">
                <a:moveTo>
                  <a:pt x="212090" y="7977"/>
                </a:moveTo>
                <a:lnTo>
                  <a:pt x="233196" y="29216"/>
                </a:lnTo>
                <a:lnTo>
                  <a:pt x="247674" y="34626"/>
                </a:lnTo>
                <a:lnTo>
                  <a:pt x="256308" y="49785"/>
                </a:lnTo>
                <a:lnTo>
                  <a:pt x="253462" y="73770"/>
                </a:lnTo>
                <a:lnTo>
                  <a:pt x="268156" y="94212"/>
                </a:lnTo>
                <a:lnTo>
                  <a:pt x="290236" y="97787"/>
                </a:lnTo>
                <a:lnTo>
                  <a:pt x="315344" y="114532"/>
                </a:lnTo>
                <a:lnTo>
                  <a:pt x="315445" y="114921"/>
                </a:lnTo>
                <a:lnTo>
                  <a:pt x="323084" y="135013"/>
                </a:lnTo>
                <a:lnTo>
                  <a:pt x="291778" y="129591"/>
                </a:lnTo>
                <a:lnTo>
                  <a:pt x="286314" y="138723"/>
                </a:lnTo>
                <a:lnTo>
                  <a:pt x="285489" y="139407"/>
                </a:lnTo>
                <a:lnTo>
                  <a:pt x="271874" y="171026"/>
                </a:lnTo>
                <a:lnTo>
                  <a:pt x="257425" y="168900"/>
                </a:lnTo>
                <a:lnTo>
                  <a:pt x="257415" y="167832"/>
                </a:lnTo>
                <a:lnTo>
                  <a:pt x="236881" y="175401"/>
                </a:lnTo>
                <a:lnTo>
                  <a:pt x="246235" y="187628"/>
                </a:lnTo>
                <a:lnTo>
                  <a:pt x="255759" y="243334"/>
                </a:lnTo>
                <a:lnTo>
                  <a:pt x="255871" y="243236"/>
                </a:lnTo>
                <a:lnTo>
                  <a:pt x="252060" y="262745"/>
                </a:lnTo>
                <a:lnTo>
                  <a:pt x="226119" y="262480"/>
                </a:lnTo>
                <a:lnTo>
                  <a:pt x="197487" y="279901"/>
                </a:lnTo>
                <a:lnTo>
                  <a:pt x="168661" y="264565"/>
                </a:lnTo>
                <a:lnTo>
                  <a:pt x="132048" y="265264"/>
                </a:lnTo>
                <a:lnTo>
                  <a:pt x="101842" y="246883"/>
                </a:lnTo>
                <a:lnTo>
                  <a:pt x="73439" y="270203"/>
                </a:lnTo>
                <a:lnTo>
                  <a:pt x="37754" y="278341"/>
                </a:lnTo>
                <a:lnTo>
                  <a:pt x="9476" y="274596"/>
                </a:lnTo>
                <a:lnTo>
                  <a:pt x="0" y="264837"/>
                </a:lnTo>
                <a:lnTo>
                  <a:pt x="4715" y="212704"/>
                </a:lnTo>
                <a:lnTo>
                  <a:pt x="14422" y="194980"/>
                </a:lnTo>
                <a:lnTo>
                  <a:pt x="27320" y="150449"/>
                </a:lnTo>
                <a:lnTo>
                  <a:pt x="43463" y="128534"/>
                </a:lnTo>
                <a:lnTo>
                  <a:pt x="55854" y="122120"/>
                </a:lnTo>
                <a:lnTo>
                  <a:pt x="68921" y="102694"/>
                </a:lnTo>
                <a:lnTo>
                  <a:pt x="93646" y="61097"/>
                </a:lnTo>
                <a:lnTo>
                  <a:pt x="91906" y="22520"/>
                </a:lnTo>
                <a:lnTo>
                  <a:pt x="116155" y="14575"/>
                </a:lnTo>
                <a:lnTo>
                  <a:pt x="114944" y="31174"/>
                </a:lnTo>
                <a:lnTo>
                  <a:pt x="147399" y="35479"/>
                </a:lnTo>
                <a:lnTo>
                  <a:pt x="153403" y="25743"/>
                </a:lnTo>
                <a:lnTo>
                  <a:pt x="181107" y="18379"/>
                </a:lnTo>
                <a:lnTo>
                  <a:pt x="174166" y="2522"/>
                </a:lnTo>
                <a:lnTo>
                  <a:pt x="206304" y="0"/>
                </a:lnTo>
                <a:lnTo>
                  <a:pt x="211046" y="8897"/>
                </a:lnTo>
                <a:close/>
              </a:path>
            </a:pathLst>
          </a:custGeom>
          <a:solidFill>
            <a:schemeClr val="bg2"/>
          </a:solidFill>
          <a:ln w="9525" cap="flat" cmpd="sng" algn="ctr">
            <a:solidFill>
              <a:schemeClr val="bg1"/>
            </a:solidFill>
            <a:prstDash val="solid"/>
          </a:ln>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78" name="ee4p_14_1_43215">
            <a:extLst>
              <a:ext uri="{FF2B5EF4-FFF2-40B4-BE49-F238E27FC236}">
                <a16:creationId xmlns:a16="http://schemas.microsoft.com/office/drawing/2014/main" id="{794CE257-4905-4E85-9CD7-790321D8C5B7}"/>
              </a:ext>
            </a:extLst>
          </p:cNvPr>
          <p:cNvSpPr>
            <a:spLocks noChangeAspect="1"/>
          </p:cNvSpPr>
          <p:nvPr>
            <p:custDataLst>
              <p:tags r:id="rId29"/>
            </p:custDataLst>
          </p:nvPr>
        </p:nvSpPr>
        <p:spPr bwMode="gray">
          <a:xfrm>
            <a:off x="6822772" y="4160588"/>
            <a:ext cx="453524" cy="575518"/>
          </a:xfrm>
          <a:custGeom>
            <a:avLst/>
            <a:gdLst/>
            <a:ahLst/>
            <a:cxnLst/>
            <a:rect l="l" t="t" r="r" b="b"/>
            <a:pathLst>
              <a:path w="507766" h="582811">
                <a:moveTo>
                  <a:pt x="38022" y="124660"/>
                </a:moveTo>
                <a:lnTo>
                  <a:pt x="36956" y="152936"/>
                </a:lnTo>
                <a:lnTo>
                  <a:pt x="44691" y="169990"/>
                </a:lnTo>
                <a:lnTo>
                  <a:pt x="7212" y="164451"/>
                </a:lnTo>
                <a:lnTo>
                  <a:pt x="0" y="141467"/>
                </a:lnTo>
                <a:close/>
                <a:moveTo>
                  <a:pt x="263635" y="26976"/>
                </a:moveTo>
                <a:lnTo>
                  <a:pt x="296050" y="44549"/>
                </a:lnTo>
                <a:lnTo>
                  <a:pt x="310887" y="33208"/>
                </a:lnTo>
                <a:lnTo>
                  <a:pt x="321799" y="50770"/>
                </a:lnTo>
                <a:lnTo>
                  <a:pt x="357063" y="75617"/>
                </a:lnTo>
                <a:lnTo>
                  <a:pt x="378350" y="71480"/>
                </a:lnTo>
                <a:lnTo>
                  <a:pt x="384479" y="89271"/>
                </a:lnTo>
                <a:lnTo>
                  <a:pt x="410927" y="108172"/>
                </a:lnTo>
                <a:lnTo>
                  <a:pt x="405067" y="121489"/>
                </a:lnTo>
                <a:lnTo>
                  <a:pt x="434096" y="125826"/>
                </a:lnTo>
                <a:lnTo>
                  <a:pt x="438517" y="154428"/>
                </a:lnTo>
                <a:lnTo>
                  <a:pt x="450988" y="189490"/>
                </a:lnTo>
                <a:lnTo>
                  <a:pt x="440635" y="216855"/>
                </a:lnTo>
                <a:lnTo>
                  <a:pt x="421512" y="228253"/>
                </a:lnTo>
                <a:lnTo>
                  <a:pt x="428442" y="246665"/>
                </a:lnTo>
                <a:lnTo>
                  <a:pt x="466388" y="274720"/>
                </a:lnTo>
                <a:lnTo>
                  <a:pt x="458906" y="301947"/>
                </a:lnTo>
                <a:lnTo>
                  <a:pt x="475419" y="322124"/>
                </a:lnTo>
                <a:lnTo>
                  <a:pt x="479429" y="344349"/>
                </a:lnTo>
                <a:lnTo>
                  <a:pt x="466328" y="373129"/>
                </a:lnTo>
                <a:lnTo>
                  <a:pt x="477285" y="393033"/>
                </a:lnTo>
                <a:lnTo>
                  <a:pt x="478494" y="414234"/>
                </a:lnTo>
                <a:lnTo>
                  <a:pt x="495815" y="418740"/>
                </a:lnTo>
                <a:lnTo>
                  <a:pt x="507766" y="444183"/>
                </a:lnTo>
                <a:lnTo>
                  <a:pt x="502296" y="471811"/>
                </a:lnTo>
                <a:lnTo>
                  <a:pt x="483032" y="504359"/>
                </a:lnTo>
                <a:lnTo>
                  <a:pt x="469889" y="501457"/>
                </a:lnTo>
                <a:lnTo>
                  <a:pt x="451155" y="478044"/>
                </a:lnTo>
                <a:lnTo>
                  <a:pt x="443749" y="496201"/>
                </a:lnTo>
                <a:lnTo>
                  <a:pt x="397614" y="509611"/>
                </a:lnTo>
                <a:lnTo>
                  <a:pt x="393874" y="517480"/>
                </a:lnTo>
                <a:lnTo>
                  <a:pt x="364087" y="518564"/>
                </a:lnTo>
                <a:lnTo>
                  <a:pt x="329932" y="545614"/>
                </a:lnTo>
                <a:lnTo>
                  <a:pt x="308747" y="556576"/>
                </a:lnTo>
                <a:lnTo>
                  <a:pt x="295821" y="551394"/>
                </a:lnTo>
                <a:lnTo>
                  <a:pt x="264146" y="558376"/>
                </a:lnTo>
                <a:lnTo>
                  <a:pt x="240671" y="579316"/>
                </a:lnTo>
                <a:lnTo>
                  <a:pt x="226304" y="569403"/>
                </a:lnTo>
                <a:lnTo>
                  <a:pt x="197477" y="559287"/>
                </a:lnTo>
                <a:lnTo>
                  <a:pt x="169105" y="560796"/>
                </a:lnTo>
                <a:lnTo>
                  <a:pt x="157845" y="551856"/>
                </a:lnTo>
                <a:lnTo>
                  <a:pt x="144181" y="560877"/>
                </a:lnTo>
                <a:lnTo>
                  <a:pt x="101130" y="560132"/>
                </a:lnTo>
                <a:lnTo>
                  <a:pt x="91764" y="582811"/>
                </a:lnTo>
                <a:lnTo>
                  <a:pt x="61035" y="559226"/>
                </a:lnTo>
                <a:lnTo>
                  <a:pt x="40455" y="538851"/>
                </a:lnTo>
                <a:lnTo>
                  <a:pt x="25051" y="536496"/>
                </a:lnTo>
                <a:lnTo>
                  <a:pt x="14779" y="515480"/>
                </a:lnTo>
                <a:lnTo>
                  <a:pt x="26763" y="495711"/>
                </a:lnTo>
                <a:lnTo>
                  <a:pt x="24838" y="480059"/>
                </a:lnTo>
                <a:lnTo>
                  <a:pt x="36266" y="469710"/>
                </a:lnTo>
                <a:lnTo>
                  <a:pt x="36691" y="469358"/>
                </a:lnTo>
                <a:lnTo>
                  <a:pt x="13415" y="434332"/>
                </a:lnTo>
                <a:lnTo>
                  <a:pt x="37449" y="424960"/>
                </a:lnTo>
                <a:lnTo>
                  <a:pt x="63629" y="406464"/>
                </a:lnTo>
                <a:lnTo>
                  <a:pt x="88914" y="399388"/>
                </a:lnTo>
                <a:lnTo>
                  <a:pt x="76541" y="378006"/>
                </a:lnTo>
                <a:lnTo>
                  <a:pt x="83542" y="367638"/>
                </a:lnTo>
                <a:lnTo>
                  <a:pt x="75784" y="351132"/>
                </a:lnTo>
                <a:lnTo>
                  <a:pt x="112538" y="339719"/>
                </a:lnTo>
                <a:lnTo>
                  <a:pt x="126315" y="323642"/>
                </a:lnTo>
                <a:lnTo>
                  <a:pt x="120984" y="313548"/>
                </a:lnTo>
                <a:lnTo>
                  <a:pt x="120372" y="312804"/>
                </a:lnTo>
                <a:lnTo>
                  <a:pt x="123333" y="308263"/>
                </a:lnTo>
                <a:lnTo>
                  <a:pt x="124482" y="307331"/>
                </a:lnTo>
                <a:lnTo>
                  <a:pt x="128131" y="295328"/>
                </a:lnTo>
                <a:lnTo>
                  <a:pt x="113538" y="284710"/>
                </a:lnTo>
                <a:lnTo>
                  <a:pt x="97128" y="257101"/>
                </a:lnTo>
                <a:lnTo>
                  <a:pt x="95403" y="242213"/>
                </a:lnTo>
                <a:lnTo>
                  <a:pt x="117297" y="234949"/>
                </a:lnTo>
                <a:lnTo>
                  <a:pt x="148549" y="239695"/>
                </a:lnTo>
                <a:lnTo>
                  <a:pt x="163574" y="231566"/>
                </a:lnTo>
                <a:lnTo>
                  <a:pt x="116869" y="179200"/>
                </a:lnTo>
                <a:lnTo>
                  <a:pt x="97644" y="180931"/>
                </a:lnTo>
                <a:lnTo>
                  <a:pt x="87921" y="162122"/>
                </a:lnTo>
                <a:lnTo>
                  <a:pt x="112971" y="137447"/>
                </a:lnTo>
                <a:lnTo>
                  <a:pt x="95183" y="123734"/>
                </a:lnTo>
                <a:lnTo>
                  <a:pt x="95566" y="107062"/>
                </a:lnTo>
                <a:lnTo>
                  <a:pt x="107259" y="97123"/>
                </a:lnTo>
                <a:lnTo>
                  <a:pt x="134944" y="89234"/>
                </a:lnTo>
                <a:lnTo>
                  <a:pt x="172089" y="87428"/>
                </a:lnTo>
                <a:lnTo>
                  <a:pt x="183485" y="70926"/>
                </a:lnTo>
                <a:lnTo>
                  <a:pt x="227619" y="65716"/>
                </a:lnTo>
                <a:lnTo>
                  <a:pt x="247025" y="51659"/>
                </a:lnTo>
                <a:close/>
                <a:moveTo>
                  <a:pt x="352494" y="0"/>
                </a:moveTo>
                <a:lnTo>
                  <a:pt x="355182" y="15392"/>
                </a:lnTo>
                <a:lnTo>
                  <a:pt x="376147" y="44624"/>
                </a:lnTo>
                <a:lnTo>
                  <a:pt x="360181" y="45512"/>
                </a:lnTo>
                <a:lnTo>
                  <a:pt x="348731" y="61722"/>
                </a:lnTo>
                <a:lnTo>
                  <a:pt x="324487" y="51844"/>
                </a:lnTo>
                <a:lnTo>
                  <a:pt x="326745" y="18661"/>
                </a:lnTo>
                <a:lnTo>
                  <a:pt x="338517" y="1600"/>
                </a:lnTo>
                <a:close/>
              </a:path>
            </a:pathLst>
          </a:custGeom>
          <a:solidFill>
            <a:schemeClr val="bg2"/>
          </a:solidFill>
          <a:ln w="9525" cap="flat" cmpd="sng" algn="ctr">
            <a:solidFill>
              <a:schemeClr val="bg1"/>
            </a:solidFill>
            <a:prstDash val="solid"/>
          </a:ln>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79" name="ee4p_11_1_43215">
            <a:extLst>
              <a:ext uri="{FF2B5EF4-FFF2-40B4-BE49-F238E27FC236}">
                <a16:creationId xmlns:a16="http://schemas.microsoft.com/office/drawing/2014/main" id="{4876F1E2-8926-4773-ADB8-659454183E59}"/>
              </a:ext>
            </a:extLst>
          </p:cNvPr>
          <p:cNvSpPr>
            <a:spLocks noChangeAspect="1"/>
          </p:cNvSpPr>
          <p:nvPr>
            <p:custDataLst>
              <p:tags r:id="rId30"/>
            </p:custDataLst>
          </p:nvPr>
        </p:nvSpPr>
        <p:spPr bwMode="gray">
          <a:xfrm>
            <a:off x="6584111" y="4131978"/>
            <a:ext cx="588656" cy="950068"/>
          </a:xfrm>
          <a:custGeom>
            <a:avLst/>
            <a:gdLst/>
            <a:ahLst/>
            <a:cxnLst/>
            <a:rect l="l" t="t" r="r" b="b"/>
            <a:pathLst>
              <a:path w="659060" h="962107">
                <a:moveTo>
                  <a:pt x="305227" y="153633"/>
                </a:moveTo>
                <a:lnTo>
                  <a:pt x="267205" y="170440"/>
                </a:lnTo>
                <a:lnTo>
                  <a:pt x="274417" y="193424"/>
                </a:lnTo>
                <a:lnTo>
                  <a:pt x="311896" y="198963"/>
                </a:lnTo>
                <a:lnTo>
                  <a:pt x="304161" y="181909"/>
                </a:lnTo>
                <a:close/>
                <a:moveTo>
                  <a:pt x="188716" y="0"/>
                </a:moveTo>
                <a:lnTo>
                  <a:pt x="218473" y="13202"/>
                </a:lnTo>
                <a:lnTo>
                  <a:pt x="251471" y="9271"/>
                </a:lnTo>
                <a:lnTo>
                  <a:pt x="291035" y="32247"/>
                </a:lnTo>
                <a:lnTo>
                  <a:pt x="301033" y="55800"/>
                </a:lnTo>
                <a:lnTo>
                  <a:pt x="363982" y="78892"/>
                </a:lnTo>
                <a:lnTo>
                  <a:pt x="391666" y="74412"/>
                </a:lnTo>
                <a:lnTo>
                  <a:pt x="393709" y="93690"/>
                </a:lnTo>
                <a:lnTo>
                  <a:pt x="360757" y="115921"/>
                </a:lnTo>
                <a:lnTo>
                  <a:pt x="374464" y="126096"/>
                </a:lnTo>
                <a:lnTo>
                  <a:pt x="362771" y="136035"/>
                </a:lnTo>
                <a:lnTo>
                  <a:pt x="362388" y="152707"/>
                </a:lnTo>
                <a:lnTo>
                  <a:pt x="380176" y="166420"/>
                </a:lnTo>
                <a:lnTo>
                  <a:pt x="355126" y="191095"/>
                </a:lnTo>
                <a:lnTo>
                  <a:pt x="364849" y="209904"/>
                </a:lnTo>
                <a:lnTo>
                  <a:pt x="384074" y="208173"/>
                </a:lnTo>
                <a:lnTo>
                  <a:pt x="430779" y="260539"/>
                </a:lnTo>
                <a:lnTo>
                  <a:pt x="415754" y="268668"/>
                </a:lnTo>
                <a:lnTo>
                  <a:pt x="384502" y="263922"/>
                </a:lnTo>
                <a:lnTo>
                  <a:pt x="362608" y="271186"/>
                </a:lnTo>
                <a:lnTo>
                  <a:pt x="364333" y="286074"/>
                </a:lnTo>
                <a:lnTo>
                  <a:pt x="380743" y="313683"/>
                </a:lnTo>
                <a:lnTo>
                  <a:pt x="395336" y="324301"/>
                </a:lnTo>
                <a:lnTo>
                  <a:pt x="391687" y="336304"/>
                </a:lnTo>
                <a:lnTo>
                  <a:pt x="390538" y="337236"/>
                </a:lnTo>
                <a:lnTo>
                  <a:pt x="387577" y="341777"/>
                </a:lnTo>
                <a:lnTo>
                  <a:pt x="388189" y="342521"/>
                </a:lnTo>
                <a:lnTo>
                  <a:pt x="393520" y="352615"/>
                </a:lnTo>
                <a:lnTo>
                  <a:pt x="379743" y="368692"/>
                </a:lnTo>
                <a:lnTo>
                  <a:pt x="342989" y="380105"/>
                </a:lnTo>
                <a:lnTo>
                  <a:pt x="350747" y="396611"/>
                </a:lnTo>
                <a:lnTo>
                  <a:pt x="343746" y="406979"/>
                </a:lnTo>
                <a:lnTo>
                  <a:pt x="356119" y="428361"/>
                </a:lnTo>
                <a:lnTo>
                  <a:pt x="330834" y="435437"/>
                </a:lnTo>
                <a:lnTo>
                  <a:pt x="304654" y="453933"/>
                </a:lnTo>
                <a:lnTo>
                  <a:pt x="280620" y="463305"/>
                </a:lnTo>
                <a:lnTo>
                  <a:pt x="303896" y="498331"/>
                </a:lnTo>
                <a:lnTo>
                  <a:pt x="303471" y="498683"/>
                </a:lnTo>
                <a:lnTo>
                  <a:pt x="292043" y="509032"/>
                </a:lnTo>
                <a:lnTo>
                  <a:pt x="293968" y="524684"/>
                </a:lnTo>
                <a:lnTo>
                  <a:pt x="281984" y="544453"/>
                </a:lnTo>
                <a:lnTo>
                  <a:pt x="292256" y="565469"/>
                </a:lnTo>
                <a:lnTo>
                  <a:pt x="307660" y="567824"/>
                </a:lnTo>
                <a:lnTo>
                  <a:pt x="328240" y="588199"/>
                </a:lnTo>
                <a:lnTo>
                  <a:pt x="358969" y="611784"/>
                </a:lnTo>
                <a:lnTo>
                  <a:pt x="368335" y="589105"/>
                </a:lnTo>
                <a:lnTo>
                  <a:pt x="411386" y="589850"/>
                </a:lnTo>
                <a:lnTo>
                  <a:pt x="425050" y="580829"/>
                </a:lnTo>
                <a:lnTo>
                  <a:pt x="436310" y="589769"/>
                </a:lnTo>
                <a:lnTo>
                  <a:pt x="464682" y="588260"/>
                </a:lnTo>
                <a:lnTo>
                  <a:pt x="493509" y="598376"/>
                </a:lnTo>
                <a:lnTo>
                  <a:pt x="500673" y="623871"/>
                </a:lnTo>
                <a:lnTo>
                  <a:pt x="526726" y="638525"/>
                </a:lnTo>
                <a:lnTo>
                  <a:pt x="534231" y="651223"/>
                </a:lnTo>
                <a:lnTo>
                  <a:pt x="526493" y="665091"/>
                </a:lnTo>
                <a:lnTo>
                  <a:pt x="545378" y="709491"/>
                </a:lnTo>
                <a:lnTo>
                  <a:pt x="573614" y="720014"/>
                </a:lnTo>
                <a:lnTo>
                  <a:pt x="589545" y="739049"/>
                </a:lnTo>
                <a:lnTo>
                  <a:pt x="635117" y="767506"/>
                </a:lnTo>
                <a:lnTo>
                  <a:pt x="659060" y="791638"/>
                </a:lnTo>
                <a:lnTo>
                  <a:pt x="655789" y="816290"/>
                </a:lnTo>
                <a:lnTo>
                  <a:pt x="647946" y="823755"/>
                </a:lnTo>
                <a:lnTo>
                  <a:pt x="628439" y="813894"/>
                </a:lnTo>
                <a:lnTo>
                  <a:pt x="617904" y="841010"/>
                </a:lnTo>
                <a:lnTo>
                  <a:pt x="607006" y="849417"/>
                </a:lnTo>
                <a:lnTo>
                  <a:pt x="580194" y="855543"/>
                </a:lnTo>
                <a:lnTo>
                  <a:pt x="554275" y="873255"/>
                </a:lnTo>
                <a:lnTo>
                  <a:pt x="578284" y="905976"/>
                </a:lnTo>
                <a:lnTo>
                  <a:pt x="588389" y="932205"/>
                </a:lnTo>
                <a:lnTo>
                  <a:pt x="578619" y="953148"/>
                </a:lnTo>
                <a:lnTo>
                  <a:pt x="557012" y="939293"/>
                </a:lnTo>
                <a:lnTo>
                  <a:pt x="552695" y="926915"/>
                </a:lnTo>
                <a:lnTo>
                  <a:pt x="530379" y="933477"/>
                </a:lnTo>
                <a:lnTo>
                  <a:pt x="522005" y="924877"/>
                </a:lnTo>
                <a:lnTo>
                  <a:pt x="502786" y="935807"/>
                </a:lnTo>
                <a:lnTo>
                  <a:pt x="449257" y="938712"/>
                </a:lnTo>
                <a:lnTo>
                  <a:pt x="413089" y="957878"/>
                </a:lnTo>
                <a:lnTo>
                  <a:pt x="394061" y="962107"/>
                </a:lnTo>
                <a:lnTo>
                  <a:pt x="355359" y="943700"/>
                </a:lnTo>
                <a:lnTo>
                  <a:pt x="365626" y="924952"/>
                </a:lnTo>
                <a:lnTo>
                  <a:pt x="376057" y="922795"/>
                </a:lnTo>
                <a:lnTo>
                  <a:pt x="385290" y="899455"/>
                </a:lnTo>
                <a:lnTo>
                  <a:pt x="386122" y="899464"/>
                </a:lnTo>
                <a:lnTo>
                  <a:pt x="382053" y="867631"/>
                </a:lnTo>
                <a:lnTo>
                  <a:pt x="376211" y="856935"/>
                </a:lnTo>
                <a:lnTo>
                  <a:pt x="376258" y="856817"/>
                </a:lnTo>
                <a:lnTo>
                  <a:pt x="401052" y="845185"/>
                </a:lnTo>
                <a:lnTo>
                  <a:pt x="401054" y="844905"/>
                </a:lnTo>
                <a:lnTo>
                  <a:pt x="383640" y="820204"/>
                </a:lnTo>
                <a:lnTo>
                  <a:pt x="383900" y="820206"/>
                </a:lnTo>
                <a:lnTo>
                  <a:pt x="384388" y="813317"/>
                </a:lnTo>
                <a:lnTo>
                  <a:pt x="384462" y="813318"/>
                </a:lnTo>
                <a:lnTo>
                  <a:pt x="388581" y="808766"/>
                </a:lnTo>
                <a:lnTo>
                  <a:pt x="388794" y="808769"/>
                </a:lnTo>
                <a:lnTo>
                  <a:pt x="397037" y="795689"/>
                </a:lnTo>
                <a:lnTo>
                  <a:pt x="376452" y="778684"/>
                </a:lnTo>
                <a:lnTo>
                  <a:pt x="363610" y="779329"/>
                </a:lnTo>
                <a:lnTo>
                  <a:pt x="363612" y="779337"/>
                </a:lnTo>
                <a:lnTo>
                  <a:pt x="338504" y="762592"/>
                </a:lnTo>
                <a:lnTo>
                  <a:pt x="316424" y="759017"/>
                </a:lnTo>
                <a:lnTo>
                  <a:pt x="301730" y="738575"/>
                </a:lnTo>
                <a:lnTo>
                  <a:pt x="304576" y="714590"/>
                </a:lnTo>
                <a:lnTo>
                  <a:pt x="295942" y="699431"/>
                </a:lnTo>
                <a:lnTo>
                  <a:pt x="281464" y="694021"/>
                </a:lnTo>
                <a:lnTo>
                  <a:pt x="260358" y="672782"/>
                </a:lnTo>
                <a:lnTo>
                  <a:pt x="259314" y="673702"/>
                </a:lnTo>
                <a:lnTo>
                  <a:pt x="254572" y="664805"/>
                </a:lnTo>
                <a:lnTo>
                  <a:pt x="222434" y="667327"/>
                </a:lnTo>
                <a:lnTo>
                  <a:pt x="229375" y="683184"/>
                </a:lnTo>
                <a:lnTo>
                  <a:pt x="201671" y="690548"/>
                </a:lnTo>
                <a:lnTo>
                  <a:pt x="205848" y="671056"/>
                </a:lnTo>
                <a:lnTo>
                  <a:pt x="194305" y="644779"/>
                </a:lnTo>
                <a:lnTo>
                  <a:pt x="194747" y="644398"/>
                </a:lnTo>
                <a:lnTo>
                  <a:pt x="195216" y="632659"/>
                </a:lnTo>
                <a:lnTo>
                  <a:pt x="194083" y="632226"/>
                </a:lnTo>
                <a:lnTo>
                  <a:pt x="181919" y="622292"/>
                </a:lnTo>
                <a:lnTo>
                  <a:pt x="152955" y="634331"/>
                </a:lnTo>
                <a:lnTo>
                  <a:pt x="162821" y="606455"/>
                </a:lnTo>
                <a:lnTo>
                  <a:pt x="147816" y="580519"/>
                </a:lnTo>
                <a:lnTo>
                  <a:pt x="147409" y="579599"/>
                </a:lnTo>
                <a:lnTo>
                  <a:pt x="131970" y="589907"/>
                </a:lnTo>
                <a:lnTo>
                  <a:pt x="131553" y="590283"/>
                </a:lnTo>
                <a:lnTo>
                  <a:pt x="126571" y="572524"/>
                </a:lnTo>
                <a:lnTo>
                  <a:pt x="105859" y="552313"/>
                </a:lnTo>
                <a:lnTo>
                  <a:pt x="111676" y="535610"/>
                </a:lnTo>
                <a:lnTo>
                  <a:pt x="130001" y="528490"/>
                </a:lnTo>
                <a:lnTo>
                  <a:pt x="168661" y="489109"/>
                </a:lnTo>
                <a:lnTo>
                  <a:pt x="155572" y="467891"/>
                </a:lnTo>
                <a:lnTo>
                  <a:pt x="187025" y="461324"/>
                </a:lnTo>
                <a:lnTo>
                  <a:pt x="175753" y="431034"/>
                </a:lnTo>
                <a:lnTo>
                  <a:pt x="151808" y="431086"/>
                </a:lnTo>
                <a:lnTo>
                  <a:pt x="134527" y="414626"/>
                </a:lnTo>
                <a:lnTo>
                  <a:pt x="160974" y="392913"/>
                </a:lnTo>
                <a:lnTo>
                  <a:pt x="130835" y="385876"/>
                </a:lnTo>
                <a:lnTo>
                  <a:pt x="131244" y="385514"/>
                </a:lnTo>
                <a:lnTo>
                  <a:pt x="139978" y="369291"/>
                </a:lnTo>
                <a:lnTo>
                  <a:pt x="140229" y="348512"/>
                </a:lnTo>
                <a:lnTo>
                  <a:pt x="165577" y="350832"/>
                </a:lnTo>
                <a:lnTo>
                  <a:pt x="165797" y="351003"/>
                </a:lnTo>
                <a:lnTo>
                  <a:pt x="167065" y="313690"/>
                </a:lnTo>
                <a:lnTo>
                  <a:pt x="167083" y="313702"/>
                </a:lnTo>
                <a:lnTo>
                  <a:pt x="167073" y="313463"/>
                </a:lnTo>
                <a:lnTo>
                  <a:pt x="167065" y="313690"/>
                </a:lnTo>
                <a:lnTo>
                  <a:pt x="156027" y="306395"/>
                </a:lnTo>
                <a:lnTo>
                  <a:pt x="158438" y="290099"/>
                </a:lnTo>
                <a:lnTo>
                  <a:pt x="146974" y="282724"/>
                </a:lnTo>
                <a:lnTo>
                  <a:pt x="124412" y="293323"/>
                </a:lnTo>
                <a:lnTo>
                  <a:pt x="110787" y="309638"/>
                </a:lnTo>
                <a:lnTo>
                  <a:pt x="98565" y="306854"/>
                </a:lnTo>
                <a:lnTo>
                  <a:pt x="98529" y="305831"/>
                </a:lnTo>
                <a:lnTo>
                  <a:pt x="81178" y="290358"/>
                </a:lnTo>
                <a:lnTo>
                  <a:pt x="56293" y="303962"/>
                </a:lnTo>
                <a:lnTo>
                  <a:pt x="34386" y="299821"/>
                </a:lnTo>
                <a:lnTo>
                  <a:pt x="36610" y="274784"/>
                </a:lnTo>
                <a:lnTo>
                  <a:pt x="11391" y="267847"/>
                </a:lnTo>
                <a:lnTo>
                  <a:pt x="22268" y="251985"/>
                </a:lnTo>
                <a:lnTo>
                  <a:pt x="21610" y="208782"/>
                </a:lnTo>
                <a:lnTo>
                  <a:pt x="0" y="207941"/>
                </a:lnTo>
                <a:lnTo>
                  <a:pt x="54" y="188586"/>
                </a:lnTo>
                <a:lnTo>
                  <a:pt x="26341" y="162549"/>
                </a:lnTo>
                <a:lnTo>
                  <a:pt x="52143" y="163320"/>
                </a:lnTo>
                <a:lnTo>
                  <a:pt x="94449" y="158289"/>
                </a:lnTo>
                <a:lnTo>
                  <a:pt x="117887" y="175539"/>
                </a:lnTo>
                <a:lnTo>
                  <a:pt x="141163" y="165853"/>
                </a:lnTo>
                <a:lnTo>
                  <a:pt x="147990" y="143033"/>
                </a:lnTo>
                <a:lnTo>
                  <a:pt x="192715" y="142003"/>
                </a:lnTo>
                <a:lnTo>
                  <a:pt x="174385" y="116843"/>
                </a:lnTo>
                <a:lnTo>
                  <a:pt x="176266" y="85036"/>
                </a:lnTo>
                <a:lnTo>
                  <a:pt x="150463" y="79262"/>
                </a:lnTo>
                <a:lnTo>
                  <a:pt x="159279" y="66926"/>
                </a:lnTo>
                <a:lnTo>
                  <a:pt x="183146" y="63775"/>
                </a:lnTo>
                <a:lnTo>
                  <a:pt x="179921" y="42024"/>
                </a:lnTo>
                <a:lnTo>
                  <a:pt x="160193" y="15420"/>
                </a:lnTo>
                <a:lnTo>
                  <a:pt x="144066" y="2409"/>
                </a:lnTo>
                <a:close/>
              </a:path>
            </a:pathLst>
          </a:custGeom>
          <a:solidFill>
            <a:schemeClr val="bg2"/>
          </a:solidFill>
          <a:ln w="9525" cap="flat" cmpd="sng" algn="ctr">
            <a:solidFill>
              <a:schemeClr val="bg1"/>
            </a:solidFill>
            <a:prstDash val="solid"/>
          </a:ln>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80" name="ee4p_51_1_43215">
            <a:extLst>
              <a:ext uri="{FF2B5EF4-FFF2-40B4-BE49-F238E27FC236}">
                <a16:creationId xmlns:a16="http://schemas.microsoft.com/office/drawing/2014/main" id="{3C5A3FAC-1ECC-4D27-9049-31456898B9AF}"/>
              </a:ext>
            </a:extLst>
          </p:cNvPr>
          <p:cNvSpPr>
            <a:spLocks noChangeAspect="1"/>
          </p:cNvSpPr>
          <p:nvPr>
            <p:custDataLst>
              <p:tags r:id="rId31"/>
            </p:custDataLst>
          </p:nvPr>
        </p:nvSpPr>
        <p:spPr bwMode="gray">
          <a:xfrm>
            <a:off x="7677244" y="5746475"/>
            <a:ext cx="739623" cy="758675"/>
          </a:xfrm>
          <a:custGeom>
            <a:avLst/>
            <a:gdLst/>
            <a:ahLst/>
            <a:cxnLst/>
            <a:rect l="l" t="t" r="r" b="b"/>
            <a:pathLst>
              <a:path w="828083" h="768289">
                <a:moveTo>
                  <a:pt x="435536" y="695427"/>
                </a:moveTo>
                <a:lnTo>
                  <a:pt x="444120" y="720130"/>
                </a:lnTo>
                <a:lnTo>
                  <a:pt x="475071" y="717939"/>
                </a:lnTo>
                <a:lnTo>
                  <a:pt x="486270" y="713016"/>
                </a:lnTo>
                <a:lnTo>
                  <a:pt x="514430" y="714512"/>
                </a:lnTo>
                <a:lnTo>
                  <a:pt x="519991" y="722134"/>
                </a:lnTo>
                <a:lnTo>
                  <a:pt x="552918" y="722825"/>
                </a:lnTo>
                <a:lnTo>
                  <a:pt x="559063" y="727853"/>
                </a:lnTo>
                <a:lnTo>
                  <a:pt x="579424" y="721722"/>
                </a:lnTo>
                <a:lnTo>
                  <a:pt x="584335" y="741811"/>
                </a:lnTo>
                <a:lnTo>
                  <a:pt x="594109" y="747901"/>
                </a:lnTo>
                <a:lnTo>
                  <a:pt x="615583" y="734547"/>
                </a:lnTo>
                <a:lnTo>
                  <a:pt x="639394" y="747685"/>
                </a:lnTo>
                <a:lnTo>
                  <a:pt x="622789" y="760355"/>
                </a:lnTo>
                <a:lnTo>
                  <a:pt x="609984" y="755636"/>
                </a:lnTo>
                <a:lnTo>
                  <a:pt x="594255" y="759950"/>
                </a:lnTo>
                <a:lnTo>
                  <a:pt x="551898" y="760114"/>
                </a:lnTo>
                <a:lnTo>
                  <a:pt x="495436" y="768289"/>
                </a:lnTo>
                <a:lnTo>
                  <a:pt x="488579" y="749773"/>
                </a:lnTo>
                <a:lnTo>
                  <a:pt x="475628" y="749253"/>
                </a:lnTo>
                <a:lnTo>
                  <a:pt x="455522" y="738514"/>
                </a:lnTo>
                <a:lnTo>
                  <a:pt x="420288" y="737769"/>
                </a:lnTo>
                <a:lnTo>
                  <a:pt x="400713" y="732647"/>
                </a:lnTo>
                <a:lnTo>
                  <a:pt x="378974" y="734546"/>
                </a:lnTo>
                <a:lnTo>
                  <a:pt x="374409" y="725064"/>
                </a:lnTo>
                <a:lnTo>
                  <a:pt x="377840" y="706570"/>
                </a:lnTo>
                <a:lnTo>
                  <a:pt x="397351" y="700017"/>
                </a:lnTo>
                <a:lnTo>
                  <a:pt x="413382" y="703417"/>
                </a:lnTo>
                <a:close/>
                <a:moveTo>
                  <a:pt x="317191" y="607318"/>
                </a:moveTo>
                <a:lnTo>
                  <a:pt x="331643" y="622337"/>
                </a:lnTo>
                <a:lnTo>
                  <a:pt x="316124" y="632502"/>
                </a:lnTo>
                <a:lnTo>
                  <a:pt x="311294" y="614522"/>
                </a:lnTo>
                <a:close/>
                <a:moveTo>
                  <a:pt x="828083" y="603448"/>
                </a:moveTo>
                <a:lnTo>
                  <a:pt x="812260" y="637967"/>
                </a:lnTo>
                <a:lnTo>
                  <a:pt x="786037" y="662116"/>
                </a:lnTo>
                <a:lnTo>
                  <a:pt x="778470" y="656516"/>
                </a:lnTo>
                <a:lnTo>
                  <a:pt x="783232" y="629087"/>
                </a:lnTo>
                <a:lnTo>
                  <a:pt x="793921" y="614209"/>
                </a:lnTo>
                <a:lnTo>
                  <a:pt x="817113" y="603531"/>
                </a:lnTo>
                <a:close/>
                <a:moveTo>
                  <a:pt x="568869" y="518954"/>
                </a:moveTo>
                <a:lnTo>
                  <a:pt x="573363" y="526947"/>
                </a:lnTo>
                <a:lnTo>
                  <a:pt x="568650" y="543728"/>
                </a:lnTo>
                <a:lnTo>
                  <a:pt x="558950" y="548379"/>
                </a:lnTo>
                <a:lnTo>
                  <a:pt x="547653" y="530586"/>
                </a:lnTo>
                <a:close/>
                <a:moveTo>
                  <a:pt x="106074" y="445085"/>
                </a:moveTo>
                <a:lnTo>
                  <a:pt x="119193" y="449250"/>
                </a:lnTo>
                <a:lnTo>
                  <a:pt x="109711" y="466052"/>
                </a:lnTo>
                <a:lnTo>
                  <a:pt x="92153" y="447438"/>
                </a:lnTo>
                <a:close/>
                <a:moveTo>
                  <a:pt x="212673" y="389756"/>
                </a:moveTo>
                <a:lnTo>
                  <a:pt x="226107" y="392100"/>
                </a:lnTo>
                <a:lnTo>
                  <a:pt x="242127" y="404831"/>
                </a:lnTo>
                <a:lnTo>
                  <a:pt x="272630" y="412053"/>
                </a:lnTo>
                <a:lnTo>
                  <a:pt x="302442" y="431207"/>
                </a:lnTo>
                <a:lnTo>
                  <a:pt x="322816" y="436764"/>
                </a:lnTo>
                <a:lnTo>
                  <a:pt x="339173" y="449357"/>
                </a:lnTo>
                <a:lnTo>
                  <a:pt x="336999" y="469513"/>
                </a:lnTo>
                <a:lnTo>
                  <a:pt x="369885" y="491992"/>
                </a:lnTo>
                <a:lnTo>
                  <a:pt x="347854" y="493774"/>
                </a:lnTo>
                <a:lnTo>
                  <a:pt x="319651" y="481406"/>
                </a:lnTo>
                <a:lnTo>
                  <a:pt x="295563" y="484853"/>
                </a:lnTo>
                <a:lnTo>
                  <a:pt x="320421" y="530940"/>
                </a:lnTo>
                <a:lnTo>
                  <a:pt x="325689" y="554812"/>
                </a:lnTo>
                <a:lnTo>
                  <a:pt x="324848" y="579597"/>
                </a:lnTo>
                <a:lnTo>
                  <a:pt x="318841" y="592438"/>
                </a:lnTo>
                <a:lnTo>
                  <a:pt x="300446" y="561211"/>
                </a:lnTo>
                <a:lnTo>
                  <a:pt x="279637" y="564634"/>
                </a:lnTo>
                <a:lnTo>
                  <a:pt x="260826" y="597111"/>
                </a:lnTo>
                <a:lnTo>
                  <a:pt x="260585" y="574807"/>
                </a:lnTo>
                <a:lnTo>
                  <a:pt x="253827" y="559759"/>
                </a:lnTo>
                <a:lnTo>
                  <a:pt x="239316" y="545191"/>
                </a:lnTo>
                <a:lnTo>
                  <a:pt x="218387" y="541166"/>
                </a:lnTo>
                <a:lnTo>
                  <a:pt x="218782" y="565696"/>
                </a:lnTo>
                <a:lnTo>
                  <a:pt x="198813" y="561331"/>
                </a:lnTo>
                <a:lnTo>
                  <a:pt x="197123" y="545567"/>
                </a:lnTo>
                <a:lnTo>
                  <a:pt x="184684" y="532962"/>
                </a:lnTo>
                <a:lnTo>
                  <a:pt x="184257" y="517611"/>
                </a:lnTo>
                <a:lnTo>
                  <a:pt x="195950" y="504322"/>
                </a:lnTo>
                <a:lnTo>
                  <a:pt x="181856" y="477467"/>
                </a:lnTo>
                <a:lnTo>
                  <a:pt x="164958" y="465704"/>
                </a:lnTo>
                <a:lnTo>
                  <a:pt x="157760" y="454487"/>
                </a:lnTo>
                <a:lnTo>
                  <a:pt x="138569" y="444276"/>
                </a:lnTo>
                <a:lnTo>
                  <a:pt x="157910" y="424200"/>
                </a:lnTo>
                <a:lnTo>
                  <a:pt x="164192" y="403712"/>
                </a:lnTo>
                <a:lnTo>
                  <a:pt x="186947" y="411298"/>
                </a:lnTo>
                <a:lnTo>
                  <a:pt x="200492" y="395642"/>
                </a:lnTo>
                <a:close/>
                <a:moveTo>
                  <a:pt x="86172" y="373941"/>
                </a:moveTo>
                <a:lnTo>
                  <a:pt x="108305" y="412661"/>
                </a:lnTo>
                <a:lnTo>
                  <a:pt x="85166" y="417010"/>
                </a:lnTo>
                <a:lnTo>
                  <a:pt x="64289" y="406100"/>
                </a:lnTo>
                <a:lnTo>
                  <a:pt x="70408" y="390082"/>
                </a:lnTo>
                <a:lnTo>
                  <a:pt x="83279" y="389005"/>
                </a:lnTo>
                <a:close/>
                <a:moveTo>
                  <a:pt x="614730" y="360166"/>
                </a:moveTo>
                <a:lnTo>
                  <a:pt x="627649" y="365148"/>
                </a:lnTo>
                <a:lnTo>
                  <a:pt x="627547" y="392524"/>
                </a:lnTo>
                <a:lnTo>
                  <a:pt x="613174" y="409990"/>
                </a:lnTo>
                <a:lnTo>
                  <a:pt x="599042" y="399930"/>
                </a:lnTo>
                <a:lnTo>
                  <a:pt x="611751" y="388914"/>
                </a:lnTo>
                <a:lnTo>
                  <a:pt x="597825" y="362465"/>
                </a:lnTo>
                <a:close/>
                <a:moveTo>
                  <a:pt x="98753" y="331440"/>
                </a:moveTo>
                <a:lnTo>
                  <a:pt x="101643" y="354527"/>
                </a:lnTo>
                <a:lnTo>
                  <a:pt x="85464" y="350735"/>
                </a:lnTo>
                <a:close/>
                <a:moveTo>
                  <a:pt x="352665" y="310331"/>
                </a:moveTo>
                <a:lnTo>
                  <a:pt x="363489" y="319869"/>
                </a:lnTo>
                <a:lnTo>
                  <a:pt x="367481" y="333339"/>
                </a:lnTo>
                <a:lnTo>
                  <a:pt x="394945" y="347831"/>
                </a:lnTo>
                <a:lnTo>
                  <a:pt x="430683" y="352313"/>
                </a:lnTo>
                <a:lnTo>
                  <a:pt x="441121" y="368364"/>
                </a:lnTo>
                <a:lnTo>
                  <a:pt x="436264" y="382981"/>
                </a:lnTo>
                <a:lnTo>
                  <a:pt x="445022" y="405095"/>
                </a:lnTo>
                <a:lnTo>
                  <a:pt x="475835" y="411736"/>
                </a:lnTo>
                <a:lnTo>
                  <a:pt x="475173" y="424620"/>
                </a:lnTo>
                <a:lnTo>
                  <a:pt x="452422" y="429755"/>
                </a:lnTo>
                <a:lnTo>
                  <a:pt x="432082" y="395699"/>
                </a:lnTo>
                <a:lnTo>
                  <a:pt x="418313" y="381892"/>
                </a:lnTo>
                <a:lnTo>
                  <a:pt x="383706" y="381604"/>
                </a:lnTo>
                <a:lnTo>
                  <a:pt x="379459" y="362828"/>
                </a:lnTo>
                <a:lnTo>
                  <a:pt x="353203" y="341529"/>
                </a:lnTo>
                <a:lnTo>
                  <a:pt x="322706" y="324900"/>
                </a:lnTo>
                <a:lnTo>
                  <a:pt x="334412" y="313823"/>
                </a:lnTo>
                <a:close/>
                <a:moveTo>
                  <a:pt x="646587" y="271921"/>
                </a:moveTo>
                <a:lnTo>
                  <a:pt x="648954" y="282642"/>
                </a:lnTo>
                <a:lnTo>
                  <a:pt x="664046" y="295392"/>
                </a:lnTo>
                <a:lnTo>
                  <a:pt x="671752" y="311934"/>
                </a:lnTo>
                <a:lnTo>
                  <a:pt x="652556" y="319009"/>
                </a:lnTo>
                <a:lnTo>
                  <a:pt x="628377" y="313246"/>
                </a:lnTo>
                <a:lnTo>
                  <a:pt x="621586" y="305432"/>
                </a:lnTo>
                <a:lnTo>
                  <a:pt x="600033" y="297520"/>
                </a:lnTo>
                <a:lnTo>
                  <a:pt x="598218" y="285805"/>
                </a:lnTo>
                <a:close/>
                <a:moveTo>
                  <a:pt x="54" y="224295"/>
                </a:moveTo>
                <a:lnTo>
                  <a:pt x="23452" y="224797"/>
                </a:lnTo>
                <a:lnTo>
                  <a:pt x="15954" y="235758"/>
                </a:lnTo>
                <a:lnTo>
                  <a:pt x="0" y="237472"/>
                </a:lnTo>
                <a:close/>
                <a:moveTo>
                  <a:pt x="557712" y="200479"/>
                </a:moveTo>
                <a:lnTo>
                  <a:pt x="548389" y="214936"/>
                </a:lnTo>
                <a:lnTo>
                  <a:pt x="521006" y="215945"/>
                </a:lnTo>
                <a:lnTo>
                  <a:pt x="520315" y="202914"/>
                </a:lnTo>
                <a:close/>
                <a:moveTo>
                  <a:pt x="357313" y="184580"/>
                </a:moveTo>
                <a:lnTo>
                  <a:pt x="373171" y="199068"/>
                </a:lnTo>
                <a:lnTo>
                  <a:pt x="364797" y="204448"/>
                </a:lnTo>
                <a:lnTo>
                  <a:pt x="352177" y="192070"/>
                </a:lnTo>
                <a:close/>
                <a:moveTo>
                  <a:pt x="483344" y="111376"/>
                </a:moveTo>
                <a:lnTo>
                  <a:pt x="493862" y="130185"/>
                </a:lnTo>
                <a:lnTo>
                  <a:pt x="480617" y="134433"/>
                </a:lnTo>
                <a:lnTo>
                  <a:pt x="468228" y="128172"/>
                </a:lnTo>
                <a:close/>
                <a:moveTo>
                  <a:pt x="628583" y="0"/>
                </a:moveTo>
                <a:lnTo>
                  <a:pt x="646818" y="4356"/>
                </a:lnTo>
                <a:lnTo>
                  <a:pt x="670267" y="17353"/>
                </a:lnTo>
                <a:lnTo>
                  <a:pt x="673653" y="42032"/>
                </a:lnTo>
                <a:lnTo>
                  <a:pt x="644968" y="56682"/>
                </a:lnTo>
                <a:lnTo>
                  <a:pt x="646965" y="92314"/>
                </a:lnTo>
                <a:lnTo>
                  <a:pt x="615359" y="117492"/>
                </a:lnTo>
                <a:lnTo>
                  <a:pt x="603674" y="103996"/>
                </a:lnTo>
                <a:lnTo>
                  <a:pt x="569803" y="102904"/>
                </a:lnTo>
                <a:lnTo>
                  <a:pt x="528014" y="91580"/>
                </a:lnTo>
                <a:lnTo>
                  <a:pt x="522129" y="85907"/>
                </a:lnTo>
                <a:lnTo>
                  <a:pt x="495949" y="104230"/>
                </a:lnTo>
                <a:lnTo>
                  <a:pt x="479409" y="102289"/>
                </a:lnTo>
                <a:lnTo>
                  <a:pt x="471782" y="91747"/>
                </a:lnTo>
                <a:lnTo>
                  <a:pt x="456832" y="94134"/>
                </a:lnTo>
                <a:lnTo>
                  <a:pt x="448887" y="106666"/>
                </a:lnTo>
                <a:lnTo>
                  <a:pt x="423122" y="118888"/>
                </a:lnTo>
                <a:lnTo>
                  <a:pt x="403676" y="111320"/>
                </a:lnTo>
                <a:lnTo>
                  <a:pt x="393761" y="126018"/>
                </a:lnTo>
                <a:lnTo>
                  <a:pt x="402579" y="137364"/>
                </a:lnTo>
                <a:lnTo>
                  <a:pt x="402163" y="159400"/>
                </a:lnTo>
                <a:lnTo>
                  <a:pt x="389533" y="164462"/>
                </a:lnTo>
                <a:lnTo>
                  <a:pt x="397438" y="179479"/>
                </a:lnTo>
                <a:lnTo>
                  <a:pt x="416437" y="186677"/>
                </a:lnTo>
                <a:lnTo>
                  <a:pt x="420707" y="200077"/>
                </a:lnTo>
                <a:lnTo>
                  <a:pt x="413562" y="208151"/>
                </a:lnTo>
                <a:lnTo>
                  <a:pt x="385027" y="175427"/>
                </a:lnTo>
                <a:lnTo>
                  <a:pt x="359584" y="169684"/>
                </a:lnTo>
                <a:lnTo>
                  <a:pt x="350953" y="174552"/>
                </a:lnTo>
                <a:lnTo>
                  <a:pt x="313923" y="157568"/>
                </a:lnTo>
                <a:lnTo>
                  <a:pt x="296895" y="137119"/>
                </a:lnTo>
                <a:lnTo>
                  <a:pt x="282734" y="146841"/>
                </a:lnTo>
                <a:lnTo>
                  <a:pt x="289151" y="159289"/>
                </a:lnTo>
                <a:lnTo>
                  <a:pt x="278161" y="184473"/>
                </a:lnTo>
                <a:lnTo>
                  <a:pt x="282650" y="199669"/>
                </a:lnTo>
                <a:lnTo>
                  <a:pt x="307652" y="223831"/>
                </a:lnTo>
                <a:lnTo>
                  <a:pt x="315643" y="249605"/>
                </a:lnTo>
                <a:lnTo>
                  <a:pt x="331175" y="258014"/>
                </a:lnTo>
                <a:lnTo>
                  <a:pt x="348518" y="279067"/>
                </a:lnTo>
                <a:lnTo>
                  <a:pt x="316441" y="275853"/>
                </a:lnTo>
                <a:lnTo>
                  <a:pt x="304762" y="291224"/>
                </a:lnTo>
                <a:lnTo>
                  <a:pt x="318445" y="301106"/>
                </a:lnTo>
                <a:lnTo>
                  <a:pt x="322905" y="317442"/>
                </a:lnTo>
                <a:lnTo>
                  <a:pt x="292778" y="332468"/>
                </a:lnTo>
                <a:lnTo>
                  <a:pt x="298658" y="339019"/>
                </a:lnTo>
                <a:lnTo>
                  <a:pt x="325257" y="342221"/>
                </a:lnTo>
                <a:lnTo>
                  <a:pt x="330525" y="354134"/>
                </a:lnTo>
                <a:lnTo>
                  <a:pt x="352974" y="355549"/>
                </a:lnTo>
                <a:lnTo>
                  <a:pt x="354352" y="367523"/>
                </a:lnTo>
                <a:lnTo>
                  <a:pt x="379109" y="374011"/>
                </a:lnTo>
                <a:lnTo>
                  <a:pt x="387490" y="389181"/>
                </a:lnTo>
                <a:lnTo>
                  <a:pt x="414509" y="395502"/>
                </a:lnTo>
                <a:lnTo>
                  <a:pt x="423339" y="404013"/>
                </a:lnTo>
                <a:lnTo>
                  <a:pt x="416872" y="415254"/>
                </a:lnTo>
                <a:lnTo>
                  <a:pt x="426905" y="451853"/>
                </a:lnTo>
                <a:lnTo>
                  <a:pt x="413314" y="464438"/>
                </a:lnTo>
                <a:lnTo>
                  <a:pt x="406081" y="449829"/>
                </a:lnTo>
                <a:lnTo>
                  <a:pt x="388099" y="435369"/>
                </a:lnTo>
                <a:lnTo>
                  <a:pt x="365561" y="424685"/>
                </a:lnTo>
                <a:lnTo>
                  <a:pt x="322810" y="436661"/>
                </a:lnTo>
                <a:lnTo>
                  <a:pt x="318253" y="418367"/>
                </a:lnTo>
                <a:lnTo>
                  <a:pt x="338348" y="419053"/>
                </a:lnTo>
                <a:lnTo>
                  <a:pt x="332231" y="404315"/>
                </a:lnTo>
                <a:lnTo>
                  <a:pt x="316067" y="406778"/>
                </a:lnTo>
                <a:lnTo>
                  <a:pt x="302314" y="396430"/>
                </a:lnTo>
                <a:lnTo>
                  <a:pt x="265754" y="378818"/>
                </a:lnTo>
                <a:lnTo>
                  <a:pt x="263313" y="388346"/>
                </a:lnTo>
                <a:lnTo>
                  <a:pt x="243928" y="389331"/>
                </a:lnTo>
                <a:lnTo>
                  <a:pt x="230112" y="382964"/>
                </a:lnTo>
                <a:lnTo>
                  <a:pt x="208880" y="383233"/>
                </a:lnTo>
                <a:lnTo>
                  <a:pt x="202533" y="390665"/>
                </a:lnTo>
                <a:lnTo>
                  <a:pt x="175565" y="393718"/>
                </a:lnTo>
                <a:lnTo>
                  <a:pt x="168230" y="383063"/>
                </a:lnTo>
                <a:lnTo>
                  <a:pt x="145072" y="393783"/>
                </a:lnTo>
                <a:lnTo>
                  <a:pt x="141243" y="380644"/>
                </a:lnTo>
                <a:lnTo>
                  <a:pt x="120813" y="351980"/>
                </a:lnTo>
                <a:lnTo>
                  <a:pt x="115992" y="337865"/>
                </a:lnTo>
                <a:lnTo>
                  <a:pt x="102220" y="337997"/>
                </a:lnTo>
                <a:lnTo>
                  <a:pt x="105178" y="322337"/>
                </a:lnTo>
                <a:lnTo>
                  <a:pt x="141882" y="323438"/>
                </a:lnTo>
                <a:lnTo>
                  <a:pt x="109039" y="302879"/>
                </a:lnTo>
                <a:lnTo>
                  <a:pt x="97832" y="306833"/>
                </a:lnTo>
                <a:lnTo>
                  <a:pt x="59446" y="277588"/>
                </a:lnTo>
                <a:lnTo>
                  <a:pt x="50374" y="241554"/>
                </a:lnTo>
                <a:lnTo>
                  <a:pt x="71981" y="219216"/>
                </a:lnTo>
                <a:lnTo>
                  <a:pt x="61837" y="202105"/>
                </a:lnTo>
                <a:lnTo>
                  <a:pt x="72263" y="194081"/>
                </a:lnTo>
                <a:lnTo>
                  <a:pt x="97353" y="188541"/>
                </a:lnTo>
                <a:lnTo>
                  <a:pt x="100668" y="168802"/>
                </a:lnTo>
                <a:lnTo>
                  <a:pt x="113195" y="146252"/>
                </a:lnTo>
                <a:lnTo>
                  <a:pt x="125324" y="145246"/>
                </a:lnTo>
                <a:lnTo>
                  <a:pt x="133918" y="124669"/>
                </a:lnTo>
                <a:lnTo>
                  <a:pt x="126470" y="103082"/>
                </a:lnTo>
                <a:lnTo>
                  <a:pt x="153492" y="102641"/>
                </a:lnTo>
                <a:lnTo>
                  <a:pt x="168759" y="95949"/>
                </a:lnTo>
                <a:lnTo>
                  <a:pt x="183203" y="101846"/>
                </a:lnTo>
                <a:lnTo>
                  <a:pt x="205776" y="89306"/>
                </a:lnTo>
                <a:lnTo>
                  <a:pt x="216331" y="76015"/>
                </a:lnTo>
                <a:lnTo>
                  <a:pt x="231634" y="68444"/>
                </a:lnTo>
                <a:lnTo>
                  <a:pt x="250330" y="67333"/>
                </a:lnTo>
                <a:lnTo>
                  <a:pt x="270182" y="73029"/>
                </a:lnTo>
                <a:lnTo>
                  <a:pt x="297465" y="67697"/>
                </a:lnTo>
                <a:lnTo>
                  <a:pt x="299466" y="48955"/>
                </a:lnTo>
                <a:lnTo>
                  <a:pt x="314901" y="47448"/>
                </a:lnTo>
                <a:lnTo>
                  <a:pt x="341324" y="49139"/>
                </a:lnTo>
                <a:lnTo>
                  <a:pt x="353085" y="40387"/>
                </a:lnTo>
                <a:lnTo>
                  <a:pt x="383487" y="43179"/>
                </a:lnTo>
                <a:lnTo>
                  <a:pt x="415355" y="35781"/>
                </a:lnTo>
                <a:lnTo>
                  <a:pt x="435623" y="27004"/>
                </a:lnTo>
                <a:lnTo>
                  <a:pt x="463485" y="25450"/>
                </a:lnTo>
                <a:lnTo>
                  <a:pt x="476496" y="35616"/>
                </a:lnTo>
                <a:lnTo>
                  <a:pt x="521608" y="44939"/>
                </a:lnTo>
                <a:lnTo>
                  <a:pt x="537967" y="57994"/>
                </a:lnTo>
                <a:lnTo>
                  <a:pt x="570984" y="49736"/>
                </a:lnTo>
                <a:lnTo>
                  <a:pt x="601000" y="51401"/>
                </a:lnTo>
                <a:lnTo>
                  <a:pt x="625004" y="45552"/>
                </a:lnTo>
                <a:lnTo>
                  <a:pt x="628902" y="36614"/>
                </a:lnTo>
                <a:lnTo>
                  <a:pt x="625573" y="15642"/>
                </a:lnTo>
                <a:close/>
              </a:path>
            </a:pathLst>
          </a:custGeom>
          <a:solidFill>
            <a:schemeClr val="bg2"/>
          </a:solidFill>
          <a:ln w="9525" cap="flat" cmpd="sng" algn="ctr">
            <a:solidFill>
              <a:schemeClr val="bg1"/>
            </a:solidFill>
            <a:prstDash val="solid"/>
          </a:ln>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7358380" algn="l"/>
              </a:tabLst>
            </a:pPr>
            <a:endParaRPr lang="en-US" sz="1500" dirty="0">
              <a:solidFill>
                <a:schemeClr val="accent3"/>
              </a:solidFill>
            </a:endParaRPr>
          </a:p>
        </p:txBody>
      </p:sp>
      <p:sp>
        <p:nvSpPr>
          <p:cNvPr id="81" name="ee4p_53_1_43215">
            <a:extLst>
              <a:ext uri="{FF2B5EF4-FFF2-40B4-BE49-F238E27FC236}">
                <a16:creationId xmlns:a16="http://schemas.microsoft.com/office/drawing/2014/main" id="{5EB55D98-3FAB-4C9B-82FF-5C4757BF852E}"/>
              </a:ext>
            </a:extLst>
          </p:cNvPr>
          <p:cNvSpPr>
            <a:spLocks noChangeAspect="1"/>
          </p:cNvSpPr>
          <p:nvPr>
            <p:custDataLst>
              <p:tags r:id="rId32"/>
            </p:custDataLst>
          </p:nvPr>
        </p:nvSpPr>
        <p:spPr bwMode="gray">
          <a:xfrm>
            <a:off x="5242899" y="3341051"/>
            <a:ext cx="886247" cy="1423870"/>
          </a:xfrm>
          <a:custGeom>
            <a:avLst/>
            <a:gdLst/>
            <a:ahLst/>
            <a:cxnLst/>
            <a:rect l="l" t="t" r="r" b="b"/>
            <a:pathLst>
              <a:path w="960080" h="1441913">
                <a:moveTo>
                  <a:pt x="363356" y="997573"/>
                </a:moveTo>
                <a:lnTo>
                  <a:pt x="374365" y="998989"/>
                </a:lnTo>
                <a:lnTo>
                  <a:pt x="394261" y="1018517"/>
                </a:lnTo>
                <a:lnTo>
                  <a:pt x="383999" y="1025292"/>
                </a:lnTo>
                <a:lnTo>
                  <a:pt x="383362" y="1025496"/>
                </a:lnTo>
                <a:lnTo>
                  <a:pt x="383122" y="1025870"/>
                </a:lnTo>
                <a:lnTo>
                  <a:pt x="368022" y="1035838"/>
                </a:lnTo>
                <a:lnTo>
                  <a:pt x="345893" y="1014807"/>
                </a:lnTo>
                <a:lnTo>
                  <a:pt x="346993" y="1000551"/>
                </a:lnTo>
                <a:close/>
                <a:moveTo>
                  <a:pt x="160424" y="754316"/>
                </a:moveTo>
                <a:lnTo>
                  <a:pt x="195658" y="756999"/>
                </a:lnTo>
                <a:lnTo>
                  <a:pt x="205025" y="780387"/>
                </a:lnTo>
                <a:lnTo>
                  <a:pt x="254705" y="835807"/>
                </a:lnTo>
                <a:lnTo>
                  <a:pt x="238513" y="848345"/>
                </a:lnTo>
                <a:lnTo>
                  <a:pt x="253868" y="879601"/>
                </a:lnTo>
                <a:lnTo>
                  <a:pt x="220357" y="892753"/>
                </a:lnTo>
                <a:lnTo>
                  <a:pt x="219172" y="907265"/>
                </a:lnTo>
                <a:lnTo>
                  <a:pt x="199900" y="912829"/>
                </a:lnTo>
                <a:lnTo>
                  <a:pt x="183245" y="907609"/>
                </a:lnTo>
                <a:lnTo>
                  <a:pt x="148821" y="916349"/>
                </a:lnTo>
                <a:lnTo>
                  <a:pt x="148215" y="900830"/>
                </a:lnTo>
                <a:lnTo>
                  <a:pt x="130281" y="891520"/>
                </a:lnTo>
                <a:lnTo>
                  <a:pt x="124389" y="875071"/>
                </a:lnTo>
                <a:lnTo>
                  <a:pt x="107209" y="866357"/>
                </a:lnTo>
                <a:lnTo>
                  <a:pt x="79551" y="901771"/>
                </a:lnTo>
                <a:lnTo>
                  <a:pt x="57655" y="904395"/>
                </a:lnTo>
                <a:lnTo>
                  <a:pt x="29248" y="892297"/>
                </a:lnTo>
                <a:lnTo>
                  <a:pt x="0" y="862359"/>
                </a:lnTo>
                <a:lnTo>
                  <a:pt x="15076" y="848472"/>
                </a:lnTo>
                <a:lnTo>
                  <a:pt x="39607" y="841486"/>
                </a:lnTo>
                <a:lnTo>
                  <a:pt x="40229" y="827265"/>
                </a:lnTo>
                <a:lnTo>
                  <a:pt x="69631" y="803848"/>
                </a:lnTo>
                <a:lnTo>
                  <a:pt x="73160" y="787107"/>
                </a:lnTo>
                <a:lnTo>
                  <a:pt x="87640" y="778562"/>
                </a:lnTo>
                <a:lnTo>
                  <a:pt x="105442" y="781367"/>
                </a:lnTo>
                <a:lnTo>
                  <a:pt x="120486" y="763913"/>
                </a:lnTo>
                <a:lnTo>
                  <a:pt x="138550" y="764505"/>
                </a:lnTo>
                <a:close/>
                <a:moveTo>
                  <a:pt x="290560" y="696246"/>
                </a:moveTo>
                <a:lnTo>
                  <a:pt x="297847" y="726243"/>
                </a:lnTo>
                <a:lnTo>
                  <a:pt x="282020" y="728399"/>
                </a:lnTo>
                <a:lnTo>
                  <a:pt x="267693" y="705008"/>
                </a:lnTo>
                <a:close/>
                <a:moveTo>
                  <a:pt x="197547" y="661065"/>
                </a:moveTo>
                <a:lnTo>
                  <a:pt x="206450" y="696100"/>
                </a:lnTo>
                <a:lnTo>
                  <a:pt x="183356" y="709275"/>
                </a:lnTo>
                <a:lnTo>
                  <a:pt x="165072" y="672219"/>
                </a:lnTo>
                <a:close/>
                <a:moveTo>
                  <a:pt x="214009" y="647015"/>
                </a:moveTo>
                <a:lnTo>
                  <a:pt x="229185" y="650415"/>
                </a:lnTo>
                <a:lnTo>
                  <a:pt x="215313" y="670322"/>
                </a:lnTo>
                <a:lnTo>
                  <a:pt x="200145" y="667040"/>
                </a:lnTo>
                <a:close/>
                <a:moveTo>
                  <a:pt x="198274" y="563930"/>
                </a:moveTo>
                <a:lnTo>
                  <a:pt x="212665" y="579589"/>
                </a:lnTo>
                <a:lnTo>
                  <a:pt x="243351" y="590570"/>
                </a:lnTo>
                <a:lnTo>
                  <a:pt x="225175" y="609710"/>
                </a:lnTo>
                <a:lnTo>
                  <a:pt x="185439" y="612726"/>
                </a:lnTo>
                <a:lnTo>
                  <a:pt x="197385" y="587542"/>
                </a:lnTo>
                <a:lnTo>
                  <a:pt x="177993" y="570567"/>
                </a:lnTo>
                <a:close/>
                <a:moveTo>
                  <a:pt x="65629" y="422664"/>
                </a:moveTo>
                <a:lnTo>
                  <a:pt x="94972" y="424825"/>
                </a:lnTo>
                <a:lnTo>
                  <a:pt x="88635" y="444428"/>
                </a:lnTo>
                <a:lnTo>
                  <a:pt x="59282" y="431086"/>
                </a:lnTo>
                <a:close/>
                <a:moveTo>
                  <a:pt x="180468" y="416474"/>
                </a:moveTo>
                <a:lnTo>
                  <a:pt x="194602" y="433348"/>
                </a:lnTo>
                <a:lnTo>
                  <a:pt x="195141" y="463363"/>
                </a:lnTo>
                <a:lnTo>
                  <a:pt x="218377" y="479760"/>
                </a:lnTo>
                <a:lnTo>
                  <a:pt x="217390" y="491870"/>
                </a:lnTo>
                <a:lnTo>
                  <a:pt x="174026" y="488172"/>
                </a:lnTo>
                <a:lnTo>
                  <a:pt x="162395" y="471724"/>
                </a:lnTo>
                <a:lnTo>
                  <a:pt x="139568" y="463261"/>
                </a:lnTo>
                <a:lnTo>
                  <a:pt x="133139" y="451875"/>
                </a:lnTo>
                <a:lnTo>
                  <a:pt x="146112" y="437871"/>
                </a:lnTo>
                <a:close/>
                <a:moveTo>
                  <a:pt x="179990" y="307835"/>
                </a:moveTo>
                <a:lnTo>
                  <a:pt x="193018" y="326750"/>
                </a:lnTo>
                <a:lnTo>
                  <a:pt x="172071" y="350092"/>
                </a:lnTo>
                <a:lnTo>
                  <a:pt x="173779" y="372970"/>
                </a:lnTo>
                <a:lnTo>
                  <a:pt x="163784" y="384026"/>
                </a:lnTo>
                <a:lnTo>
                  <a:pt x="113687" y="411593"/>
                </a:lnTo>
                <a:lnTo>
                  <a:pt x="105111" y="400434"/>
                </a:lnTo>
                <a:lnTo>
                  <a:pt x="99318" y="357683"/>
                </a:lnTo>
                <a:lnTo>
                  <a:pt x="107647" y="342840"/>
                </a:lnTo>
                <a:lnTo>
                  <a:pt x="128995" y="335585"/>
                </a:lnTo>
                <a:close/>
                <a:moveTo>
                  <a:pt x="466190" y="284363"/>
                </a:moveTo>
                <a:lnTo>
                  <a:pt x="497095" y="284702"/>
                </a:lnTo>
                <a:lnTo>
                  <a:pt x="494646" y="311912"/>
                </a:lnTo>
                <a:lnTo>
                  <a:pt x="479158" y="331927"/>
                </a:lnTo>
                <a:lnTo>
                  <a:pt x="413224" y="377180"/>
                </a:lnTo>
                <a:lnTo>
                  <a:pt x="399145" y="394075"/>
                </a:lnTo>
                <a:lnTo>
                  <a:pt x="410799" y="410164"/>
                </a:lnTo>
                <a:lnTo>
                  <a:pt x="397082" y="432736"/>
                </a:lnTo>
                <a:lnTo>
                  <a:pt x="418911" y="431856"/>
                </a:lnTo>
                <a:lnTo>
                  <a:pt x="465814" y="414115"/>
                </a:lnTo>
                <a:lnTo>
                  <a:pt x="496828" y="422593"/>
                </a:lnTo>
                <a:lnTo>
                  <a:pt x="513209" y="416607"/>
                </a:lnTo>
                <a:lnTo>
                  <a:pt x="543850" y="421835"/>
                </a:lnTo>
                <a:lnTo>
                  <a:pt x="584955" y="417446"/>
                </a:lnTo>
                <a:lnTo>
                  <a:pt x="613311" y="429779"/>
                </a:lnTo>
                <a:lnTo>
                  <a:pt x="615980" y="451779"/>
                </a:lnTo>
                <a:lnTo>
                  <a:pt x="596701" y="471543"/>
                </a:lnTo>
                <a:lnTo>
                  <a:pt x="591349" y="497061"/>
                </a:lnTo>
                <a:lnTo>
                  <a:pt x="575456" y="531118"/>
                </a:lnTo>
                <a:lnTo>
                  <a:pt x="557173" y="546191"/>
                </a:lnTo>
                <a:lnTo>
                  <a:pt x="544102" y="574654"/>
                </a:lnTo>
                <a:lnTo>
                  <a:pt x="517929" y="591403"/>
                </a:lnTo>
                <a:lnTo>
                  <a:pt x="520888" y="606593"/>
                </a:lnTo>
                <a:lnTo>
                  <a:pt x="503787" y="623404"/>
                </a:lnTo>
                <a:lnTo>
                  <a:pt x="471975" y="644461"/>
                </a:lnTo>
                <a:lnTo>
                  <a:pt x="491947" y="659389"/>
                </a:lnTo>
                <a:lnTo>
                  <a:pt x="517294" y="643637"/>
                </a:lnTo>
                <a:lnTo>
                  <a:pt x="588441" y="669032"/>
                </a:lnTo>
                <a:lnTo>
                  <a:pt x="600023" y="688444"/>
                </a:lnTo>
                <a:lnTo>
                  <a:pt x="626001" y="705680"/>
                </a:lnTo>
                <a:lnTo>
                  <a:pt x="645134" y="773790"/>
                </a:lnTo>
                <a:lnTo>
                  <a:pt x="658812" y="793280"/>
                </a:lnTo>
                <a:lnTo>
                  <a:pt x="663032" y="816859"/>
                </a:lnTo>
                <a:lnTo>
                  <a:pt x="675198" y="833250"/>
                </a:lnTo>
                <a:lnTo>
                  <a:pt x="732700" y="856174"/>
                </a:lnTo>
                <a:lnTo>
                  <a:pt x="754515" y="888592"/>
                </a:lnTo>
                <a:lnTo>
                  <a:pt x="767221" y="899694"/>
                </a:lnTo>
                <a:lnTo>
                  <a:pt x="774852" y="934319"/>
                </a:lnTo>
                <a:lnTo>
                  <a:pt x="801181" y="966099"/>
                </a:lnTo>
                <a:lnTo>
                  <a:pt x="784546" y="970325"/>
                </a:lnTo>
                <a:lnTo>
                  <a:pt x="806552" y="991330"/>
                </a:lnTo>
                <a:lnTo>
                  <a:pt x="822377" y="1021537"/>
                </a:lnTo>
                <a:lnTo>
                  <a:pt x="822919" y="1039526"/>
                </a:lnTo>
                <a:lnTo>
                  <a:pt x="795363" y="1065998"/>
                </a:lnTo>
                <a:lnTo>
                  <a:pt x="811172" y="1076834"/>
                </a:lnTo>
                <a:lnTo>
                  <a:pt x="832785" y="1073364"/>
                </a:lnTo>
                <a:lnTo>
                  <a:pt x="841758" y="1056418"/>
                </a:lnTo>
                <a:lnTo>
                  <a:pt x="873753" y="1055764"/>
                </a:lnTo>
                <a:lnTo>
                  <a:pt x="910816" y="1060704"/>
                </a:lnTo>
                <a:lnTo>
                  <a:pt x="928423" y="1068596"/>
                </a:lnTo>
                <a:lnTo>
                  <a:pt x="954182" y="1089809"/>
                </a:lnTo>
                <a:lnTo>
                  <a:pt x="960080" y="1119694"/>
                </a:lnTo>
                <a:lnTo>
                  <a:pt x="941213" y="1170339"/>
                </a:lnTo>
                <a:lnTo>
                  <a:pt x="911571" y="1194107"/>
                </a:lnTo>
                <a:lnTo>
                  <a:pt x="909617" y="1206397"/>
                </a:lnTo>
                <a:lnTo>
                  <a:pt x="881729" y="1219157"/>
                </a:lnTo>
                <a:lnTo>
                  <a:pt x="879461" y="1236026"/>
                </a:lnTo>
                <a:lnTo>
                  <a:pt x="846428" y="1249787"/>
                </a:lnTo>
                <a:lnTo>
                  <a:pt x="876516" y="1268155"/>
                </a:lnTo>
                <a:lnTo>
                  <a:pt x="921904" y="1270283"/>
                </a:lnTo>
                <a:lnTo>
                  <a:pt x="923237" y="1293703"/>
                </a:lnTo>
                <a:lnTo>
                  <a:pt x="885951" y="1309003"/>
                </a:lnTo>
                <a:lnTo>
                  <a:pt x="882133" y="1323252"/>
                </a:lnTo>
                <a:lnTo>
                  <a:pt x="823609" y="1336173"/>
                </a:lnTo>
                <a:lnTo>
                  <a:pt x="814706" y="1345384"/>
                </a:lnTo>
                <a:lnTo>
                  <a:pt x="768841" y="1333908"/>
                </a:lnTo>
                <a:lnTo>
                  <a:pt x="720416" y="1340678"/>
                </a:lnTo>
                <a:lnTo>
                  <a:pt x="713541" y="1347308"/>
                </a:lnTo>
                <a:lnTo>
                  <a:pt x="688719" y="1333363"/>
                </a:lnTo>
                <a:lnTo>
                  <a:pt x="637134" y="1348123"/>
                </a:lnTo>
                <a:lnTo>
                  <a:pt x="608202" y="1348211"/>
                </a:lnTo>
                <a:lnTo>
                  <a:pt x="600117" y="1364033"/>
                </a:lnTo>
                <a:lnTo>
                  <a:pt x="555256" y="1358329"/>
                </a:lnTo>
                <a:lnTo>
                  <a:pt x="550730" y="1364887"/>
                </a:lnTo>
                <a:lnTo>
                  <a:pt x="521957" y="1348743"/>
                </a:lnTo>
                <a:lnTo>
                  <a:pt x="507602" y="1346052"/>
                </a:lnTo>
                <a:lnTo>
                  <a:pt x="459220" y="1359134"/>
                </a:lnTo>
                <a:lnTo>
                  <a:pt x="440300" y="1398644"/>
                </a:lnTo>
                <a:lnTo>
                  <a:pt x="429434" y="1413468"/>
                </a:lnTo>
                <a:lnTo>
                  <a:pt x="411404" y="1401705"/>
                </a:lnTo>
                <a:lnTo>
                  <a:pt x="365265" y="1392766"/>
                </a:lnTo>
                <a:lnTo>
                  <a:pt x="329897" y="1396962"/>
                </a:lnTo>
                <a:lnTo>
                  <a:pt x="301438" y="1417632"/>
                </a:lnTo>
                <a:lnTo>
                  <a:pt x="300368" y="1432288"/>
                </a:lnTo>
                <a:lnTo>
                  <a:pt x="281975" y="1441913"/>
                </a:lnTo>
                <a:lnTo>
                  <a:pt x="274144" y="1427876"/>
                </a:lnTo>
                <a:lnTo>
                  <a:pt x="254777" y="1423184"/>
                </a:lnTo>
                <a:lnTo>
                  <a:pt x="300494" y="1385075"/>
                </a:lnTo>
                <a:lnTo>
                  <a:pt x="303955" y="1369777"/>
                </a:lnTo>
                <a:lnTo>
                  <a:pt x="320396" y="1363033"/>
                </a:lnTo>
                <a:lnTo>
                  <a:pt x="346950" y="1340993"/>
                </a:lnTo>
                <a:lnTo>
                  <a:pt x="351792" y="1309092"/>
                </a:lnTo>
                <a:lnTo>
                  <a:pt x="373382" y="1312186"/>
                </a:lnTo>
                <a:lnTo>
                  <a:pt x="381964" y="1288551"/>
                </a:lnTo>
                <a:lnTo>
                  <a:pt x="424979" y="1281467"/>
                </a:lnTo>
                <a:lnTo>
                  <a:pt x="459610" y="1288354"/>
                </a:lnTo>
                <a:lnTo>
                  <a:pt x="492101" y="1286121"/>
                </a:lnTo>
                <a:lnTo>
                  <a:pt x="503093" y="1262916"/>
                </a:lnTo>
                <a:lnTo>
                  <a:pt x="531004" y="1242090"/>
                </a:lnTo>
                <a:lnTo>
                  <a:pt x="487723" y="1249005"/>
                </a:lnTo>
                <a:lnTo>
                  <a:pt x="480864" y="1260682"/>
                </a:lnTo>
                <a:lnTo>
                  <a:pt x="445375" y="1260467"/>
                </a:lnTo>
                <a:lnTo>
                  <a:pt x="417135" y="1233039"/>
                </a:lnTo>
                <a:lnTo>
                  <a:pt x="379855" y="1242402"/>
                </a:lnTo>
                <a:lnTo>
                  <a:pt x="366568" y="1220030"/>
                </a:lnTo>
                <a:lnTo>
                  <a:pt x="338729" y="1217952"/>
                </a:lnTo>
                <a:lnTo>
                  <a:pt x="333425" y="1227616"/>
                </a:lnTo>
                <a:lnTo>
                  <a:pt x="305294" y="1233813"/>
                </a:lnTo>
                <a:lnTo>
                  <a:pt x="292396" y="1200892"/>
                </a:lnTo>
                <a:lnTo>
                  <a:pt x="278091" y="1194343"/>
                </a:lnTo>
                <a:lnTo>
                  <a:pt x="321909" y="1180064"/>
                </a:lnTo>
                <a:lnTo>
                  <a:pt x="332089" y="1168036"/>
                </a:lnTo>
                <a:lnTo>
                  <a:pt x="353779" y="1165166"/>
                </a:lnTo>
                <a:lnTo>
                  <a:pt x="382621" y="1149094"/>
                </a:lnTo>
                <a:lnTo>
                  <a:pt x="397675" y="1120798"/>
                </a:lnTo>
                <a:lnTo>
                  <a:pt x="390248" y="1103693"/>
                </a:lnTo>
                <a:lnTo>
                  <a:pt x="397743" y="1091818"/>
                </a:lnTo>
                <a:lnTo>
                  <a:pt x="388006" y="1065338"/>
                </a:lnTo>
                <a:lnTo>
                  <a:pt x="332409" y="1072313"/>
                </a:lnTo>
                <a:lnTo>
                  <a:pt x="368494" y="1048687"/>
                </a:lnTo>
                <a:lnTo>
                  <a:pt x="383122" y="1025870"/>
                </a:lnTo>
                <a:lnTo>
                  <a:pt x="383999" y="1025292"/>
                </a:lnTo>
                <a:lnTo>
                  <a:pt x="418358" y="1014254"/>
                </a:lnTo>
                <a:lnTo>
                  <a:pt x="440472" y="1014945"/>
                </a:lnTo>
                <a:lnTo>
                  <a:pt x="495560" y="994878"/>
                </a:lnTo>
                <a:lnTo>
                  <a:pt x="489546" y="978720"/>
                </a:lnTo>
                <a:lnTo>
                  <a:pt x="506316" y="956773"/>
                </a:lnTo>
                <a:lnTo>
                  <a:pt x="493773" y="949823"/>
                </a:lnTo>
                <a:lnTo>
                  <a:pt x="494607" y="931914"/>
                </a:lnTo>
                <a:lnTo>
                  <a:pt x="513635" y="925746"/>
                </a:lnTo>
                <a:lnTo>
                  <a:pt x="516810" y="904858"/>
                </a:lnTo>
                <a:lnTo>
                  <a:pt x="508580" y="895367"/>
                </a:lnTo>
                <a:lnTo>
                  <a:pt x="483516" y="910142"/>
                </a:lnTo>
                <a:lnTo>
                  <a:pt x="467527" y="895100"/>
                </a:lnTo>
                <a:lnTo>
                  <a:pt x="458496" y="876206"/>
                </a:lnTo>
                <a:lnTo>
                  <a:pt x="437555" y="852667"/>
                </a:lnTo>
                <a:lnTo>
                  <a:pt x="456363" y="820855"/>
                </a:lnTo>
                <a:lnTo>
                  <a:pt x="467569" y="790417"/>
                </a:lnTo>
                <a:lnTo>
                  <a:pt x="443716" y="790174"/>
                </a:lnTo>
                <a:lnTo>
                  <a:pt x="406159" y="818251"/>
                </a:lnTo>
                <a:lnTo>
                  <a:pt x="387313" y="817117"/>
                </a:lnTo>
                <a:lnTo>
                  <a:pt x="367735" y="805905"/>
                </a:lnTo>
                <a:lnTo>
                  <a:pt x="363469" y="830869"/>
                </a:lnTo>
                <a:lnTo>
                  <a:pt x="323743" y="805766"/>
                </a:lnTo>
                <a:lnTo>
                  <a:pt x="305824" y="818080"/>
                </a:lnTo>
                <a:lnTo>
                  <a:pt x="291554" y="806297"/>
                </a:lnTo>
                <a:lnTo>
                  <a:pt x="306920" y="768102"/>
                </a:lnTo>
                <a:lnTo>
                  <a:pt x="318971" y="757711"/>
                </a:lnTo>
                <a:lnTo>
                  <a:pt x="328305" y="733520"/>
                </a:lnTo>
                <a:lnTo>
                  <a:pt x="342656" y="720127"/>
                </a:lnTo>
                <a:lnTo>
                  <a:pt x="335246" y="705729"/>
                </a:lnTo>
                <a:lnTo>
                  <a:pt x="315106" y="693081"/>
                </a:lnTo>
                <a:lnTo>
                  <a:pt x="316759" y="676692"/>
                </a:lnTo>
                <a:lnTo>
                  <a:pt x="287544" y="659321"/>
                </a:lnTo>
                <a:lnTo>
                  <a:pt x="262498" y="691915"/>
                </a:lnTo>
                <a:lnTo>
                  <a:pt x="247535" y="746117"/>
                </a:lnTo>
                <a:lnTo>
                  <a:pt x="235979" y="729854"/>
                </a:lnTo>
                <a:lnTo>
                  <a:pt x="241470" y="679306"/>
                </a:lnTo>
                <a:lnTo>
                  <a:pt x="237625" y="656647"/>
                </a:lnTo>
                <a:lnTo>
                  <a:pt x="253198" y="632442"/>
                </a:lnTo>
                <a:lnTo>
                  <a:pt x="242626" y="611477"/>
                </a:lnTo>
                <a:lnTo>
                  <a:pt x="267174" y="587645"/>
                </a:lnTo>
                <a:lnTo>
                  <a:pt x="218323" y="576682"/>
                </a:lnTo>
                <a:lnTo>
                  <a:pt x="195179" y="558580"/>
                </a:lnTo>
                <a:lnTo>
                  <a:pt x="195012" y="547631"/>
                </a:lnTo>
                <a:lnTo>
                  <a:pt x="220056" y="543418"/>
                </a:lnTo>
                <a:lnTo>
                  <a:pt x="228729" y="505784"/>
                </a:lnTo>
                <a:lnTo>
                  <a:pt x="248617" y="477311"/>
                </a:lnTo>
                <a:lnTo>
                  <a:pt x="226400" y="464404"/>
                </a:lnTo>
                <a:lnTo>
                  <a:pt x="221477" y="448825"/>
                </a:lnTo>
                <a:lnTo>
                  <a:pt x="227160" y="395334"/>
                </a:lnTo>
                <a:lnTo>
                  <a:pt x="262192" y="396107"/>
                </a:lnTo>
                <a:lnTo>
                  <a:pt x="275709" y="378322"/>
                </a:lnTo>
                <a:lnTo>
                  <a:pt x="277925" y="355826"/>
                </a:lnTo>
                <a:lnTo>
                  <a:pt x="293107" y="338924"/>
                </a:lnTo>
                <a:lnTo>
                  <a:pt x="288244" y="326119"/>
                </a:lnTo>
                <a:lnTo>
                  <a:pt x="306342" y="287222"/>
                </a:lnTo>
                <a:lnTo>
                  <a:pt x="377429" y="300777"/>
                </a:lnTo>
                <a:lnTo>
                  <a:pt x="426899" y="293922"/>
                </a:lnTo>
                <a:close/>
                <a:moveTo>
                  <a:pt x="476424" y="212390"/>
                </a:moveTo>
                <a:lnTo>
                  <a:pt x="499226" y="226414"/>
                </a:lnTo>
                <a:lnTo>
                  <a:pt x="507319" y="239141"/>
                </a:lnTo>
                <a:lnTo>
                  <a:pt x="479869" y="246654"/>
                </a:lnTo>
                <a:lnTo>
                  <a:pt x="463837" y="234343"/>
                </a:lnTo>
                <a:close/>
                <a:moveTo>
                  <a:pt x="663551" y="0"/>
                </a:moveTo>
                <a:lnTo>
                  <a:pt x="685436" y="38824"/>
                </a:lnTo>
                <a:lnTo>
                  <a:pt x="667159" y="71052"/>
                </a:lnTo>
                <a:lnTo>
                  <a:pt x="643844" y="67083"/>
                </a:lnTo>
                <a:lnTo>
                  <a:pt x="626564" y="47027"/>
                </a:lnTo>
                <a:lnTo>
                  <a:pt x="660092" y="38504"/>
                </a:lnTo>
                <a:lnTo>
                  <a:pt x="638791" y="11529"/>
                </a:lnTo>
                <a:close/>
              </a:path>
            </a:pathLst>
          </a:custGeom>
          <a:solidFill>
            <a:srgbClr val="EEECE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ee4p_55_1_43215">
            <a:extLst>
              <a:ext uri="{FF2B5EF4-FFF2-40B4-BE49-F238E27FC236}">
                <a16:creationId xmlns:a16="http://schemas.microsoft.com/office/drawing/2014/main" id="{9CB83383-7BCD-4C8D-A3DC-0C0544D27D0E}"/>
              </a:ext>
            </a:extLst>
          </p:cNvPr>
          <p:cNvSpPr>
            <a:spLocks noChangeAspect="1"/>
          </p:cNvSpPr>
          <p:nvPr>
            <p:custDataLst>
              <p:tags r:id="rId33"/>
            </p:custDataLst>
          </p:nvPr>
        </p:nvSpPr>
        <p:spPr bwMode="gray">
          <a:xfrm>
            <a:off x="7880035" y="3489495"/>
            <a:ext cx="534981" cy="288904"/>
          </a:xfrm>
          <a:custGeom>
            <a:avLst/>
            <a:gdLst/>
            <a:ahLst/>
            <a:cxnLst/>
            <a:rect l="l" t="t" r="r" b="b"/>
            <a:pathLst>
              <a:path w="598965" h="292565">
                <a:moveTo>
                  <a:pt x="113441" y="128706"/>
                </a:moveTo>
                <a:lnTo>
                  <a:pt x="134147" y="147587"/>
                </a:lnTo>
                <a:lnTo>
                  <a:pt x="101111" y="166001"/>
                </a:lnTo>
                <a:lnTo>
                  <a:pt x="86988" y="182664"/>
                </a:lnTo>
                <a:lnTo>
                  <a:pt x="23632" y="199251"/>
                </a:lnTo>
                <a:lnTo>
                  <a:pt x="231" y="191597"/>
                </a:lnTo>
                <a:lnTo>
                  <a:pt x="0" y="154806"/>
                </a:lnTo>
                <a:lnTo>
                  <a:pt x="28667" y="145560"/>
                </a:lnTo>
                <a:lnTo>
                  <a:pt x="89494" y="138186"/>
                </a:lnTo>
                <a:close/>
                <a:moveTo>
                  <a:pt x="55426" y="71301"/>
                </a:moveTo>
                <a:lnTo>
                  <a:pt x="88254" y="87974"/>
                </a:lnTo>
                <a:lnTo>
                  <a:pt x="91424" y="105326"/>
                </a:lnTo>
                <a:lnTo>
                  <a:pt x="46345" y="122884"/>
                </a:lnTo>
                <a:lnTo>
                  <a:pt x="40745" y="89927"/>
                </a:lnTo>
                <a:close/>
                <a:moveTo>
                  <a:pt x="410734" y="0"/>
                </a:moveTo>
                <a:lnTo>
                  <a:pt x="433461" y="9655"/>
                </a:lnTo>
                <a:lnTo>
                  <a:pt x="451957" y="7219"/>
                </a:lnTo>
                <a:lnTo>
                  <a:pt x="472265" y="20072"/>
                </a:lnTo>
                <a:lnTo>
                  <a:pt x="518379" y="20058"/>
                </a:lnTo>
                <a:lnTo>
                  <a:pt x="560549" y="27419"/>
                </a:lnTo>
                <a:lnTo>
                  <a:pt x="587393" y="18708"/>
                </a:lnTo>
                <a:lnTo>
                  <a:pt x="598965" y="30813"/>
                </a:lnTo>
                <a:lnTo>
                  <a:pt x="574576" y="45037"/>
                </a:lnTo>
                <a:lnTo>
                  <a:pt x="552536" y="87729"/>
                </a:lnTo>
                <a:lnTo>
                  <a:pt x="516452" y="114117"/>
                </a:lnTo>
                <a:lnTo>
                  <a:pt x="535433" y="173717"/>
                </a:lnTo>
                <a:lnTo>
                  <a:pt x="529389" y="193566"/>
                </a:lnTo>
                <a:lnTo>
                  <a:pt x="553597" y="249348"/>
                </a:lnTo>
                <a:lnTo>
                  <a:pt x="535598" y="248951"/>
                </a:lnTo>
                <a:lnTo>
                  <a:pt x="518434" y="271204"/>
                </a:lnTo>
                <a:lnTo>
                  <a:pt x="515923" y="292565"/>
                </a:lnTo>
                <a:lnTo>
                  <a:pt x="476639" y="280779"/>
                </a:lnTo>
                <a:lnTo>
                  <a:pt x="444614" y="291026"/>
                </a:lnTo>
                <a:lnTo>
                  <a:pt x="411604" y="281440"/>
                </a:lnTo>
                <a:lnTo>
                  <a:pt x="405051" y="265112"/>
                </a:lnTo>
                <a:lnTo>
                  <a:pt x="374318" y="246642"/>
                </a:lnTo>
                <a:lnTo>
                  <a:pt x="298624" y="214280"/>
                </a:lnTo>
                <a:lnTo>
                  <a:pt x="272328" y="229025"/>
                </a:lnTo>
                <a:lnTo>
                  <a:pt x="248236" y="230530"/>
                </a:lnTo>
                <a:lnTo>
                  <a:pt x="225761" y="242511"/>
                </a:lnTo>
                <a:lnTo>
                  <a:pt x="237899" y="215886"/>
                </a:lnTo>
                <a:lnTo>
                  <a:pt x="235762" y="196733"/>
                </a:lnTo>
                <a:lnTo>
                  <a:pt x="248314" y="182839"/>
                </a:lnTo>
                <a:lnTo>
                  <a:pt x="235287" y="171040"/>
                </a:lnTo>
                <a:lnTo>
                  <a:pt x="202457" y="191407"/>
                </a:lnTo>
                <a:lnTo>
                  <a:pt x="192597" y="180222"/>
                </a:lnTo>
                <a:lnTo>
                  <a:pt x="166824" y="174253"/>
                </a:lnTo>
                <a:lnTo>
                  <a:pt x="146398" y="140772"/>
                </a:lnTo>
                <a:lnTo>
                  <a:pt x="135841" y="97125"/>
                </a:lnTo>
                <a:lnTo>
                  <a:pt x="142394" y="53914"/>
                </a:lnTo>
                <a:lnTo>
                  <a:pt x="211462" y="35203"/>
                </a:lnTo>
                <a:lnTo>
                  <a:pt x="227937" y="15972"/>
                </a:lnTo>
                <a:lnTo>
                  <a:pt x="254906" y="22455"/>
                </a:lnTo>
                <a:lnTo>
                  <a:pt x="280174" y="12367"/>
                </a:lnTo>
                <a:lnTo>
                  <a:pt x="331013" y="13427"/>
                </a:lnTo>
                <a:lnTo>
                  <a:pt x="353032" y="3228"/>
                </a:lnTo>
                <a:close/>
              </a:path>
            </a:pathLst>
          </a:custGeom>
          <a:solidFill>
            <a:schemeClr val="bg2"/>
          </a:solidFill>
          <a:ln w="9525" cap="flat" cmpd="sng" algn="ctr">
            <a:solidFill>
              <a:schemeClr val="bg1"/>
            </a:solidFill>
            <a:prstDash val="solid"/>
          </a:ln>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83" name="ee4p_56_1_43215">
            <a:extLst>
              <a:ext uri="{FF2B5EF4-FFF2-40B4-BE49-F238E27FC236}">
                <a16:creationId xmlns:a16="http://schemas.microsoft.com/office/drawing/2014/main" id="{3599F932-AF33-4004-956D-A03C3C9B28E1}"/>
              </a:ext>
            </a:extLst>
          </p:cNvPr>
          <p:cNvSpPr>
            <a:spLocks noChangeAspect="1"/>
          </p:cNvSpPr>
          <p:nvPr>
            <p:custDataLst>
              <p:tags r:id="rId34"/>
            </p:custDataLst>
          </p:nvPr>
        </p:nvSpPr>
        <p:spPr bwMode="gray">
          <a:xfrm>
            <a:off x="7136856" y="5145198"/>
            <a:ext cx="274516" cy="173465"/>
          </a:xfrm>
          <a:custGeom>
            <a:avLst/>
            <a:gdLst/>
            <a:ahLst/>
            <a:cxnLst/>
            <a:rect l="0" t="0" r="0" b="0"/>
            <a:pathLst>
              <a:path w="307349" h="175664">
                <a:moveTo>
                  <a:pt x="307348" y="48308"/>
                </a:moveTo>
                <a:lnTo>
                  <a:pt x="285004" y="39713"/>
                </a:lnTo>
                <a:lnTo>
                  <a:pt x="272981" y="45581"/>
                </a:lnTo>
                <a:lnTo>
                  <a:pt x="249956" y="68752"/>
                </a:lnTo>
                <a:lnTo>
                  <a:pt x="218139" y="78481"/>
                </a:lnTo>
                <a:lnTo>
                  <a:pt x="211336" y="92388"/>
                </a:lnTo>
                <a:lnTo>
                  <a:pt x="223716" y="100578"/>
                </a:lnTo>
                <a:lnTo>
                  <a:pt x="214045" y="126407"/>
                </a:lnTo>
                <a:lnTo>
                  <a:pt x="181864" y="135613"/>
                </a:lnTo>
                <a:lnTo>
                  <a:pt x="179334" y="170309"/>
                </a:lnTo>
                <a:lnTo>
                  <a:pt x="170041" y="175663"/>
                </a:lnTo>
                <a:lnTo>
                  <a:pt x="151574" y="166623"/>
                </a:lnTo>
                <a:lnTo>
                  <a:pt x="135749" y="170945"/>
                </a:lnTo>
                <a:lnTo>
                  <a:pt x="110854" y="147919"/>
                </a:lnTo>
                <a:lnTo>
                  <a:pt x="103459" y="161742"/>
                </a:lnTo>
                <a:lnTo>
                  <a:pt x="38230" y="174115"/>
                </a:lnTo>
                <a:lnTo>
                  <a:pt x="15737" y="168939"/>
                </a:lnTo>
                <a:lnTo>
                  <a:pt x="29259" y="154830"/>
                </a:lnTo>
                <a:lnTo>
                  <a:pt x="48208" y="150161"/>
                </a:lnTo>
                <a:lnTo>
                  <a:pt x="36309" y="136949"/>
                </a:lnTo>
                <a:lnTo>
                  <a:pt x="15034" y="124344"/>
                </a:lnTo>
                <a:lnTo>
                  <a:pt x="20972" y="113446"/>
                </a:lnTo>
                <a:lnTo>
                  <a:pt x="5887" y="105696"/>
                </a:lnTo>
                <a:lnTo>
                  <a:pt x="23601" y="84484"/>
                </a:lnTo>
                <a:lnTo>
                  <a:pt x="0" y="78060"/>
                </a:lnTo>
                <a:lnTo>
                  <a:pt x="1602" y="63065"/>
                </a:lnTo>
                <a:lnTo>
                  <a:pt x="26443" y="52201"/>
                </a:lnTo>
                <a:lnTo>
                  <a:pt x="28423" y="42622"/>
                </a:lnTo>
                <a:lnTo>
                  <a:pt x="48644" y="43116"/>
                </a:lnTo>
                <a:lnTo>
                  <a:pt x="70922" y="53058"/>
                </a:lnTo>
                <a:lnTo>
                  <a:pt x="119908" y="52121"/>
                </a:lnTo>
                <a:lnTo>
                  <a:pt x="142178" y="31688"/>
                </a:lnTo>
                <a:lnTo>
                  <a:pt x="163530" y="25966"/>
                </a:lnTo>
                <a:lnTo>
                  <a:pt x="193516" y="26548"/>
                </a:lnTo>
                <a:lnTo>
                  <a:pt x="237714" y="18664"/>
                </a:lnTo>
                <a:lnTo>
                  <a:pt x="260617" y="459"/>
                </a:lnTo>
                <a:lnTo>
                  <a:pt x="277795" y="0"/>
                </a:lnTo>
                <a:lnTo>
                  <a:pt x="287370" y="28579"/>
                </a:lnTo>
                <a:close/>
              </a:path>
            </a:pathLst>
          </a:custGeom>
          <a:solidFill>
            <a:schemeClr val="bg2"/>
          </a:solidFill>
          <a:ln w="9525" cap="flat" cmpd="sng" algn="ctr">
            <a:solidFill>
              <a:schemeClr val="bg1"/>
            </a:solidFill>
            <a:prstDash val="solid"/>
          </a:ln>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7358380" algn="l"/>
              </a:tabLst>
            </a:pPr>
            <a:endParaRPr lang="en-US" sz="1500" dirty="0">
              <a:solidFill>
                <a:schemeClr val="accent3"/>
              </a:solidFill>
            </a:endParaRPr>
          </a:p>
        </p:txBody>
      </p:sp>
      <p:sp>
        <p:nvSpPr>
          <p:cNvPr id="84" name="ee4p_60_1_43215">
            <a:extLst>
              <a:ext uri="{FF2B5EF4-FFF2-40B4-BE49-F238E27FC236}">
                <a16:creationId xmlns:a16="http://schemas.microsoft.com/office/drawing/2014/main" id="{EE7C8FDB-9B03-4C8D-B692-7DFFC38A47AE}"/>
              </a:ext>
            </a:extLst>
          </p:cNvPr>
          <p:cNvSpPr>
            <a:spLocks noChangeAspect="1"/>
          </p:cNvSpPr>
          <p:nvPr>
            <p:custDataLst>
              <p:tags r:id="rId35"/>
            </p:custDataLst>
          </p:nvPr>
        </p:nvSpPr>
        <p:spPr bwMode="gray">
          <a:xfrm>
            <a:off x="7602635" y="5228556"/>
            <a:ext cx="358307" cy="462984"/>
          </a:xfrm>
          <a:custGeom>
            <a:avLst/>
            <a:gdLst/>
            <a:ahLst/>
            <a:cxnLst/>
            <a:rect l="0" t="0" r="0" b="0"/>
            <a:pathLst>
              <a:path w="401162" h="468851">
                <a:moveTo>
                  <a:pt x="36361" y="315686"/>
                </a:moveTo>
                <a:lnTo>
                  <a:pt x="64848" y="308744"/>
                </a:lnTo>
                <a:lnTo>
                  <a:pt x="67790" y="293890"/>
                </a:lnTo>
                <a:lnTo>
                  <a:pt x="45378" y="270012"/>
                </a:lnTo>
                <a:lnTo>
                  <a:pt x="77655" y="257927"/>
                </a:lnTo>
                <a:lnTo>
                  <a:pt x="48708" y="227684"/>
                </a:lnTo>
                <a:lnTo>
                  <a:pt x="33274" y="225832"/>
                </a:lnTo>
                <a:lnTo>
                  <a:pt x="30215" y="198252"/>
                </a:lnTo>
                <a:lnTo>
                  <a:pt x="50361" y="170559"/>
                </a:lnTo>
                <a:lnTo>
                  <a:pt x="53805" y="154076"/>
                </a:lnTo>
                <a:lnTo>
                  <a:pt x="34773" y="149914"/>
                </a:lnTo>
                <a:lnTo>
                  <a:pt x="21604" y="157294"/>
                </a:lnTo>
                <a:lnTo>
                  <a:pt x="32886" y="147717"/>
                </a:lnTo>
                <a:lnTo>
                  <a:pt x="25181" y="125258"/>
                </a:lnTo>
                <a:lnTo>
                  <a:pt x="44668" y="112178"/>
                </a:lnTo>
                <a:lnTo>
                  <a:pt x="15168" y="94944"/>
                </a:lnTo>
                <a:lnTo>
                  <a:pt x="7805" y="55670"/>
                </a:lnTo>
                <a:lnTo>
                  <a:pt x="0" y="35157"/>
                </a:lnTo>
                <a:lnTo>
                  <a:pt x="17075" y="29266"/>
                </a:lnTo>
                <a:lnTo>
                  <a:pt x="27518" y="17478"/>
                </a:lnTo>
                <a:lnTo>
                  <a:pt x="44958" y="21788"/>
                </a:lnTo>
                <a:lnTo>
                  <a:pt x="72630" y="818"/>
                </a:lnTo>
                <a:lnTo>
                  <a:pt x="97392" y="5785"/>
                </a:lnTo>
                <a:lnTo>
                  <a:pt x="124256" y="0"/>
                </a:lnTo>
                <a:lnTo>
                  <a:pt x="139232" y="5489"/>
                </a:lnTo>
                <a:lnTo>
                  <a:pt x="149384" y="21704"/>
                </a:lnTo>
                <a:lnTo>
                  <a:pt x="169508" y="32939"/>
                </a:lnTo>
                <a:lnTo>
                  <a:pt x="208991" y="99468"/>
                </a:lnTo>
                <a:lnTo>
                  <a:pt x="261124" y="122936"/>
                </a:lnTo>
                <a:lnTo>
                  <a:pt x="251899" y="138194"/>
                </a:lnTo>
                <a:lnTo>
                  <a:pt x="251789" y="169589"/>
                </a:lnTo>
                <a:lnTo>
                  <a:pt x="265375" y="171153"/>
                </a:lnTo>
                <a:lnTo>
                  <a:pt x="272876" y="183779"/>
                </a:lnTo>
                <a:lnTo>
                  <a:pt x="307030" y="187679"/>
                </a:lnTo>
                <a:lnTo>
                  <a:pt x="324885" y="204540"/>
                </a:lnTo>
                <a:lnTo>
                  <a:pt x="337313" y="183143"/>
                </a:lnTo>
                <a:lnTo>
                  <a:pt x="353150" y="177716"/>
                </a:lnTo>
                <a:lnTo>
                  <a:pt x="366650" y="188480"/>
                </a:lnTo>
                <a:lnTo>
                  <a:pt x="352254" y="205568"/>
                </a:lnTo>
                <a:lnTo>
                  <a:pt x="358561" y="221736"/>
                </a:lnTo>
                <a:lnTo>
                  <a:pt x="375084" y="227059"/>
                </a:lnTo>
                <a:lnTo>
                  <a:pt x="368413" y="254011"/>
                </a:lnTo>
                <a:lnTo>
                  <a:pt x="347811" y="261445"/>
                </a:lnTo>
                <a:lnTo>
                  <a:pt x="341941" y="285004"/>
                </a:lnTo>
                <a:lnTo>
                  <a:pt x="353075" y="302174"/>
                </a:lnTo>
                <a:lnTo>
                  <a:pt x="358279" y="324342"/>
                </a:lnTo>
                <a:lnTo>
                  <a:pt x="386427" y="341047"/>
                </a:lnTo>
                <a:lnTo>
                  <a:pt x="401161" y="366822"/>
                </a:lnTo>
                <a:lnTo>
                  <a:pt x="383266" y="383011"/>
                </a:lnTo>
                <a:lnTo>
                  <a:pt x="349620" y="403571"/>
                </a:lnTo>
                <a:lnTo>
                  <a:pt x="349219" y="427536"/>
                </a:lnTo>
                <a:lnTo>
                  <a:pt x="359584" y="437917"/>
                </a:lnTo>
                <a:lnTo>
                  <a:pt x="351682" y="456418"/>
                </a:lnTo>
                <a:lnTo>
                  <a:pt x="310621" y="462058"/>
                </a:lnTo>
                <a:lnTo>
                  <a:pt x="303100" y="458046"/>
                </a:lnTo>
                <a:lnTo>
                  <a:pt x="278131" y="468850"/>
                </a:lnTo>
                <a:lnTo>
                  <a:pt x="262211" y="453470"/>
                </a:lnTo>
                <a:lnTo>
                  <a:pt x="283571" y="431497"/>
                </a:lnTo>
                <a:lnTo>
                  <a:pt x="282904" y="415963"/>
                </a:lnTo>
                <a:lnTo>
                  <a:pt x="253098" y="409555"/>
                </a:lnTo>
                <a:lnTo>
                  <a:pt x="237013" y="392894"/>
                </a:lnTo>
                <a:lnTo>
                  <a:pt x="218830" y="366105"/>
                </a:lnTo>
                <a:lnTo>
                  <a:pt x="204588" y="366461"/>
                </a:lnTo>
                <a:lnTo>
                  <a:pt x="181924" y="351796"/>
                </a:lnTo>
                <a:lnTo>
                  <a:pt x="169949" y="356812"/>
                </a:lnTo>
                <a:lnTo>
                  <a:pt x="176466" y="376732"/>
                </a:lnTo>
                <a:lnTo>
                  <a:pt x="158748" y="388819"/>
                </a:lnTo>
                <a:lnTo>
                  <a:pt x="145226" y="391356"/>
                </a:lnTo>
                <a:lnTo>
                  <a:pt x="75863" y="357219"/>
                </a:lnTo>
                <a:close/>
              </a:path>
            </a:pathLst>
          </a:custGeom>
          <a:solidFill>
            <a:schemeClr val="bg2"/>
          </a:solidFill>
          <a:ln w="9525" cap="flat" cmpd="sng" algn="ctr">
            <a:solidFill>
              <a:schemeClr val="bg1"/>
            </a:solidFill>
            <a:prstDash val="solid"/>
          </a:ln>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7358380" algn="l"/>
              </a:tabLst>
            </a:pPr>
            <a:endParaRPr lang="en-US" sz="1500" dirty="0">
              <a:solidFill>
                <a:schemeClr val="accent3"/>
              </a:solidFill>
            </a:endParaRPr>
          </a:p>
        </p:txBody>
      </p:sp>
      <p:sp>
        <p:nvSpPr>
          <p:cNvPr id="85" name="ee4p_8_1_43215">
            <a:extLst>
              <a:ext uri="{FF2B5EF4-FFF2-40B4-BE49-F238E27FC236}">
                <a16:creationId xmlns:a16="http://schemas.microsoft.com/office/drawing/2014/main" id="{C7794AB1-7ACA-4596-8355-9545FC37A587}"/>
              </a:ext>
            </a:extLst>
          </p:cNvPr>
          <p:cNvSpPr>
            <a:spLocks noChangeAspect="1"/>
          </p:cNvSpPr>
          <p:nvPr>
            <p:custDataLst>
              <p:tags r:id="rId36"/>
            </p:custDataLst>
          </p:nvPr>
        </p:nvSpPr>
        <p:spPr bwMode="gray">
          <a:xfrm>
            <a:off x="6800693" y="4883478"/>
            <a:ext cx="659423" cy="314116"/>
          </a:xfrm>
          <a:custGeom>
            <a:avLst/>
            <a:gdLst/>
            <a:ahLst/>
            <a:cxnLst/>
            <a:rect l="0" t="0" r="0" b="0"/>
            <a:pathLst>
              <a:path w="738291" h="318096">
                <a:moveTo>
                  <a:pt x="716952" y="50251"/>
                </a:moveTo>
                <a:lnTo>
                  <a:pt x="707716" y="83425"/>
                </a:lnTo>
                <a:lnTo>
                  <a:pt x="720428" y="105436"/>
                </a:lnTo>
                <a:lnTo>
                  <a:pt x="738290" y="125901"/>
                </a:lnTo>
                <a:lnTo>
                  <a:pt x="729530" y="160232"/>
                </a:lnTo>
                <a:lnTo>
                  <a:pt x="698447" y="165989"/>
                </a:lnTo>
                <a:lnTo>
                  <a:pt x="694234" y="185474"/>
                </a:lnTo>
                <a:lnTo>
                  <a:pt x="667997" y="223838"/>
                </a:lnTo>
                <a:lnTo>
                  <a:pt x="673631" y="248280"/>
                </a:lnTo>
                <a:lnTo>
                  <a:pt x="653323" y="249002"/>
                </a:lnTo>
                <a:lnTo>
                  <a:pt x="636986" y="265496"/>
                </a:lnTo>
                <a:lnTo>
                  <a:pt x="614083" y="283701"/>
                </a:lnTo>
                <a:lnTo>
                  <a:pt x="569885" y="291585"/>
                </a:lnTo>
                <a:lnTo>
                  <a:pt x="539899" y="291003"/>
                </a:lnTo>
                <a:lnTo>
                  <a:pt x="518547" y="296725"/>
                </a:lnTo>
                <a:lnTo>
                  <a:pt x="496277" y="317158"/>
                </a:lnTo>
                <a:lnTo>
                  <a:pt x="447291" y="318095"/>
                </a:lnTo>
                <a:lnTo>
                  <a:pt x="425013" y="308153"/>
                </a:lnTo>
                <a:lnTo>
                  <a:pt x="404792" y="307659"/>
                </a:lnTo>
                <a:lnTo>
                  <a:pt x="366648" y="303986"/>
                </a:lnTo>
                <a:lnTo>
                  <a:pt x="344164" y="298110"/>
                </a:lnTo>
                <a:lnTo>
                  <a:pt x="294087" y="292004"/>
                </a:lnTo>
                <a:lnTo>
                  <a:pt x="275466" y="283381"/>
                </a:lnTo>
                <a:lnTo>
                  <a:pt x="250668" y="248661"/>
                </a:lnTo>
                <a:lnTo>
                  <a:pt x="212577" y="252890"/>
                </a:lnTo>
                <a:lnTo>
                  <a:pt x="202854" y="247892"/>
                </a:lnTo>
                <a:lnTo>
                  <a:pt x="182560" y="253616"/>
                </a:lnTo>
                <a:lnTo>
                  <a:pt x="158062" y="253702"/>
                </a:lnTo>
                <a:lnTo>
                  <a:pt x="144618" y="277942"/>
                </a:lnTo>
                <a:lnTo>
                  <a:pt x="130814" y="278443"/>
                </a:lnTo>
                <a:lnTo>
                  <a:pt x="109980" y="264712"/>
                </a:lnTo>
                <a:lnTo>
                  <a:pt x="90849" y="267223"/>
                </a:lnTo>
                <a:lnTo>
                  <a:pt x="79173" y="250663"/>
                </a:lnTo>
                <a:lnTo>
                  <a:pt x="67920" y="265833"/>
                </a:lnTo>
                <a:lnTo>
                  <a:pt x="55582" y="268929"/>
                </a:lnTo>
                <a:lnTo>
                  <a:pt x="34953" y="250868"/>
                </a:lnTo>
                <a:lnTo>
                  <a:pt x="7386" y="242092"/>
                </a:lnTo>
                <a:lnTo>
                  <a:pt x="0" y="216423"/>
                </a:lnTo>
                <a:lnTo>
                  <a:pt x="10989" y="196239"/>
                </a:lnTo>
                <a:lnTo>
                  <a:pt x="2707" y="183142"/>
                </a:lnTo>
                <a:lnTo>
                  <a:pt x="49259" y="189705"/>
                </a:lnTo>
                <a:lnTo>
                  <a:pt x="62699" y="213343"/>
                </a:lnTo>
                <a:lnTo>
                  <a:pt x="79156" y="210673"/>
                </a:lnTo>
                <a:lnTo>
                  <a:pt x="103527" y="179924"/>
                </a:lnTo>
                <a:lnTo>
                  <a:pt x="131587" y="183795"/>
                </a:lnTo>
                <a:lnTo>
                  <a:pt x="140579" y="196878"/>
                </a:lnTo>
                <a:lnTo>
                  <a:pt x="170324" y="197240"/>
                </a:lnTo>
                <a:lnTo>
                  <a:pt x="200867" y="178252"/>
                </a:lnTo>
                <a:lnTo>
                  <a:pt x="239737" y="172901"/>
                </a:lnTo>
                <a:lnTo>
                  <a:pt x="256724" y="163657"/>
                </a:lnTo>
                <a:lnTo>
                  <a:pt x="280495" y="164191"/>
                </a:lnTo>
                <a:lnTo>
                  <a:pt x="288471" y="172888"/>
                </a:lnTo>
                <a:lnTo>
                  <a:pt x="310992" y="166692"/>
                </a:lnTo>
                <a:lnTo>
                  <a:pt x="326855" y="188657"/>
                </a:lnTo>
                <a:lnTo>
                  <a:pt x="340284" y="189260"/>
                </a:lnTo>
                <a:lnTo>
                  <a:pt x="343492" y="165319"/>
                </a:lnTo>
                <a:lnTo>
                  <a:pt x="326500" y="160792"/>
                </a:lnTo>
                <a:lnTo>
                  <a:pt x="335822" y="144686"/>
                </a:lnTo>
                <a:lnTo>
                  <a:pt x="312624" y="117700"/>
                </a:lnTo>
                <a:lnTo>
                  <a:pt x="323197" y="101772"/>
                </a:lnTo>
                <a:lnTo>
                  <a:pt x="360234" y="90469"/>
                </a:lnTo>
                <a:lnTo>
                  <a:pt x="375150" y="80678"/>
                </a:lnTo>
                <a:lnTo>
                  <a:pt x="386851" y="54081"/>
                </a:lnTo>
                <a:lnTo>
                  <a:pt x="406041" y="63201"/>
                </a:lnTo>
                <a:lnTo>
                  <a:pt x="415589" y="50080"/>
                </a:lnTo>
                <a:lnTo>
                  <a:pt x="416919" y="31044"/>
                </a:lnTo>
                <a:lnTo>
                  <a:pt x="432879" y="38992"/>
                </a:lnTo>
                <a:lnTo>
                  <a:pt x="436531" y="50797"/>
                </a:lnTo>
                <a:lnTo>
                  <a:pt x="465484" y="58026"/>
                </a:lnTo>
                <a:lnTo>
                  <a:pt x="490395" y="49297"/>
                </a:lnTo>
                <a:lnTo>
                  <a:pt x="512252" y="29526"/>
                </a:lnTo>
                <a:lnTo>
                  <a:pt x="524932" y="32728"/>
                </a:lnTo>
                <a:lnTo>
                  <a:pt x="531206" y="0"/>
                </a:lnTo>
                <a:lnTo>
                  <a:pt x="574626" y="8723"/>
                </a:lnTo>
                <a:lnTo>
                  <a:pt x="595630" y="20400"/>
                </a:lnTo>
                <a:lnTo>
                  <a:pt x="609286" y="18653"/>
                </a:lnTo>
                <a:lnTo>
                  <a:pt x="635925" y="34308"/>
                </a:lnTo>
                <a:lnTo>
                  <a:pt x="662545" y="36415"/>
                </a:lnTo>
                <a:lnTo>
                  <a:pt x="678293" y="25727"/>
                </a:lnTo>
                <a:close/>
              </a:path>
            </a:pathLst>
          </a:custGeom>
          <a:solidFill>
            <a:schemeClr val="bg2"/>
          </a:solidFill>
          <a:ln w="9525" cap="flat" cmpd="sng" algn="ctr">
            <a:solidFill>
              <a:schemeClr val="bg1"/>
            </a:solidFill>
            <a:prstDash val="solid"/>
          </a:ln>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tabLst>
                <a:tab pos="7358380" algn="l"/>
              </a:tabLst>
            </a:pPr>
            <a:endParaRPr lang="en-US" sz="1500" dirty="0">
              <a:solidFill>
                <a:schemeClr val="accent3"/>
              </a:solidFill>
            </a:endParaRPr>
          </a:p>
        </p:txBody>
      </p:sp>
      <p:graphicFrame>
        <p:nvGraphicFramePr>
          <p:cNvPr id="86" name="ee4pMapWizardDataSheet_43215">
            <a:extLst>
              <a:ext uri="{FF2B5EF4-FFF2-40B4-BE49-F238E27FC236}">
                <a16:creationId xmlns:a16="http://schemas.microsoft.com/office/drawing/2014/main" id="{8B11F052-4ABB-4973-9BB7-5E37EF069C58}"/>
              </a:ext>
            </a:extLst>
          </p:cNvPr>
          <p:cNvGraphicFramePr>
            <a:graphicFrameLocks noChangeAspect="1"/>
          </p:cNvGraphicFramePr>
          <p:nvPr/>
        </p:nvGraphicFramePr>
        <p:xfrm>
          <a:off x="7461245" y="4102899"/>
          <a:ext cx="0" cy="0"/>
        </p:xfrm>
        <a:graphic>
          <a:graphicData uri="http://schemas.openxmlformats.org/presentationml/2006/ole">
            <mc:AlternateContent xmlns:mc="http://schemas.openxmlformats.org/markup-compatibility/2006">
              <mc:Choice xmlns:v="urn:schemas-microsoft-com:vml" Requires="v">
                <p:oleObj name="Arbeitsblatt" showAsIcon="1" r:id="rId39" imgW="914400" imgH="771480" progId="Excel.Sheet.12">
                  <p:embed/>
                </p:oleObj>
              </mc:Choice>
              <mc:Fallback>
                <p:oleObj name="Arbeitsblatt" showAsIcon="1" r:id="rId39" imgW="914400" imgH="771480" progId="Excel.Sheet.12">
                  <p:embed/>
                  <p:pic>
                    <p:nvPicPr>
                      <p:cNvPr id="86" name="ee4pMapWizardDataSheet_43215">
                        <a:extLst>
                          <a:ext uri="{FF2B5EF4-FFF2-40B4-BE49-F238E27FC236}">
                            <a16:creationId xmlns:a16="http://schemas.microsoft.com/office/drawing/2014/main" id="{8B11F052-4ABB-4973-9BB7-5E37EF069C58}"/>
                          </a:ext>
                        </a:extLst>
                      </p:cNvPr>
                      <p:cNvPicPr/>
                      <p:nvPr/>
                    </p:nvPicPr>
                    <p:blipFill>
                      <a:blip r:embed="rId40"/>
                      <a:stretch>
                        <a:fillRect/>
                      </a:stretch>
                    </p:blipFill>
                    <p:spPr>
                      <a:xfrm>
                        <a:off x="7461245" y="4102899"/>
                        <a:ext cx="0" cy="0"/>
                      </a:xfrm>
                      <a:prstGeom prst="rect">
                        <a:avLst/>
                      </a:prstGeom>
                    </p:spPr>
                  </p:pic>
                </p:oleObj>
              </mc:Fallback>
            </mc:AlternateContent>
          </a:graphicData>
        </a:graphic>
      </p:graphicFrame>
    </p:spTree>
    <p:extLst>
      <p:ext uri="{BB962C8B-B14F-4D97-AF65-F5344CB8AC3E}">
        <p14:creationId xmlns:p14="http://schemas.microsoft.com/office/powerpoint/2010/main" val="42209913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a:t>1. Introduction </a:t>
            </a:r>
          </a:p>
        </p:txBody>
      </p:sp>
      <p:sp>
        <p:nvSpPr>
          <p:cNvPr id="4" name="Date Placeholder 3"/>
          <p:cNvSpPr>
            <a:spLocks noGrp="1"/>
          </p:cNvSpPr>
          <p:nvPr>
            <p:ph type="dt" sz="half" idx="10"/>
          </p:nvPr>
        </p:nvSpPr>
        <p:spPr/>
        <p:txBody>
          <a:bodyPr/>
          <a:lstStyle/>
          <a:p>
            <a:fld id="{60ECE157-0CFA-4EC9-A14C-FC67A97458CE}" type="datetime1">
              <a:rPr lang="fr-FR" smtClean="0"/>
              <a:pPr/>
              <a:t>23/04/2024</a:t>
            </a:fld>
            <a:endParaRPr lang="en-US" dirty="0"/>
          </a:p>
        </p:txBody>
      </p:sp>
      <p:sp>
        <p:nvSpPr>
          <p:cNvPr id="5" name="Slide Number Placeholder 4"/>
          <p:cNvSpPr>
            <a:spLocks noGrp="1"/>
          </p:cNvSpPr>
          <p:nvPr>
            <p:ph type="sldNum" sz="quarter" idx="12"/>
          </p:nvPr>
        </p:nvSpPr>
        <p:spPr/>
        <p:txBody>
          <a:bodyPr/>
          <a:lstStyle/>
          <a:p>
            <a:fld id="{6CA6A39B-2923-4814-8F57-BD84643AD2B4}" type="slidenum">
              <a:rPr lang="en-US" smtClean="0"/>
              <a:pPr/>
              <a:t>5</a:t>
            </a:fld>
            <a:endParaRPr lang="en-US" dirty="0"/>
          </a:p>
        </p:txBody>
      </p:sp>
      <p:sp>
        <p:nvSpPr>
          <p:cNvPr id="8" name="Text Placeholder 7"/>
          <p:cNvSpPr>
            <a:spLocks noGrp="1"/>
          </p:cNvSpPr>
          <p:nvPr>
            <p:ph type="body" sz="quarter" idx="13"/>
          </p:nvPr>
        </p:nvSpPr>
        <p:spPr/>
        <p:txBody>
          <a:bodyPr vert="horz" lIns="91440" tIns="45720" rIns="91440" bIns="45720" rtlCol="0">
            <a:noAutofit/>
          </a:bodyPr>
          <a:lstStyle/>
          <a:p>
            <a:r>
              <a:rPr lang="en-US" dirty="0"/>
              <a:t>Accession timeline – past and foreseen</a:t>
            </a:r>
            <a:endParaRPr lang="en-GB" dirty="0"/>
          </a:p>
        </p:txBody>
      </p:sp>
      <p:graphicFrame>
        <p:nvGraphicFramePr>
          <p:cNvPr id="6" name="Table 5">
            <a:extLst>
              <a:ext uri="{FF2B5EF4-FFF2-40B4-BE49-F238E27FC236}">
                <a16:creationId xmlns:a16="http://schemas.microsoft.com/office/drawing/2014/main" id="{45C57EF8-DEE1-4199-B7D5-0BB577918E78}"/>
              </a:ext>
            </a:extLst>
          </p:cNvPr>
          <p:cNvGraphicFramePr>
            <a:graphicFrameLocks noGrp="1"/>
          </p:cNvGraphicFramePr>
          <p:nvPr>
            <p:extLst>
              <p:ext uri="{D42A27DB-BD31-4B8C-83A1-F6EECF244321}">
                <p14:modId xmlns:p14="http://schemas.microsoft.com/office/powerpoint/2010/main" val="2503986169"/>
              </p:ext>
            </p:extLst>
          </p:nvPr>
        </p:nvGraphicFramePr>
        <p:xfrm>
          <a:off x="515488" y="1556792"/>
          <a:ext cx="8136905" cy="4104455"/>
        </p:xfrm>
        <a:graphic>
          <a:graphicData uri="http://schemas.openxmlformats.org/drawingml/2006/table">
            <a:tbl>
              <a:tblPr firstRow="1" bandRow="1">
                <a:tableStyleId>{5C22544A-7EE6-4342-B048-85BDC9FD1C3A}</a:tableStyleId>
              </a:tblPr>
              <a:tblGrid>
                <a:gridCol w="1598504">
                  <a:extLst>
                    <a:ext uri="{9D8B030D-6E8A-4147-A177-3AD203B41FA5}">
                      <a16:colId xmlns:a16="http://schemas.microsoft.com/office/drawing/2014/main" val="3912612720"/>
                    </a:ext>
                  </a:extLst>
                </a:gridCol>
                <a:gridCol w="4698114">
                  <a:extLst>
                    <a:ext uri="{9D8B030D-6E8A-4147-A177-3AD203B41FA5}">
                      <a16:colId xmlns:a16="http://schemas.microsoft.com/office/drawing/2014/main" val="678202747"/>
                    </a:ext>
                  </a:extLst>
                </a:gridCol>
                <a:gridCol w="1840287">
                  <a:extLst>
                    <a:ext uri="{9D8B030D-6E8A-4147-A177-3AD203B41FA5}">
                      <a16:colId xmlns:a16="http://schemas.microsoft.com/office/drawing/2014/main" val="2999381867"/>
                    </a:ext>
                  </a:extLst>
                </a:gridCol>
              </a:tblGrid>
              <a:tr h="570575">
                <a:tc>
                  <a:txBody>
                    <a:bodyPr/>
                    <a:lstStyle/>
                    <a:p>
                      <a:pPr algn="ctr" fontAlgn="b"/>
                      <a:r>
                        <a:rPr lang="en-US" sz="1600" kern="1200">
                          <a:effectLst/>
                        </a:rPr>
                        <a:t>Country</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b"/>
                      <a:r>
                        <a:rPr lang="en-US" sz="1600" kern="1200" dirty="0">
                          <a:effectLst/>
                        </a:rPr>
                        <a:t>TSO</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b"/>
                      <a:r>
                        <a:rPr lang="en-US" sz="1600" kern="1200">
                          <a:effectLst/>
                        </a:rPr>
                        <a:t>Date of accession</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871171161"/>
                  </a:ext>
                </a:extLst>
              </a:tr>
              <a:tr h="441735">
                <a:tc>
                  <a:txBody>
                    <a:bodyPr/>
                    <a:lstStyle/>
                    <a:p>
                      <a:pPr fontAlgn="b"/>
                      <a:r>
                        <a:rPr lang="en-US" sz="1600" kern="1200" dirty="0">
                          <a:effectLst/>
                        </a:rPr>
                        <a:t>Czech Republic</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fontAlgn="b"/>
                      <a:r>
                        <a:rPr lang="de-DE" sz="1600">
                          <a:effectLst/>
                        </a:rPr>
                        <a:t>ČEPS a.s.</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b"/>
                      <a:r>
                        <a:rPr lang="en-GB" sz="1600" dirty="0">
                          <a:effectLst/>
                        </a:rPr>
                        <a:t>6 January 2020</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642147792"/>
                  </a:ext>
                </a:extLst>
              </a:tr>
              <a:tr h="441735">
                <a:tc>
                  <a:txBody>
                    <a:bodyPr/>
                    <a:lstStyle/>
                    <a:p>
                      <a:pPr fontAlgn="b"/>
                      <a:r>
                        <a:rPr lang="en-US" sz="1600" kern="1200">
                          <a:effectLst/>
                        </a:rPr>
                        <a:t>Spain</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fontAlgn="b"/>
                      <a:r>
                        <a:rPr lang="de-DE" sz="1600" dirty="0">
                          <a:effectLst/>
                        </a:rPr>
                        <a:t>RE - Red Eléctrica de España S.A.U</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b"/>
                      <a:r>
                        <a:rPr lang="en-GB" sz="1600" dirty="0">
                          <a:effectLst/>
                        </a:rPr>
                        <a:t>3 March 2020</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407079250"/>
                  </a:ext>
                </a:extLst>
              </a:tr>
              <a:tr h="441735">
                <a:tc>
                  <a:txBody>
                    <a:bodyPr/>
                    <a:lstStyle/>
                    <a:p>
                      <a:pPr fontAlgn="b"/>
                      <a:r>
                        <a:rPr lang="en-US" sz="1600" kern="1200">
                          <a:effectLst/>
                        </a:rPr>
                        <a:t>Portugal</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fontAlgn="b"/>
                      <a:r>
                        <a:rPr lang="en-GB" sz="1600">
                          <a:effectLst/>
                        </a:rPr>
                        <a:t>REN – Rede Eléctrica Nacional, S.A</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b"/>
                      <a:r>
                        <a:rPr lang="en-GB" sz="1600">
                          <a:effectLst/>
                        </a:rPr>
                        <a:t>29 September 2020</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936508504"/>
                  </a:ext>
                </a:extLst>
              </a:tr>
              <a:tr h="441735">
                <a:tc>
                  <a:txBody>
                    <a:bodyPr/>
                    <a:lstStyle/>
                    <a:p>
                      <a:pPr fontAlgn="b"/>
                      <a:r>
                        <a:rPr lang="en-US" sz="1600" kern="1200">
                          <a:effectLst/>
                        </a:rPr>
                        <a:t>Switzerland</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fontAlgn="b"/>
                      <a:r>
                        <a:rPr lang="en-GB" sz="1600">
                          <a:effectLst/>
                        </a:rPr>
                        <a:t>Swissgrid AG</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b"/>
                      <a:r>
                        <a:rPr lang="en-GB" sz="1600">
                          <a:effectLst/>
                        </a:rPr>
                        <a:t>8 October 2020</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016857560"/>
                  </a:ext>
                </a:extLst>
              </a:tr>
              <a:tr h="441735">
                <a:tc>
                  <a:txBody>
                    <a:bodyPr/>
                    <a:lstStyle/>
                    <a:p>
                      <a:pPr fontAlgn="b"/>
                      <a:r>
                        <a:rPr lang="en-US" sz="1600" kern="1200">
                          <a:effectLst/>
                        </a:rPr>
                        <a:t>France</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fontAlgn="b"/>
                      <a:r>
                        <a:rPr lang="fr-FR" sz="1600">
                          <a:effectLst/>
                        </a:rPr>
                        <a:t>RTE - Réseau de Transport d'Electricité</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b"/>
                      <a:r>
                        <a:rPr lang="en-GB" sz="1600">
                          <a:effectLst/>
                        </a:rPr>
                        <a:t>2 December 2020</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428244806"/>
                  </a:ext>
                </a:extLst>
              </a:tr>
              <a:tr h="441735">
                <a:tc>
                  <a:txBody>
                    <a:bodyPr/>
                    <a:lstStyle/>
                    <a:p>
                      <a:pPr fontAlgn="b"/>
                      <a:r>
                        <a:rPr lang="en-US" sz="1600" kern="1200">
                          <a:effectLst/>
                        </a:rPr>
                        <a:t>Italy</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fontAlgn="b"/>
                      <a:r>
                        <a:rPr lang="fr-FR" sz="1600">
                          <a:effectLst/>
                        </a:rPr>
                        <a:t>Terna - Rete Elettrica Nazionale SpA</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b"/>
                      <a:r>
                        <a:rPr lang="de-DE" sz="1600">
                          <a:effectLst/>
                        </a:rPr>
                        <a:t>13 January 2021</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825775893"/>
                  </a:ext>
                </a:extLst>
              </a:tr>
              <a:tr h="441735">
                <a:tc>
                  <a:txBody>
                    <a:bodyPr/>
                    <a:lstStyle/>
                    <a:p>
                      <a:pPr fontAlgn="b"/>
                      <a:r>
                        <a:rPr lang="en-US" sz="1600" kern="1200">
                          <a:effectLst/>
                          <a:latin typeface="Calibri" panose="020F0502020204030204" pitchFamily="34" charset="0"/>
                          <a:ea typeface="Calibri" panose="020F0502020204030204" pitchFamily="34" charset="0"/>
                          <a:cs typeface="Times New Roman" panose="02020603050405020304" pitchFamily="18" charset="0"/>
                        </a:rPr>
                        <a:t>United Kingdom</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fontAlgn="b"/>
                      <a:r>
                        <a:rPr lang="de-DE" sz="1600" dirty="0">
                          <a:effectLst/>
                        </a:rPr>
                        <a:t>National </a:t>
                      </a:r>
                      <a:r>
                        <a:rPr lang="de-DE" sz="1600" dirty="0" err="1">
                          <a:effectLst/>
                        </a:rPr>
                        <a:t>Grid</a:t>
                      </a:r>
                      <a:r>
                        <a:rPr lang="de-DE" sz="1600" dirty="0">
                          <a:effectLst/>
                        </a:rPr>
                        <a:t> </a:t>
                      </a:r>
                      <a:r>
                        <a:rPr lang="de-DE" sz="1600" dirty="0" err="1">
                          <a:effectLst/>
                        </a:rPr>
                        <a:t>Electricity</a:t>
                      </a:r>
                      <a:r>
                        <a:rPr lang="de-DE" sz="1600" dirty="0">
                          <a:effectLst/>
                        </a:rPr>
                        <a:t> System Operator Ltd</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r>
                        <a:rPr lang="en-US" sz="1600" i="1" dirty="0">
                          <a:effectLst/>
                        </a:rPr>
                        <a:t>Exit from the project</a:t>
                      </a:r>
                      <a:endParaRPr lang="en-GB" sz="1600" i="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716788891"/>
                  </a:ext>
                </a:extLst>
              </a:tr>
              <a:tr h="441735">
                <a:tc>
                  <a:txBody>
                    <a:bodyPr/>
                    <a:lstStyle/>
                    <a:p>
                      <a:pPr fontAlgn="b"/>
                      <a:r>
                        <a:rPr lang="en-US" sz="1600" kern="1200" dirty="0">
                          <a:effectLst/>
                        </a:rPr>
                        <a:t>Poland</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fontAlgn="b"/>
                      <a:r>
                        <a:rPr lang="en-US" sz="1600" kern="1200" dirty="0">
                          <a:effectLst/>
                        </a:rPr>
                        <a:t>PSE - </a:t>
                      </a:r>
                      <a:r>
                        <a:rPr lang="en-US" sz="1600" kern="1200" dirty="0" err="1">
                          <a:effectLst/>
                        </a:rPr>
                        <a:t>Polskie</a:t>
                      </a:r>
                      <a:r>
                        <a:rPr lang="en-US" sz="1600" kern="1200" dirty="0">
                          <a:effectLst/>
                        </a:rPr>
                        <a:t> </a:t>
                      </a:r>
                      <a:r>
                        <a:rPr lang="en-US" sz="1600" kern="1200" dirty="0" err="1">
                          <a:effectLst/>
                        </a:rPr>
                        <a:t>Sieci</a:t>
                      </a:r>
                      <a:r>
                        <a:rPr lang="en-US" sz="1600" kern="1200" dirty="0">
                          <a:effectLst/>
                        </a:rPr>
                        <a:t> </a:t>
                      </a:r>
                      <a:r>
                        <a:rPr lang="en-US" sz="1600" kern="1200" dirty="0" err="1">
                          <a:effectLst/>
                        </a:rPr>
                        <a:t>Elektroenergetyczne</a:t>
                      </a:r>
                      <a:r>
                        <a:rPr lang="en-US" sz="1600" kern="1200" dirty="0">
                          <a:effectLst/>
                        </a:rPr>
                        <a:t> S.A.</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r>
                        <a:rPr lang="en-US" sz="1600" i="1" kern="1200" dirty="0">
                          <a:effectLst/>
                          <a:latin typeface="Calibri" panose="020F0502020204030204" pitchFamily="34" charset="0"/>
                          <a:ea typeface="Calibri" panose="020F0502020204030204" pitchFamily="34" charset="0"/>
                          <a:cs typeface="Times New Roman" panose="02020603050405020304" pitchFamily="18" charset="0"/>
                        </a:rPr>
                        <a:t>Not connected yet</a:t>
                      </a:r>
                      <a:endParaRPr lang="en-GB" sz="1600" i="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349846919"/>
                  </a:ext>
                </a:extLst>
              </a:tr>
            </a:tbl>
          </a:graphicData>
        </a:graphic>
      </p:graphicFrame>
    </p:spTree>
    <p:extLst>
      <p:ext uri="{BB962C8B-B14F-4D97-AF65-F5344CB8AC3E}">
        <p14:creationId xmlns:p14="http://schemas.microsoft.com/office/powerpoint/2010/main" val="17491004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75FAB1-D4C4-79BC-832F-2825C73D6C90}"/>
              </a:ext>
            </a:extLst>
          </p:cNvPr>
          <p:cNvSpPr>
            <a:spLocks noGrp="1"/>
          </p:cNvSpPr>
          <p:nvPr>
            <p:ph type="title"/>
          </p:nvPr>
        </p:nvSpPr>
        <p:spPr/>
        <p:txBody>
          <a:bodyPr/>
          <a:lstStyle/>
          <a:p>
            <a:r>
              <a:rPr lang="en-US" dirty="0"/>
              <a:t>Cost and time estimations to implement 96 clearings</a:t>
            </a:r>
          </a:p>
        </p:txBody>
      </p:sp>
      <p:sp>
        <p:nvSpPr>
          <p:cNvPr id="5" name="Slide Number Placeholder 4">
            <a:extLst>
              <a:ext uri="{FF2B5EF4-FFF2-40B4-BE49-F238E27FC236}">
                <a16:creationId xmlns:a16="http://schemas.microsoft.com/office/drawing/2014/main" id="{C6DAED45-C6BA-E405-AF87-1B39F6D48EAB}"/>
              </a:ext>
            </a:extLst>
          </p:cNvPr>
          <p:cNvSpPr>
            <a:spLocks noGrp="1"/>
          </p:cNvSpPr>
          <p:nvPr>
            <p:ph type="sldNum" sz="quarter" idx="12"/>
          </p:nvPr>
        </p:nvSpPr>
        <p:spPr/>
        <p:txBody>
          <a:bodyPr/>
          <a:lstStyle/>
          <a:p>
            <a:fld id="{6CA6A39B-2923-4814-8F57-BD84643AD2B4}" type="slidenum">
              <a:rPr lang="en-US" smtClean="0"/>
              <a:pPr/>
              <a:t>6</a:t>
            </a:fld>
            <a:endParaRPr lang="en-US" dirty="0"/>
          </a:p>
        </p:txBody>
      </p:sp>
      <p:sp>
        <p:nvSpPr>
          <p:cNvPr id="6" name="Text Placeholder 5">
            <a:extLst>
              <a:ext uri="{FF2B5EF4-FFF2-40B4-BE49-F238E27FC236}">
                <a16:creationId xmlns:a16="http://schemas.microsoft.com/office/drawing/2014/main" id="{F503C7B7-0155-5504-6008-473BDBDAE715}"/>
              </a:ext>
            </a:extLst>
          </p:cNvPr>
          <p:cNvSpPr>
            <a:spLocks noGrp="1"/>
          </p:cNvSpPr>
          <p:nvPr>
            <p:ph type="body" sz="quarter" idx="13"/>
          </p:nvPr>
        </p:nvSpPr>
        <p:spPr/>
        <p:txBody>
          <a:bodyPr/>
          <a:lstStyle/>
          <a:p>
            <a:r>
              <a:rPr lang="en-US" dirty="0"/>
              <a:t>Structure of the project by lot</a:t>
            </a:r>
          </a:p>
        </p:txBody>
      </p:sp>
      <p:sp>
        <p:nvSpPr>
          <p:cNvPr id="7" name="ZoneTexte 5">
            <a:extLst>
              <a:ext uri="{FF2B5EF4-FFF2-40B4-BE49-F238E27FC236}">
                <a16:creationId xmlns:a16="http://schemas.microsoft.com/office/drawing/2014/main" id="{8AFC8A77-A9C9-EC57-055F-FCF1952E3DF7}"/>
              </a:ext>
            </a:extLst>
          </p:cNvPr>
          <p:cNvSpPr txBox="1"/>
          <p:nvPr/>
        </p:nvSpPr>
        <p:spPr>
          <a:xfrm>
            <a:off x="321676" y="3804234"/>
            <a:ext cx="2700000" cy="1323439"/>
          </a:xfrm>
          <a:prstGeom prst="rect">
            <a:avLst/>
          </a:prstGeom>
          <a:solidFill>
            <a:srgbClr val="0070C0"/>
          </a:solidFill>
          <a:ln w="9525" cap="flat" cmpd="sng" algn="ctr">
            <a:noFill/>
            <a:prstDash val="solid"/>
          </a:ln>
          <a:effectLst/>
        </p:spPr>
        <p:txBody>
          <a:bodyPr wrap="square" anchor="b">
            <a:spAutoFit/>
          </a:bodyPr>
          <a:lstStyle>
            <a:defPPr>
              <a:defRPr lang="fr-FR"/>
            </a:defPPr>
            <a:lvl1pPr marR="0" lvl="0" indent="0" algn="ctr" fontAlgn="base">
              <a:lnSpc>
                <a:spcPct val="100000"/>
              </a:lnSpc>
              <a:spcBef>
                <a:spcPct val="0"/>
              </a:spcBef>
              <a:spcAft>
                <a:spcPct val="0"/>
              </a:spcAft>
              <a:buClrTx/>
              <a:buSzTx/>
              <a:buFontTx/>
              <a:buNone/>
              <a:tabLst/>
              <a:defRPr kumimoji="0" sz="1400" b="1" i="0" u="none" strike="noStrike" kern="0" cap="none" spc="0" normalizeH="0" baseline="0">
                <a:ln>
                  <a:noFill/>
                </a:ln>
                <a:solidFill>
                  <a:srgbClr val="FFFFFF"/>
                </a:solidFill>
                <a:effectLst/>
                <a:uLnTx/>
                <a:uFillTx/>
                <a:latin typeface="+mj-lt"/>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endParaRPr lang="en-US" sz="1600" dirty="0"/>
          </a:p>
          <a:p>
            <a:endParaRPr lang="en-US" sz="1600" dirty="0"/>
          </a:p>
          <a:p>
            <a:endParaRPr lang="en-US" sz="1600" dirty="0"/>
          </a:p>
          <a:p>
            <a:endParaRPr lang="en-US" sz="1600" dirty="0"/>
          </a:p>
          <a:p>
            <a:r>
              <a:rPr lang="en-US" sz="1600" dirty="0"/>
              <a:t>Hosting</a:t>
            </a:r>
          </a:p>
        </p:txBody>
      </p:sp>
      <p:pic>
        <p:nvPicPr>
          <p:cNvPr id="8" name="Picture 7">
            <a:extLst>
              <a:ext uri="{FF2B5EF4-FFF2-40B4-BE49-F238E27FC236}">
                <a16:creationId xmlns:a16="http://schemas.microsoft.com/office/drawing/2014/main" id="{6068AFB6-C541-D425-7746-483F2C7BAC64}"/>
              </a:ext>
            </a:extLst>
          </p:cNvPr>
          <p:cNvPicPr>
            <a:picLocks noChangeAspect="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131616" y="3948250"/>
            <a:ext cx="1080120" cy="1080120"/>
          </a:xfrm>
          <a:prstGeom prst="rect">
            <a:avLst/>
          </a:prstGeom>
        </p:spPr>
      </p:pic>
      <p:sp>
        <p:nvSpPr>
          <p:cNvPr id="9" name="ZoneTexte 5">
            <a:extLst>
              <a:ext uri="{FF2B5EF4-FFF2-40B4-BE49-F238E27FC236}">
                <a16:creationId xmlns:a16="http://schemas.microsoft.com/office/drawing/2014/main" id="{0005206F-215A-9EDA-8F00-FB0735BCF572}"/>
              </a:ext>
            </a:extLst>
          </p:cNvPr>
          <p:cNvSpPr txBox="1"/>
          <p:nvPr/>
        </p:nvSpPr>
        <p:spPr>
          <a:xfrm>
            <a:off x="3212101" y="3804234"/>
            <a:ext cx="2700000" cy="1323439"/>
          </a:xfrm>
          <a:prstGeom prst="rect">
            <a:avLst/>
          </a:prstGeom>
          <a:solidFill>
            <a:srgbClr val="0070C0"/>
          </a:solidFill>
          <a:ln w="9525" cap="flat" cmpd="sng" algn="ctr">
            <a:noFill/>
            <a:prstDash val="solid"/>
          </a:ln>
          <a:effectLst/>
        </p:spPr>
        <p:txBody>
          <a:bodyPr wrap="square" anchor="b">
            <a:spAutoFit/>
          </a:bodyPr>
          <a:lstStyle>
            <a:defPPr>
              <a:defRPr lang="fr-FR"/>
            </a:defPPr>
            <a:lvl1pPr marR="0" lvl="0" indent="0" algn="ctr" fontAlgn="base">
              <a:lnSpc>
                <a:spcPct val="100000"/>
              </a:lnSpc>
              <a:spcBef>
                <a:spcPct val="0"/>
              </a:spcBef>
              <a:spcAft>
                <a:spcPct val="0"/>
              </a:spcAft>
              <a:buClrTx/>
              <a:buSzTx/>
              <a:buFontTx/>
              <a:buNone/>
              <a:tabLst/>
              <a:defRPr kumimoji="0" sz="1400" b="1" i="0" u="none" strike="noStrike" kern="0" cap="none" spc="0" normalizeH="0" baseline="0">
                <a:ln>
                  <a:noFill/>
                </a:ln>
                <a:solidFill>
                  <a:srgbClr val="FFFFFF"/>
                </a:solidFill>
                <a:effectLst/>
                <a:uLnTx/>
                <a:uFillTx/>
                <a:latin typeface="+mj-lt"/>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endParaRPr lang="en-US" sz="1600" dirty="0"/>
          </a:p>
          <a:p>
            <a:endParaRPr lang="en-US" sz="1600" dirty="0"/>
          </a:p>
          <a:p>
            <a:endParaRPr lang="en-US" sz="1600" dirty="0"/>
          </a:p>
          <a:p>
            <a:endParaRPr lang="en-US" sz="1600" dirty="0"/>
          </a:p>
          <a:p>
            <a:r>
              <a:rPr lang="en-US" sz="1600" dirty="0"/>
              <a:t>IT monitoring service</a:t>
            </a:r>
          </a:p>
        </p:txBody>
      </p:sp>
      <p:pic>
        <p:nvPicPr>
          <p:cNvPr id="10" name="Picture 9">
            <a:extLst>
              <a:ext uri="{FF2B5EF4-FFF2-40B4-BE49-F238E27FC236}">
                <a16:creationId xmlns:a16="http://schemas.microsoft.com/office/drawing/2014/main" id="{2D2A3B25-C159-F2FE-D9C0-BF852C98F05F}"/>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152544" y="4065239"/>
            <a:ext cx="819115" cy="819115"/>
          </a:xfrm>
          <a:prstGeom prst="rect">
            <a:avLst/>
          </a:prstGeom>
          <a:noFill/>
          <a:ln w="3175">
            <a:noFill/>
            <a:prstDash val="dash"/>
          </a:ln>
        </p:spPr>
      </p:pic>
      <p:sp>
        <p:nvSpPr>
          <p:cNvPr id="11" name="ZoneTexte 5">
            <a:extLst>
              <a:ext uri="{FF2B5EF4-FFF2-40B4-BE49-F238E27FC236}">
                <a16:creationId xmlns:a16="http://schemas.microsoft.com/office/drawing/2014/main" id="{A52AAE26-5C27-8027-9F92-822AF4AEC2D2}"/>
              </a:ext>
            </a:extLst>
          </p:cNvPr>
          <p:cNvSpPr txBox="1"/>
          <p:nvPr/>
        </p:nvSpPr>
        <p:spPr>
          <a:xfrm>
            <a:off x="6102527" y="3804234"/>
            <a:ext cx="2700000" cy="1323439"/>
          </a:xfrm>
          <a:prstGeom prst="rect">
            <a:avLst/>
          </a:prstGeom>
          <a:solidFill>
            <a:srgbClr val="0070C0"/>
          </a:solidFill>
          <a:ln w="9525" cap="flat" cmpd="sng" algn="ctr">
            <a:noFill/>
            <a:prstDash val="solid"/>
          </a:ln>
          <a:effectLst/>
        </p:spPr>
        <p:txBody>
          <a:bodyPr wrap="square" anchor="b">
            <a:spAutoFit/>
          </a:bodyPr>
          <a:lstStyle>
            <a:defPPr>
              <a:defRPr lang="fr-FR"/>
            </a:defPPr>
            <a:lvl1pPr marR="0" lvl="0" indent="0" algn="ctr" fontAlgn="base">
              <a:lnSpc>
                <a:spcPct val="100000"/>
              </a:lnSpc>
              <a:spcBef>
                <a:spcPct val="0"/>
              </a:spcBef>
              <a:spcAft>
                <a:spcPct val="0"/>
              </a:spcAft>
              <a:buClrTx/>
              <a:buSzTx/>
              <a:buFontTx/>
              <a:buNone/>
              <a:tabLst/>
              <a:defRPr kumimoji="0" sz="1400" b="1" i="0" u="none" strike="noStrike" kern="0" cap="none" spc="0" normalizeH="0" baseline="0">
                <a:ln>
                  <a:noFill/>
                </a:ln>
                <a:solidFill>
                  <a:srgbClr val="FFFFFF"/>
                </a:solidFill>
                <a:effectLst/>
                <a:uLnTx/>
                <a:uFillTx/>
                <a:latin typeface="+mj-lt"/>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endParaRPr lang="en-US" sz="1600" dirty="0"/>
          </a:p>
          <a:p>
            <a:endParaRPr lang="en-US" sz="1600" dirty="0"/>
          </a:p>
          <a:p>
            <a:endParaRPr lang="en-US" sz="1600" dirty="0"/>
          </a:p>
          <a:p>
            <a:endParaRPr lang="en-US" sz="1600" dirty="0"/>
          </a:p>
          <a:p>
            <a:r>
              <a:rPr lang="en-US" sz="1600" dirty="0"/>
              <a:t>Financial Settlement</a:t>
            </a:r>
          </a:p>
        </p:txBody>
      </p:sp>
      <p:pic>
        <p:nvPicPr>
          <p:cNvPr id="12" name="Picture 11">
            <a:extLst>
              <a:ext uri="{FF2B5EF4-FFF2-40B4-BE49-F238E27FC236}">
                <a16:creationId xmlns:a16="http://schemas.microsoft.com/office/drawing/2014/main" id="{87A36061-F890-6BE0-7924-4D174BA1B03E}"/>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947305" y="3945918"/>
            <a:ext cx="1010444" cy="1010444"/>
          </a:xfrm>
          <a:prstGeom prst="rect">
            <a:avLst/>
          </a:prstGeom>
        </p:spPr>
      </p:pic>
      <p:sp>
        <p:nvSpPr>
          <p:cNvPr id="13" name="ZoneTexte 5">
            <a:extLst>
              <a:ext uri="{FF2B5EF4-FFF2-40B4-BE49-F238E27FC236}">
                <a16:creationId xmlns:a16="http://schemas.microsoft.com/office/drawing/2014/main" id="{4B780E39-774A-427C-E45C-7A7FBC01098B}"/>
              </a:ext>
            </a:extLst>
          </p:cNvPr>
          <p:cNvSpPr txBox="1"/>
          <p:nvPr/>
        </p:nvSpPr>
        <p:spPr>
          <a:xfrm>
            <a:off x="323528" y="2192784"/>
            <a:ext cx="4160371" cy="1323439"/>
          </a:xfrm>
          <a:prstGeom prst="rect">
            <a:avLst/>
          </a:prstGeom>
          <a:solidFill>
            <a:schemeClr val="tx2"/>
          </a:solidFill>
          <a:ln w="9525" cap="flat" cmpd="sng" algn="ctr">
            <a:noFill/>
            <a:prstDash val="solid"/>
          </a:ln>
          <a:effectLst/>
        </p:spPr>
        <p:txBody>
          <a:bodyPr wrap="square" anchor="b">
            <a:spAutoFit/>
          </a:bodyPr>
          <a:lstStyle>
            <a:defPPr>
              <a:defRPr lang="fr-FR"/>
            </a:defPPr>
            <a:lvl1pPr marR="0" lvl="0" indent="0" algn="ctr" fontAlgn="base">
              <a:lnSpc>
                <a:spcPct val="100000"/>
              </a:lnSpc>
              <a:spcBef>
                <a:spcPct val="0"/>
              </a:spcBef>
              <a:spcAft>
                <a:spcPct val="0"/>
              </a:spcAft>
              <a:buClrTx/>
              <a:buSzTx/>
              <a:buFontTx/>
              <a:buNone/>
              <a:tabLst/>
              <a:defRPr kumimoji="0" sz="1400" b="1" i="0" u="none" strike="noStrike" kern="0" cap="none" spc="0" normalizeH="0" baseline="0">
                <a:ln>
                  <a:noFill/>
                </a:ln>
                <a:solidFill>
                  <a:srgbClr val="FFFFFF"/>
                </a:solidFill>
                <a:effectLst/>
                <a:uLnTx/>
                <a:uFillTx/>
                <a:latin typeface="+mj-lt"/>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endParaRPr lang="en-US" sz="1600" dirty="0"/>
          </a:p>
          <a:p>
            <a:endParaRPr lang="en-US" sz="1600" dirty="0"/>
          </a:p>
          <a:p>
            <a:endParaRPr lang="en-US" sz="1600" dirty="0"/>
          </a:p>
          <a:p>
            <a:endParaRPr lang="en-US" sz="1600" dirty="0"/>
          </a:p>
          <a:p>
            <a:r>
              <a:rPr lang="en-US" sz="1600" dirty="0"/>
              <a:t>Optimization/Clearing algorithm</a:t>
            </a:r>
          </a:p>
        </p:txBody>
      </p:sp>
      <p:sp>
        <p:nvSpPr>
          <p:cNvPr id="14" name="ZoneTexte 5">
            <a:extLst>
              <a:ext uri="{FF2B5EF4-FFF2-40B4-BE49-F238E27FC236}">
                <a16:creationId xmlns:a16="http://schemas.microsoft.com/office/drawing/2014/main" id="{D8807F01-2AB7-15A5-2F1E-976F39251EBF}"/>
              </a:ext>
            </a:extLst>
          </p:cNvPr>
          <p:cNvSpPr txBox="1"/>
          <p:nvPr/>
        </p:nvSpPr>
        <p:spPr>
          <a:xfrm>
            <a:off x="4642155" y="2192784"/>
            <a:ext cx="4160371" cy="1323439"/>
          </a:xfrm>
          <a:prstGeom prst="rect">
            <a:avLst/>
          </a:prstGeom>
          <a:solidFill>
            <a:schemeClr val="tx2"/>
          </a:solidFill>
          <a:ln w="9525" cap="flat" cmpd="sng" algn="ctr">
            <a:noFill/>
            <a:prstDash val="solid"/>
          </a:ln>
          <a:effectLst/>
        </p:spPr>
        <p:txBody>
          <a:bodyPr wrap="square" anchor="b">
            <a:spAutoFit/>
          </a:bodyPr>
          <a:lstStyle>
            <a:defPPr>
              <a:defRPr lang="fr-FR"/>
            </a:defPPr>
            <a:lvl1pPr marR="0" lvl="0" indent="0" algn="ctr" fontAlgn="base">
              <a:lnSpc>
                <a:spcPct val="100000"/>
              </a:lnSpc>
              <a:spcBef>
                <a:spcPct val="0"/>
              </a:spcBef>
              <a:spcAft>
                <a:spcPct val="0"/>
              </a:spcAft>
              <a:buClrTx/>
              <a:buSzTx/>
              <a:buFontTx/>
              <a:buNone/>
              <a:tabLst/>
              <a:defRPr kumimoji="0" sz="1400" b="1" i="0" u="none" strike="noStrike" kern="0" cap="none" spc="0" normalizeH="0" baseline="0">
                <a:ln>
                  <a:noFill/>
                </a:ln>
                <a:solidFill>
                  <a:srgbClr val="FFFFFF"/>
                </a:solidFill>
                <a:effectLst/>
                <a:uLnTx/>
                <a:uFillTx/>
                <a:latin typeface="+mj-lt"/>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endParaRPr lang="en-US" sz="1600" dirty="0"/>
          </a:p>
          <a:p>
            <a:endParaRPr lang="en-US" sz="1600" dirty="0"/>
          </a:p>
          <a:p>
            <a:endParaRPr lang="en-US" sz="1600" dirty="0"/>
          </a:p>
          <a:p>
            <a:endParaRPr lang="en-US" sz="1600" dirty="0"/>
          </a:p>
          <a:p>
            <a:r>
              <a:rPr lang="en-US" sz="1600" dirty="0"/>
              <a:t>IT interface/data management</a:t>
            </a:r>
          </a:p>
        </p:txBody>
      </p:sp>
      <p:pic>
        <p:nvPicPr>
          <p:cNvPr id="15" name="Picture 14">
            <a:extLst>
              <a:ext uri="{FF2B5EF4-FFF2-40B4-BE49-F238E27FC236}">
                <a16:creationId xmlns:a16="http://schemas.microsoft.com/office/drawing/2014/main" id="{BBFA5828-3C39-0BC4-42C5-DE05C4FAB65B}"/>
              </a:ext>
            </a:extLst>
          </p:cNvPr>
          <p:cNvPicPr>
            <a:picLocks noChangeAspect="1"/>
          </p:cNvPicPr>
          <p:nvPr/>
        </p:nvPicPr>
        <p:blipFill>
          <a:blip r:embed="rId5" cstate="print">
            <a:duotone>
              <a:schemeClr val="bg2">
                <a:shade val="45000"/>
                <a:satMod val="135000"/>
              </a:schemeClr>
              <a:prstClr val="white"/>
            </a:duotone>
            <a:extLst>
              <a:ext uri="{BEBA8EAE-BF5A-486C-A8C5-ECC9F3942E4B}">
                <a14:imgProps xmlns:a14="http://schemas.microsoft.com/office/drawing/2010/main">
                  <a14:imgLayer r:embed="rId6">
                    <a14:imgEffect>
                      <a14:backgroundRemoval t="0" b="98667" l="0" r="100000">
                        <a14:foregroundMark x1="25333" y1="56000" x2="25333" y2="56000"/>
                        <a14:foregroundMark x1="59111" y1="56444" x2="59111" y2="56444"/>
                        <a14:backgroundMark x1="14667" y1="35111" x2="14667" y2="35111"/>
                        <a14:backgroundMark x1="18667" y1="36889" x2="16889" y2="18667"/>
                        <a14:backgroundMark x1="12000" y1="25333" x2="12000" y2="21778"/>
                      </a14:backgroundRemoval>
                    </a14:imgEffect>
                    <a14:imgEffect>
                      <a14:sharpenSoften amount="-50000"/>
                    </a14:imgEffect>
                    <a14:imgEffect>
                      <a14:saturation sat="0"/>
                    </a14:imgEffect>
                  </a14:imgLayer>
                </a14:imgProps>
              </a:ext>
              <a:ext uri="{28A0092B-C50C-407E-A947-70E740481C1C}">
                <a14:useLocalDpi xmlns:a14="http://schemas.microsoft.com/office/drawing/2010/main" val="0"/>
              </a:ext>
            </a:extLst>
          </a:blip>
          <a:stretch>
            <a:fillRect/>
          </a:stretch>
        </p:blipFill>
        <p:spPr>
          <a:xfrm>
            <a:off x="1950355" y="2438755"/>
            <a:ext cx="885281" cy="885281"/>
          </a:xfrm>
          <a:prstGeom prst="rect">
            <a:avLst/>
          </a:prstGeom>
        </p:spPr>
      </p:pic>
      <p:pic>
        <p:nvPicPr>
          <p:cNvPr id="16" name="Picture 15">
            <a:extLst>
              <a:ext uri="{FF2B5EF4-FFF2-40B4-BE49-F238E27FC236}">
                <a16:creationId xmlns:a16="http://schemas.microsoft.com/office/drawing/2014/main" id="{60F477C9-DAD6-3070-041C-EE698F1DD70C}"/>
              </a:ext>
            </a:extLst>
          </p:cNvPr>
          <p:cNvPicPr>
            <a:picLocks noChangeAspect="1"/>
          </p:cNvPicPr>
          <p:nvPr/>
        </p:nvPicPr>
        <p:blipFill>
          <a:blip r:embed="rId7">
            <a:duotone>
              <a:schemeClr val="bg2">
                <a:shade val="45000"/>
                <a:satMod val="135000"/>
              </a:schemeClr>
              <a:prstClr val="white"/>
            </a:duotone>
            <a:extLst>
              <a:ext uri="{BEBA8EAE-BF5A-486C-A8C5-ECC9F3942E4B}">
                <a14:imgProps xmlns:a14="http://schemas.microsoft.com/office/drawing/2010/main">
                  <a14:imgLayer r:embed="rId8">
                    <a14:imgEffect>
                      <a14:backgroundRemoval t="1333" b="100000" l="0" r="100000">
                        <a14:foregroundMark x1="26667" y1="39111" x2="26667" y2="39111"/>
                        <a14:foregroundMark x1="48444" y1="47556" x2="48444" y2="47556"/>
                        <a14:foregroundMark x1="70667" y1="27556" x2="70667" y2="27556"/>
                        <a14:foregroundMark x1="28889" y1="68000" x2="28889" y2="68000"/>
                        <a14:foregroundMark x1="22222" y1="80444" x2="22222" y2="80444"/>
                        <a14:foregroundMark x1="48889" y1="68000" x2="48889" y2="68000"/>
                        <a14:foregroundMark x1="79111" y1="27556" x2="79111" y2="27556"/>
                        <a14:foregroundMark x1="75111" y1="65778" x2="75111" y2="65778"/>
                        <a14:backgroundMark x1="40000" y1="30222" x2="40000" y2="30222"/>
                        <a14:backgroundMark x1="58222" y1="24889" x2="58222" y2="24889"/>
                        <a14:backgroundMark x1="10667" y1="6667" x2="7111" y2="64000"/>
                        <a14:backgroundMark x1="8444" y1="70667" x2="11111" y2="93333"/>
                        <a14:backgroundMark x1="23556" y1="93778" x2="69778" y2="92000"/>
                        <a14:backgroundMark x1="94667" y1="93333" x2="94667" y2="9333"/>
                        <a14:backgroundMark x1="37778" y1="8444" x2="86667" y2="4444"/>
                      </a14:backgroundRemoval>
                    </a14:imgEffect>
                    <a14:imgEffect>
                      <a14:brightnessContrast bright="-40000" contrast="-40000"/>
                    </a14:imgEffect>
                  </a14:imgLayer>
                </a14:imgProps>
              </a:ext>
            </a:extLst>
          </a:blip>
          <a:stretch>
            <a:fillRect/>
          </a:stretch>
        </p:blipFill>
        <p:spPr>
          <a:xfrm>
            <a:off x="6271113" y="2422353"/>
            <a:ext cx="973691" cy="973691"/>
          </a:xfrm>
          <a:prstGeom prst="rect">
            <a:avLst/>
          </a:prstGeom>
        </p:spPr>
      </p:pic>
      <p:sp>
        <p:nvSpPr>
          <p:cNvPr id="17" name="Rectangle 16">
            <a:extLst>
              <a:ext uri="{FF2B5EF4-FFF2-40B4-BE49-F238E27FC236}">
                <a16:creationId xmlns:a16="http://schemas.microsoft.com/office/drawing/2014/main" id="{87C11820-85CE-36D9-170A-912331B7CD68}"/>
              </a:ext>
            </a:extLst>
          </p:cNvPr>
          <p:cNvSpPr/>
          <p:nvPr/>
        </p:nvSpPr>
        <p:spPr>
          <a:xfrm>
            <a:off x="323527" y="2064720"/>
            <a:ext cx="4160372" cy="44147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Lot B1: Artelys (FR)</a:t>
            </a:r>
          </a:p>
        </p:txBody>
      </p:sp>
      <p:sp>
        <p:nvSpPr>
          <p:cNvPr id="18" name="Rectangle 17">
            <a:extLst>
              <a:ext uri="{FF2B5EF4-FFF2-40B4-BE49-F238E27FC236}">
                <a16:creationId xmlns:a16="http://schemas.microsoft.com/office/drawing/2014/main" id="{9241D68A-A5D4-5323-42F0-31AF47A5E1A0}"/>
              </a:ext>
            </a:extLst>
          </p:cNvPr>
          <p:cNvSpPr/>
          <p:nvPr/>
        </p:nvSpPr>
        <p:spPr>
          <a:xfrm>
            <a:off x="321674" y="3731904"/>
            <a:ext cx="2700001" cy="36036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t C: </a:t>
            </a:r>
            <a:r>
              <a:rPr lang="en-US" sz="1800" dirty="0"/>
              <a:t>:  Unicorn (CZ)</a:t>
            </a:r>
            <a:r>
              <a:rPr lang="en-US" dirty="0"/>
              <a:t>  </a:t>
            </a:r>
          </a:p>
        </p:txBody>
      </p:sp>
      <p:sp>
        <p:nvSpPr>
          <p:cNvPr id="19" name="Rectangle 18">
            <a:extLst>
              <a:ext uri="{FF2B5EF4-FFF2-40B4-BE49-F238E27FC236}">
                <a16:creationId xmlns:a16="http://schemas.microsoft.com/office/drawing/2014/main" id="{26B1F435-9E12-EFA7-79E0-3CC121EAF3B7}"/>
              </a:ext>
            </a:extLst>
          </p:cNvPr>
          <p:cNvSpPr/>
          <p:nvPr/>
        </p:nvSpPr>
        <p:spPr>
          <a:xfrm>
            <a:off x="3212099" y="3732226"/>
            <a:ext cx="2700002" cy="36036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t D: EPEX SPOT (NL)</a:t>
            </a:r>
          </a:p>
        </p:txBody>
      </p:sp>
      <p:sp>
        <p:nvSpPr>
          <p:cNvPr id="25" name="Rectangle 24">
            <a:extLst>
              <a:ext uri="{FF2B5EF4-FFF2-40B4-BE49-F238E27FC236}">
                <a16:creationId xmlns:a16="http://schemas.microsoft.com/office/drawing/2014/main" id="{6BC70A21-9884-2FE4-01E5-E44F7E136214}"/>
              </a:ext>
            </a:extLst>
          </p:cNvPr>
          <p:cNvSpPr/>
          <p:nvPr/>
        </p:nvSpPr>
        <p:spPr>
          <a:xfrm>
            <a:off x="918190" y="5372894"/>
            <a:ext cx="7271729" cy="36036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t F: Testing </a:t>
            </a:r>
          </a:p>
        </p:txBody>
      </p:sp>
      <p:sp>
        <p:nvSpPr>
          <p:cNvPr id="26" name="Rectangle 25">
            <a:extLst>
              <a:ext uri="{FF2B5EF4-FFF2-40B4-BE49-F238E27FC236}">
                <a16:creationId xmlns:a16="http://schemas.microsoft.com/office/drawing/2014/main" id="{38A364ED-99AE-E3A0-D9C8-E881C2A699CE}"/>
              </a:ext>
            </a:extLst>
          </p:cNvPr>
          <p:cNvSpPr/>
          <p:nvPr/>
        </p:nvSpPr>
        <p:spPr>
          <a:xfrm>
            <a:off x="4644008" y="2053650"/>
            <a:ext cx="4160372" cy="44147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Lot B2:  Unicorn (CZ)</a:t>
            </a:r>
          </a:p>
        </p:txBody>
      </p:sp>
      <p:sp>
        <p:nvSpPr>
          <p:cNvPr id="27" name="Rectangle 26">
            <a:extLst>
              <a:ext uri="{FF2B5EF4-FFF2-40B4-BE49-F238E27FC236}">
                <a16:creationId xmlns:a16="http://schemas.microsoft.com/office/drawing/2014/main" id="{20C5524F-D79C-5638-14D5-C5FE80F0E7D0}"/>
              </a:ext>
            </a:extLst>
          </p:cNvPr>
          <p:cNvSpPr/>
          <p:nvPr/>
        </p:nvSpPr>
        <p:spPr>
          <a:xfrm>
            <a:off x="6102525" y="3715154"/>
            <a:ext cx="2700001" cy="36036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t E: JAO (LX)</a:t>
            </a:r>
          </a:p>
        </p:txBody>
      </p:sp>
      <p:sp>
        <p:nvSpPr>
          <p:cNvPr id="29" name="TextBox 28">
            <a:extLst>
              <a:ext uri="{FF2B5EF4-FFF2-40B4-BE49-F238E27FC236}">
                <a16:creationId xmlns:a16="http://schemas.microsoft.com/office/drawing/2014/main" id="{2619DFAD-804F-65FE-480A-7F0239B77718}"/>
              </a:ext>
            </a:extLst>
          </p:cNvPr>
          <p:cNvSpPr txBox="1"/>
          <p:nvPr/>
        </p:nvSpPr>
        <p:spPr>
          <a:xfrm>
            <a:off x="285914" y="1174082"/>
            <a:ext cx="8552372" cy="461665"/>
          </a:xfrm>
          <a:prstGeom prst="rect">
            <a:avLst/>
          </a:prstGeom>
          <a:noFill/>
        </p:spPr>
        <p:txBody>
          <a:bodyPr wrap="square" rtlCol="0" anchor="t">
            <a:spAutoFit/>
          </a:bodyPr>
          <a:lstStyle/>
          <a:p>
            <a:pPr algn="just"/>
            <a:r>
              <a:rPr lang="en-US" sz="1200" dirty="0"/>
              <a:t>The TERRE project is divided in 6 different lots that cover all functionalities and services needed to implement and ensure the operations of the platform. </a:t>
            </a:r>
          </a:p>
        </p:txBody>
      </p:sp>
      <p:grpSp>
        <p:nvGrpSpPr>
          <p:cNvPr id="20" name="Group 19">
            <a:extLst>
              <a:ext uri="{FF2B5EF4-FFF2-40B4-BE49-F238E27FC236}">
                <a16:creationId xmlns:a16="http://schemas.microsoft.com/office/drawing/2014/main" id="{49D8D7C5-95C6-72F0-CC7D-DC6CB9CE8E1B}"/>
              </a:ext>
            </a:extLst>
          </p:cNvPr>
          <p:cNvGrpSpPr/>
          <p:nvPr/>
        </p:nvGrpSpPr>
        <p:grpSpPr>
          <a:xfrm>
            <a:off x="6747978" y="5812026"/>
            <a:ext cx="2304256" cy="261610"/>
            <a:chOff x="3203848" y="6407750"/>
            <a:chExt cx="2304256" cy="261610"/>
          </a:xfrm>
        </p:grpSpPr>
        <p:sp>
          <p:nvSpPr>
            <p:cNvPr id="21" name="TextBox 20">
              <a:extLst>
                <a:ext uri="{FF2B5EF4-FFF2-40B4-BE49-F238E27FC236}">
                  <a16:creationId xmlns:a16="http://schemas.microsoft.com/office/drawing/2014/main" id="{E8BC227B-A814-E565-4E94-65E1EAC1A5FC}"/>
                </a:ext>
              </a:extLst>
            </p:cNvPr>
            <p:cNvSpPr txBox="1"/>
            <p:nvPr/>
          </p:nvSpPr>
          <p:spPr>
            <a:xfrm>
              <a:off x="4658452" y="6407750"/>
              <a:ext cx="849652" cy="261610"/>
            </a:xfrm>
            <a:prstGeom prst="rect">
              <a:avLst/>
            </a:prstGeom>
            <a:noFill/>
          </p:spPr>
          <p:txBody>
            <a:bodyPr wrap="square" rtlCol="0">
              <a:spAutoFit/>
            </a:bodyPr>
            <a:lstStyle/>
            <a:p>
              <a:r>
                <a:rPr lang="en-US" sz="1100" dirty="0"/>
                <a:t>Services</a:t>
              </a:r>
            </a:p>
          </p:txBody>
        </p:sp>
        <p:sp>
          <p:nvSpPr>
            <p:cNvPr id="22" name="TextBox 21">
              <a:extLst>
                <a:ext uri="{FF2B5EF4-FFF2-40B4-BE49-F238E27FC236}">
                  <a16:creationId xmlns:a16="http://schemas.microsoft.com/office/drawing/2014/main" id="{62719D99-9061-1104-D314-69512BA56A70}"/>
                </a:ext>
              </a:extLst>
            </p:cNvPr>
            <p:cNvSpPr txBox="1"/>
            <p:nvPr/>
          </p:nvSpPr>
          <p:spPr>
            <a:xfrm>
              <a:off x="3355910" y="6407750"/>
              <a:ext cx="1000066" cy="261610"/>
            </a:xfrm>
            <a:prstGeom prst="rect">
              <a:avLst/>
            </a:prstGeom>
            <a:noFill/>
          </p:spPr>
          <p:txBody>
            <a:bodyPr wrap="square" rtlCol="0">
              <a:spAutoFit/>
            </a:bodyPr>
            <a:lstStyle/>
            <a:p>
              <a:r>
                <a:rPr lang="en-US" sz="1100" dirty="0"/>
                <a:t>Main modules</a:t>
              </a:r>
            </a:p>
          </p:txBody>
        </p:sp>
        <p:sp>
          <p:nvSpPr>
            <p:cNvPr id="23" name="Rectangle 22">
              <a:extLst>
                <a:ext uri="{FF2B5EF4-FFF2-40B4-BE49-F238E27FC236}">
                  <a16:creationId xmlns:a16="http://schemas.microsoft.com/office/drawing/2014/main" id="{4FF75C09-7541-0D92-AC3A-E1F03F30AD36}"/>
                </a:ext>
              </a:extLst>
            </p:cNvPr>
            <p:cNvSpPr/>
            <p:nvPr/>
          </p:nvSpPr>
          <p:spPr>
            <a:xfrm>
              <a:off x="4456647" y="6473713"/>
              <a:ext cx="187361" cy="1296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D562496A-D30B-6FDB-0BDE-EF5CF4B0426C}"/>
                </a:ext>
              </a:extLst>
            </p:cNvPr>
            <p:cNvSpPr/>
            <p:nvPr/>
          </p:nvSpPr>
          <p:spPr>
            <a:xfrm>
              <a:off x="3203848" y="6473713"/>
              <a:ext cx="187361" cy="129685"/>
            </a:xfrm>
            <a:prstGeom prst="rect">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Date Placeholder 1">
            <a:extLst>
              <a:ext uri="{FF2B5EF4-FFF2-40B4-BE49-F238E27FC236}">
                <a16:creationId xmlns:a16="http://schemas.microsoft.com/office/drawing/2014/main" id="{48E1CC45-EE3C-F31E-D04E-50DDECE790CF}"/>
              </a:ext>
            </a:extLst>
          </p:cNvPr>
          <p:cNvSpPr>
            <a:spLocks noGrp="1"/>
          </p:cNvSpPr>
          <p:nvPr>
            <p:ph type="dt" sz="half" idx="10"/>
          </p:nvPr>
        </p:nvSpPr>
        <p:spPr>
          <a:xfrm>
            <a:off x="457200" y="6356350"/>
            <a:ext cx="2133600" cy="365125"/>
          </a:xfrm>
        </p:spPr>
        <p:txBody>
          <a:bodyPr/>
          <a:lstStyle/>
          <a:p>
            <a:fld id="{0A7CBA9C-3313-448C-9E65-11E456116ACB}" type="datetime1">
              <a:rPr lang="fr-FR" smtClean="0"/>
              <a:t>23/04/2024</a:t>
            </a:fld>
            <a:endParaRPr lang="fr-FR" dirty="0"/>
          </a:p>
        </p:txBody>
      </p:sp>
    </p:spTree>
    <p:extLst>
      <p:ext uri="{BB962C8B-B14F-4D97-AF65-F5344CB8AC3E}">
        <p14:creationId xmlns:p14="http://schemas.microsoft.com/office/powerpoint/2010/main" val="41846326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C0A3FE-7C5F-8061-DB47-8473596CDD2B}"/>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938527DE-D0E1-BF97-6B5C-A31A686A710B}"/>
              </a:ext>
            </a:extLst>
          </p:cNvPr>
          <p:cNvSpPr>
            <a:spLocks noGrp="1"/>
          </p:cNvSpPr>
          <p:nvPr>
            <p:ph type="dt" sz="half" idx="10"/>
          </p:nvPr>
        </p:nvSpPr>
        <p:spPr/>
        <p:txBody>
          <a:bodyPr/>
          <a:lstStyle/>
          <a:p>
            <a:fld id="{0A7CBA9C-3313-448C-9E65-11E456116ACB}" type="datetime1">
              <a:rPr lang="fr-FR" smtClean="0"/>
              <a:t>23/04/2024</a:t>
            </a:fld>
            <a:endParaRPr lang="fr-FR"/>
          </a:p>
        </p:txBody>
      </p:sp>
      <p:sp>
        <p:nvSpPr>
          <p:cNvPr id="3" name="Slide Number Placeholder 2">
            <a:extLst>
              <a:ext uri="{FF2B5EF4-FFF2-40B4-BE49-F238E27FC236}">
                <a16:creationId xmlns:a16="http://schemas.microsoft.com/office/drawing/2014/main" id="{2BA34DCA-F5E0-7429-3B54-482499094C24}"/>
              </a:ext>
            </a:extLst>
          </p:cNvPr>
          <p:cNvSpPr>
            <a:spLocks noGrp="1"/>
          </p:cNvSpPr>
          <p:nvPr>
            <p:ph type="sldNum" sz="quarter" idx="12"/>
          </p:nvPr>
        </p:nvSpPr>
        <p:spPr/>
        <p:txBody>
          <a:bodyPr/>
          <a:lstStyle/>
          <a:p>
            <a:fld id="{6CA6A39B-2923-4814-8F57-BD84643AD2B4}" type="slidenum">
              <a:rPr lang="fr-FR" smtClean="0"/>
              <a:pPr/>
              <a:t>7</a:t>
            </a:fld>
            <a:endParaRPr lang="fr-FR"/>
          </a:p>
        </p:txBody>
      </p:sp>
      <p:sp>
        <p:nvSpPr>
          <p:cNvPr id="4" name="Title 3">
            <a:extLst>
              <a:ext uri="{FF2B5EF4-FFF2-40B4-BE49-F238E27FC236}">
                <a16:creationId xmlns:a16="http://schemas.microsoft.com/office/drawing/2014/main" id="{817F9E25-095B-6074-B902-5E255C09E35A}"/>
              </a:ext>
            </a:extLst>
          </p:cNvPr>
          <p:cNvSpPr>
            <a:spLocks noGrp="1"/>
          </p:cNvSpPr>
          <p:nvPr>
            <p:ph type="ctrTitle"/>
          </p:nvPr>
        </p:nvSpPr>
        <p:spPr/>
        <p:txBody>
          <a:bodyPr/>
          <a:lstStyle/>
          <a:p>
            <a:r>
              <a:rPr lang="en-GB" dirty="0"/>
              <a:t>Topic 2: Future of the TERRE project</a:t>
            </a:r>
          </a:p>
        </p:txBody>
      </p:sp>
    </p:spTree>
    <p:extLst>
      <p:ext uri="{BB962C8B-B14F-4D97-AF65-F5344CB8AC3E}">
        <p14:creationId xmlns:p14="http://schemas.microsoft.com/office/powerpoint/2010/main" val="7729032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FAFAF-D484-48EC-9831-D5945E558298}"/>
              </a:ext>
            </a:extLst>
          </p:cNvPr>
          <p:cNvSpPr>
            <a:spLocks noGrp="1"/>
          </p:cNvSpPr>
          <p:nvPr>
            <p:ph type="title"/>
          </p:nvPr>
        </p:nvSpPr>
        <p:spPr/>
        <p:txBody>
          <a:bodyPr/>
          <a:lstStyle/>
          <a:p>
            <a:r>
              <a:rPr lang="en-US" dirty="0"/>
              <a:t>Information on the future of the project</a:t>
            </a:r>
            <a:endParaRPr lang="en-GB" dirty="0"/>
          </a:p>
        </p:txBody>
      </p:sp>
      <p:sp>
        <p:nvSpPr>
          <p:cNvPr id="5" name="Slide Number Placeholder 4">
            <a:extLst>
              <a:ext uri="{FF2B5EF4-FFF2-40B4-BE49-F238E27FC236}">
                <a16:creationId xmlns:a16="http://schemas.microsoft.com/office/drawing/2014/main" id="{CFF62232-DE18-4856-BC3F-A463C7430821}"/>
              </a:ext>
            </a:extLst>
          </p:cNvPr>
          <p:cNvSpPr>
            <a:spLocks noGrp="1"/>
          </p:cNvSpPr>
          <p:nvPr>
            <p:ph type="sldNum" sz="quarter" idx="12"/>
          </p:nvPr>
        </p:nvSpPr>
        <p:spPr/>
        <p:txBody>
          <a:bodyPr/>
          <a:lstStyle/>
          <a:p>
            <a:fld id="{6CA6A39B-2923-4814-8F57-BD84643AD2B4}" type="slidenum">
              <a:rPr lang="fr-FR" smtClean="0"/>
              <a:pPr/>
              <a:t>8</a:t>
            </a:fld>
            <a:endParaRPr lang="fr-FR" dirty="0"/>
          </a:p>
        </p:txBody>
      </p:sp>
      <p:sp>
        <p:nvSpPr>
          <p:cNvPr id="6" name="Text Placeholder 5">
            <a:extLst>
              <a:ext uri="{FF2B5EF4-FFF2-40B4-BE49-F238E27FC236}">
                <a16:creationId xmlns:a16="http://schemas.microsoft.com/office/drawing/2014/main" id="{41B01113-3305-4FEF-98D2-0DCB1A28B24E}"/>
              </a:ext>
            </a:extLst>
          </p:cNvPr>
          <p:cNvSpPr>
            <a:spLocks noGrp="1"/>
          </p:cNvSpPr>
          <p:nvPr>
            <p:ph type="body" sz="quarter" idx="13"/>
          </p:nvPr>
        </p:nvSpPr>
        <p:spPr/>
        <p:txBody>
          <a:bodyPr vert="horz" lIns="91440" tIns="45720" rIns="91440" bIns="45720" rtlCol="0" anchor="t">
            <a:noAutofit/>
          </a:bodyPr>
          <a:lstStyle/>
          <a:p>
            <a:r>
              <a:rPr lang="en-US" dirty="0"/>
              <a:t>Reminder on the legal context that frames the switch to 96 clearings</a:t>
            </a:r>
            <a:endParaRPr lang="en-US" dirty="0">
              <a:cs typeface="Calibri"/>
            </a:endParaRPr>
          </a:p>
          <a:p>
            <a:endParaRPr lang="en-US" dirty="0">
              <a:cs typeface="Calibri"/>
            </a:endParaRPr>
          </a:p>
        </p:txBody>
      </p:sp>
      <p:sp>
        <p:nvSpPr>
          <p:cNvPr id="3" name="Rectangle 1">
            <a:extLst>
              <a:ext uri="{FF2B5EF4-FFF2-40B4-BE49-F238E27FC236}">
                <a16:creationId xmlns:a16="http://schemas.microsoft.com/office/drawing/2014/main" id="{C380070B-A2B8-4A57-94C7-2CBE3E93CEB5}"/>
              </a:ext>
            </a:extLst>
          </p:cNvPr>
          <p:cNvSpPr>
            <a:spLocks noChangeArrowheads="1"/>
          </p:cNvSpPr>
          <p:nvPr/>
        </p:nvSpPr>
        <p:spPr bwMode="auto">
          <a:xfrm>
            <a:off x="0" y="-323165"/>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8" name="Date Placeholder 1">
            <a:extLst>
              <a:ext uri="{FF2B5EF4-FFF2-40B4-BE49-F238E27FC236}">
                <a16:creationId xmlns:a16="http://schemas.microsoft.com/office/drawing/2014/main" id="{CF3E491C-24C3-4781-B19C-B6A08EBEF640}"/>
              </a:ext>
            </a:extLst>
          </p:cNvPr>
          <p:cNvSpPr>
            <a:spLocks noGrp="1"/>
          </p:cNvSpPr>
          <p:nvPr>
            <p:ph type="dt" sz="half" idx="10"/>
          </p:nvPr>
        </p:nvSpPr>
        <p:spPr>
          <a:xfrm>
            <a:off x="457200" y="6356350"/>
            <a:ext cx="2133600" cy="365125"/>
          </a:xfrm>
        </p:spPr>
        <p:txBody>
          <a:bodyPr/>
          <a:lstStyle/>
          <a:p>
            <a:fld id="{0A7CBA9C-3313-448C-9E65-11E456116ACB}" type="datetime1">
              <a:rPr lang="fr-FR" smtClean="0"/>
              <a:t>23/04/2024</a:t>
            </a:fld>
            <a:endParaRPr lang="fr-FR" dirty="0"/>
          </a:p>
        </p:txBody>
      </p:sp>
      <p:sp>
        <p:nvSpPr>
          <p:cNvPr id="4" name="Content Placeholder 6">
            <a:extLst>
              <a:ext uri="{FF2B5EF4-FFF2-40B4-BE49-F238E27FC236}">
                <a16:creationId xmlns:a16="http://schemas.microsoft.com/office/drawing/2014/main" id="{84B1B900-1577-2D28-C06C-4391011436C6}"/>
              </a:ext>
            </a:extLst>
          </p:cNvPr>
          <p:cNvSpPr txBox="1">
            <a:spLocks/>
          </p:cNvSpPr>
          <p:nvPr/>
        </p:nvSpPr>
        <p:spPr>
          <a:xfrm>
            <a:off x="176697" y="983635"/>
            <a:ext cx="8749079" cy="4952611"/>
          </a:xfrm>
          <a:prstGeom prst="rect">
            <a:avLst/>
          </a:prstGeom>
          <a:noFill/>
          <a:ln>
            <a:noFill/>
          </a:ln>
        </p:spPr>
        <p:txBody>
          <a:bodyPr vert="horz" lIns="91440" tIns="45720" rIns="91440" bIns="45720" rtlCol="0" anchor="t">
            <a:normAutofit/>
          </a:bodyPr>
          <a:lstStyle>
            <a:lvl1pPr marL="342900" indent="-342900" algn="l" defTabSz="914400" rtl="0" eaLnBrk="1" latinLnBrk="0" hangingPunct="1">
              <a:spcBef>
                <a:spcPct val="20000"/>
              </a:spcBef>
              <a:buClr>
                <a:schemeClr val="tx2"/>
              </a:buClr>
              <a:buFont typeface="Wingdings" panose="05000000000000000000" pitchFamily="2" charset="2"/>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 lvl="1" indent="0" algn="just">
              <a:buClr>
                <a:srgbClr val="1F497D"/>
              </a:buClr>
              <a:buNone/>
            </a:pPr>
            <a:r>
              <a:rPr lang="en-US" sz="1400" b="1" dirty="0">
                <a:solidFill>
                  <a:schemeClr val="tx2"/>
                </a:solidFill>
                <a:latin typeface="+mj-lt"/>
                <a:cs typeface="Times New Roman" panose="02020603050405020304" pitchFamily="18" charset="0"/>
              </a:rPr>
              <a:t>Legal context</a:t>
            </a:r>
          </a:p>
          <a:p>
            <a:pPr marL="457200" algn="just">
              <a:buClr>
                <a:srgbClr val="1F497D"/>
              </a:buClr>
              <a:buFont typeface="Arial" panose="020B0604020202020204" pitchFamily="34" charset="0"/>
              <a:buChar char="•"/>
            </a:pPr>
            <a:r>
              <a:rPr lang="en-US" sz="1200" dirty="0">
                <a:latin typeface="+mj-lt"/>
              </a:rPr>
              <a:t>Today the RR process consists of </a:t>
            </a:r>
            <a:r>
              <a:rPr lang="en-US" sz="1200" b="1" dirty="0">
                <a:latin typeface="+mj-lt"/>
              </a:rPr>
              <a:t>24 daily gates with 24 clearings per day</a:t>
            </a:r>
            <a:r>
              <a:rPr lang="en-US" sz="1200" dirty="0">
                <a:latin typeface="+mj-lt"/>
              </a:rPr>
              <a:t>. This design was mainly chosen because, at the time of the introduction of the RR platform, the cross-border scheduling step was 60 minutes on most borders.</a:t>
            </a:r>
            <a:endParaRPr lang="en-US" sz="1200" dirty="0">
              <a:latin typeface="+mj-lt"/>
              <a:cs typeface="Calibri"/>
            </a:endParaRPr>
          </a:p>
          <a:p>
            <a:pPr marL="457200" algn="just">
              <a:buClr>
                <a:srgbClr val="1F497D"/>
              </a:buClr>
              <a:buFont typeface="Arial" panose="020B0604020202020204" pitchFamily="34" charset="0"/>
              <a:buChar char="•"/>
            </a:pPr>
            <a:r>
              <a:rPr lang="en-US" sz="1200" dirty="0">
                <a:latin typeface="+mj-lt"/>
              </a:rPr>
              <a:t>The legal framework prescribes the following changes:</a:t>
            </a:r>
          </a:p>
          <a:p>
            <a:pPr marL="857250" lvl="1" algn="just">
              <a:buClr>
                <a:srgbClr val="1F497D"/>
              </a:buClr>
              <a:buFont typeface="Arial" panose="020B0604020202020204" pitchFamily="34" charset="0"/>
              <a:buChar char="•"/>
            </a:pPr>
            <a:r>
              <a:rPr lang="en-US" sz="1200" dirty="0">
                <a:latin typeface="+mj-lt"/>
              </a:rPr>
              <a:t>According to the current IF, the </a:t>
            </a:r>
            <a:r>
              <a:rPr lang="en-US" sz="1200" b="1" dirty="0">
                <a:latin typeface="+mj-lt"/>
              </a:rPr>
              <a:t>cross-border scheduling step (XB SS) must be reduced to 15 minutes,</a:t>
            </a:r>
            <a:r>
              <a:rPr lang="en-US" sz="1200" dirty="0">
                <a:latin typeface="+mj-lt"/>
              </a:rPr>
              <a:t> on all borders. That would allow an increase in the number of daily gates for the RR process. (RR IF article 11.5)</a:t>
            </a:r>
          </a:p>
          <a:p>
            <a:pPr marL="857250" lvl="1" algn="just">
              <a:buClr>
                <a:srgbClr val="1F497D"/>
              </a:buClr>
              <a:buFont typeface="Arial" panose="020B0604020202020204" pitchFamily="34" charset="0"/>
              <a:buChar char="•"/>
            </a:pPr>
            <a:r>
              <a:rPr lang="en-US" sz="1200" dirty="0">
                <a:latin typeface="+mj-lt"/>
              </a:rPr>
              <a:t>Together with the reduction of the cross-border scheduling step, EBGL also prescribes </a:t>
            </a:r>
            <a:r>
              <a:rPr lang="en-US" sz="1200" b="1" dirty="0">
                <a:latin typeface="+mj-lt"/>
              </a:rPr>
              <a:t>a combined reduction of the market time unit (MTU) and the Imbalance Settlement Period </a:t>
            </a:r>
            <a:r>
              <a:rPr lang="en-US" sz="1200" dirty="0">
                <a:latin typeface="+mj-lt"/>
              </a:rPr>
              <a:t>on both balancing markets and energy markets (EBGL Art 53(1)).</a:t>
            </a:r>
          </a:p>
          <a:p>
            <a:pPr marL="857250" lvl="1" algn="just">
              <a:buClr>
                <a:srgbClr val="1F497D"/>
              </a:buClr>
              <a:buFont typeface="Arial" panose="020B0604020202020204" pitchFamily="34" charset="0"/>
              <a:buChar char="•"/>
            </a:pPr>
            <a:r>
              <a:rPr lang="en-US" sz="1200" dirty="0">
                <a:latin typeface="+mj-lt"/>
              </a:rPr>
              <a:t>The RR platform already allows the use of a 15-minute MTU, while only performing 24 daily clearings. On the other hand, </a:t>
            </a:r>
            <a:r>
              <a:rPr lang="en-US" sz="1200" b="1" dirty="0">
                <a:latin typeface="+mj-lt"/>
              </a:rPr>
              <a:t>the number of daily gates for the cross-zonal intraday</a:t>
            </a:r>
            <a:r>
              <a:rPr lang="en-US" sz="1200" dirty="0">
                <a:latin typeface="+mj-lt"/>
              </a:rPr>
              <a:t> </a:t>
            </a:r>
            <a:r>
              <a:rPr lang="en-US" sz="1200" b="1" dirty="0">
                <a:latin typeface="+mj-lt"/>
              </a:rPr>
              <a:t>will increase to 96 gates in the future </a:t>
            </a:r>
            <a:r>
              <a:rPr lang="en-US" sz="1200" dirty="0">
                <a:latin typeface="+mj-lt"/>
              </a:rPr>
              <a:t>(Article 8 of Reg.(EU) 2019/943).</a:t>
            </a:r>
          </a:p>
          <a:p>
            <a:pPr marL="857250" lvl="1" algn="just">
              <a:buClr>
                <a:srgbClr val="1F497D"/>
              </a:buClr>
              <a:buFont typeface="Arial" panose="020B0604020202020204" pitchFamily="34" charset="0"/>
              <a:buChar char="•"/>
            </a:pPr>
            <a:r>
              <a:rPr lang="en-US" sz="1200" dirty="0">
                <a:latin typeface="+mj-lt"/>
              </a:rPr>
              <a:t>Also, as set by the art. 24.2(b) of EBGL, the </a:t>
            </a:r>
            <a:r>
              <a:rPr lang="en-US" sz="1200" b="1" dirty="0">
                <a:latin typeface="+mj-lt"/>
              </a:rPr>
              <a:t>balancing energy gate closure time shall not be before the intraday cross-zonal gate closure time</a:t>
            </a:r>
          </a:p>
          <a:p>
            <a:pPr marL="571500" lvl="1" indent="0" algn="just">
              <a:buClr>
                <a:srgbClr val="1F497D"/>
              </a:buClr>
              <a:buNone/>
            </a:pPr>
            <a:endParaRPr lang="en-US" sz="500" b="1" dirty="0">
              <a:latin typeface="+mj-lt"/>
            </a:endParaRPr>
          </a:p>
          <a:p>
            <a:pPr indent="-171450" algn="just">
              <a:buClr>
                <a:srgbClr val="1F497D"/>
              </a:buClr>
              <a:buFont typeface="Wingdings" panose="05000000000000000000" pitchFamily="2" charset="2"/>
              <a:buChar char="Ø"/>
            </a:pPr>
            <a:r>
              <a:rPr lang="en-US" sz="1200" dirty="0">
                <a:latin typeface="+mj-lt"/>
              </a:rPr>
              <a:t> Therefore, </a:t>
            </a:r>
            <a:r>
              <a:rPr lang="en-US" sz="1200" b="1" dirty="0">
                <a:latin typeface="+mj-lt"/>
              </a:rPr>
              <a:t>the new number of intraday gates necessarily leads to an increase in the number of daily gates for the RR process to 96 clearings.</a:t>
            </a:r>
          </a:p>
          <a:p>
            <a:pPr marL="171450" indent="0" algn="just">
              <a:buClr>
                <a:srgbClr val="1F497D"/>
              </a:buClr>
              <a:buNone/>
            </a:pPr>
            <a:endParaRPr lang="en-US" sz="1200" b="1" dirty="0">
              <a:solidFill>
                <a:srgbClr val="595959"/>
              </a:solidFill>
              <a:latin typeface="+mj-lt"/>
            </a:endParaRPr>
          </a:p>
          <a:p>
            <a:pPr marL="57150" lvl="1" indent="0" algn="just">
              <a:buClr>
                <a:srgbClr val="1F497D"/>
              </a:buClr>
              <a:buNone/>
            </a:pPr>
            <a:r>
              <a:rPr lang="en-US" sz="1400" b="1" dirty="0">
                <a:solidFill>
                  <a:schemeClr val="tx2"/>
                </a:solidFill>
                <a:latin typeface="+mj-lt"/>
                <a:cs typeface="Times New Roman" panose="02020603050405020304" pitchFamily="18" charset="0"/>
              </a:rPr>
              <a:t>Public survey (29/05/2023 to 07/07/2023)</a:t>
            </a:r>
          </a:p>
          <a:p>
            <a:pPr marL="57150" lvl="1" indent="0" algn="just">
              <a:buClr>
                <a:srgbClr val="1F497D"/>
              </a:buClr>
              <a:buNone/>
            </a:pPr>
            <a:r>
              <a:rPr lang="en-US" sz="1200" dirty="0">
                <a:latin typeface="+mj-lt"/>
              </a:rPr>
              <a:t>To move forward on the implementation of 96 clearings in the TERRE platform and ensure the future RR process will stay interesting for stakeholders, TSOs launched a public survey to gather feedback on several possible design</a:t>
            </a:r>
            <a:r>
              <a:rPr lang="cs-CZ" sz="1200" dirty="0">
                <a:latin typeface="+mj-lt"/>
              </a:rPr>
              <a:t> option</a:t>
            </a:r>
            <a:r>
              <a:rPr lang="en-US" sz="1200" dirty="0">
                <a:latin typeface="+mj-lt"/>
              </a:rPr>
              <a:t>s of the RR process.</a:t>
            </a:r>
            <a:endParaRPr lang="en-US" sz="1200" dirty="0">
              <a:latin typeface="+mj-lt"/>
              <a:cs typeface="Calibri"/>
            </a:endParaRPr>
          </a:p>
          <a:p>
            <a:pPr marL="57150" lvl="1" indent="0" algn="just">
              <a:buClr>
                <a:srgbClr val="1F497D"/>
              </a:buClr>
              <a:buNone/>
            </a:pPr>
            <a:endParaRPr lang="en-US" sz="1200" b="1" dirty="0">
              <a:latin typeface="+mj-lt"/>
              <a:cs typeface="Times New Roman" panose="02020603050405020304" pitchFamily="18" charset="0"/>
            </a:endParaRPr>
          </a:p>
          <a:p>
            <a:pPr marL="57150" lvl="1" indent="0" algn="just">
              <a:buClr>
                <a:srgbClr val="1F497D"/>
              </a:buClr>
              <a:buNone/>
            </a:pPr>
            <a:r>
              <a:rPr lang="cs-CZ" sz="1200" dirty="0">
                <a:latin typeface="+mj-lt"/>
              </a:rPr>
              <a:t>The results of the public survey indicate that option 2, 96 daily gates with reduced timings, seemed to be the best compromise, yet not very attractive for stakeholders (perhaps because of similarities with MARI). </a:t>
            </a:r>
            <a:endParaRPr lang="en-US" sz="1200" dirty="0">
              <a:latin typeface="+mj-lt"/>
            </a:endParaRPr>
          </a:p>
        </p:txBody>
      </p:sp>
    </p:spTree>
    <p:extLst>
      <p:ext uri="{BB962C8B-B14F-4D97-AF65-F5344CB8AC3E}">
        <p14:creationId xmlns:p14="http://schemas.microsoft.com/office/powerpoint/2010/main" val="40641036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FAFAF-D484-48EC-9831-D5945E558298}"/>
              </a:ext>
            </a:extLst>
          </p:cNvPr>
          <p:cNvSpPr>
            <a:spLocks noGrp="1"/>
          </p:cNvSpPr>
          <p:nvPr>
            <p:ph type="title"/>
          </p:nvPr>
        </p:nvSpPr>
        <p:spPr/>
        <p:txBody>
          <a:bodyPr/>
          <a:lstStyle/>
          <a:p>
            <a:r>
              <a:rPr lang="en-US" dirty="0"/>
              <a:t>Information about the future of the project</a:t>
            </a:r>
            <a:endParaRPr lang="en-GB" dirty="0"/>
          </a:p>
        </p:txBody>
      </p:sp>
      <p:sp>
        <p:nvSpPr>
          <p:cNvPr id="5" name="Slide Number Placeholder 4">
            <a:extLst>
              <a:ext uri="{FF2B5EF4-FFF2-40B4-BE49-F238E27FC236}">
                <a16:creationId xmlns:a16="http://schemas.microsoft.com/office/drawing/2014/main" id="{CFF62232-DE18-4856-BC3F-A463C7430821}"/>
              </a:ext>
            </a:extLst>
          </p:cNvPr>
          <p:cNvSpPr>
            <a:spLocks noGrp="1"/>
          </p:cNvSpPr>
          <p:nvPr>
            <p:ph type="sldNum" sz="quarter" idx="12"/>
          </p:nvPr>
        </p:nvSpPr>
        <p:spPr/>
        <p:txBody>
          <a:bodyPr/>
          <a:lstStyle/>
          <a:p>
            <a:fld id="{6CA6A39B-2923-4814-8F57-BD84643AD2B4}" type="slidenum">
              <a:rPr lang="fr-FR" smtClean="0"/>
              <a:pPr/>
              <a:t>9</a:t>
            </a:fld>
            <a:endParaRPr lang="fr-FR" dirty="0"/>
          </a:p>
        </p:txBody>
      </p:sp>
      <p:sp>
        <p:nvSpPr>
          <p:cNvPr id="6" name="Text Placeholder 5">
            <a:extLst>
              <a:ext uri="{FF2B5EF4-FFF2-40B4-BE49-F238E27FC236}">
                <a16:creationId xmlns:a16="http://schemas.microsoft.com/office/drawing/2014/main" id="{41B01113-3305-4FEF-98D2-0DCB1A28B24E}"/>
              </a:ext>
            </a:extLst>
          </p:cNvPr>
          <p:cNvSpPr>
            <a:spLocks noGrp="1"/>
          </p:cNvSpPr>
          <p:nvPr>
            <p:ph type="body" sz="quarter" idx="13"/>
          </p:nvPr>
        </p:nvSpPr>
        <p:spPr/>
        <p:txBody>
          <a:bodyPr vert="horz" lIns="91440" tIns="45720" rIns="91440" bIns="45720" rtlCol="0" anchor="t">
            <a:noAutofit/>
          </a:bodyPr>
          <a:lstStyle/>
          <a:p>
            <a:r>
              <a:rPr lang="en-US" dirty="0"/>
              <a:t>Forced short lifetime of the project (EMDR)</a:t>
            </a:r>
            <a:endParaRPr lang="en-US" dirty="0">
              <a:cs typeface="Calibri"/>
            </a:endParaRPr>
          </a:p>
          <a:p>
            <a:endParaRPr lang="en-US" dirty="0">
              <a:cs typeface="Calibri"/>
            </a:endParaRPr>
          </a:p>
        </p:txBody>
      </p:sp>
      <p:sp>
        <p:nvSpPr>
          <p:cNvPr id="11" name="Content Placeholder 10">
            <a:extLst>
              <a:ext uri="{FF2B5EF4-FFF2-40B4-BE49-F238E27FC236}">
                <a16:creationId xmlns:a16="http://schemas.microsoft.com/office/drawing/2014/main" id="{B687894F-D645-43B8-8CA8-C0B1955F25FE}"/>
              </a:ext>
            </a:extLst>
          </p:cNvPr>
          <p:cNvSpPr>
            <a:spLocks noGrp="1"/>
          </p:cNvSpPr>
          <p:nvPr>
            <p:ph idx="1"/>
          </p:nvPr>
        </p:nvSpPr>
        <p:spPr>
          <a:xfrm>
            <a:off x="323528" y="1083789"/>
            <a:ext cx="8496944" cy="5729587"/>
          </a:xfrm>
        </p:spPr>
        <p:txBody>
          <a:bodyPr vert="horz" lIns="91440" tIns="45720" rIns="91440" bIns="45720" rtlCol="0" anchor="t">
            <a:normAutofit lnSpcReduction="10000"/>
          </a:bodyPr>
          <a:lstStyle/>
          <a:p>
            <a:pPr marL="0" lvl="1" indent="0" eaLnBrk="0" fontAlgn="base" hangingPunct="0">
              <a:spcBef>
                <a:spcPct val="0"/>
              </a:spcBef>
              <a:spcAft>
                <a:spcPct val="0"/>
              </a:spcAft>
              <a:buNone/>
            </a:pPr>
            <a:r>
              <a:rPr lang="en-US" sz="1400" i="1" dirty="0">
                <a:solidFill>
                  <a:srgbClr val="000000"/>
                </a:solidFill>
                <a:latin typeface="Calibri" panose="020F0502020204030204" pitchFamily="34" charset="0"/>
              </a:rPr>
              <a:t>After months of continuous exchanges with RR NRAs, </a:t>
            </a:r>
            <a:r>
              <a:rPr lang="en-US" sz="1400" b="1" i="1" u="sng" dirty="0">
                <a:solidFill>
                  <a:srgbClr val="000000"/>
                </a:solidFill>
                <a:latin typeface="Calibri" panose="020F0502020204030204" pitchFamily="34" charset="0"/>
              </a:rPr>
              <a:t>TERRE TSOs decided to not implement 96 clearings in the TERRE platform,</a:t>
            </a:r>
            <a:r>
              <a:rPr lang="en-US" sz="1400" i="1" dirty="0">
                <a:solidFill>
                  <a:srgbClr val="000000"/>
                </a:solidFill>
                <a:latin typeface="Calibri" panose="020F0502020204030204" pitchFamily="34" charset="0"/>
              </a:rPr>
              <a:t> because of the following three main reasons:</a:t>
            </a:r>
            <a:endParaRPr lang="en-US" sz="1400" b="1" i="1" u="sng" dirty="0">
              <a:solidFill>
                <a:srgbClr val="000000"/>
              </a:solidFill>
              <a:latin typeface="Calibri" panose="020F0502020204030204" pitchFamily="34" charset="0"/>
            </a:endParaRPr>
          </a:p>
          <a:p>
            <a:pPr marL="0" lvl="1" indent="0" eaLnBrk="0" fontAlgn="base" hangingPunct="0">
              <a:spcBef>
                <a:spcPct val="0"/>
              </a:spcBef>
              <a:spcAft>
                <a:spcPct val="0"/>
              </a:spcAft>
              <a:buNone/>
            </a:pPr>
            <a:endParaRPr lang="en-US" sz="1200" i="1" dirty="0">
              <a:solidFill>
                <a:srgbClr val="000000"/>
              </a:solidFill>
              <a:latin typeface="Calibri" panose="020F0502020204030204" pitchFamily="34" charset="0"/>
            </a:endParaRPr>
          </a:p>
          <a:p>
            <a:pPr marL="285750" lvl="1" eaLnBrk="0" fontAlgn="base" hangingPunct="0">
              <a:spcBef>
                <a:spcPct val="0"/>
              </a:spcBef>
              <a:spcAft>
                <a:spcPct val="0"/>
              </a:spcAft>
              <a:buFont typeface="Wingdings" panose="05000000000000000000" pitchFamily="2" charset="2"/>
              <a:buChar char="§"/>
            </a:pPr>
            <a:r>
              <a:rPr lang="en-US" sz="1400" b="1" dirty="0">
                <a:solidFill>
                  <a:schemeClr val="tx2"/>
                </a:solidFill>
                <a:latin typeface="+mj-lt"/>
                <a:cs typeface="Times New Roman" panose="02020603050405020304" pitchFamily="18" charset="0"/>
              </a:rPr>
              <a:t>The forced short lifetime of the project (Electricity Market Design Regulation (EMDR))</a:t>
            </a:r>
          </a:p>
          <a:p>
            <a:pPr marL="342900" lvl="1" indent="-342900">
              <a:spcBef>
                <a:spcPts val="600"/>
              </a:spcBef>
              <a:buClr>
                <a:schemeClr val="tx2"/>
              </a:buClr>
              <a:buFont typeface="Arial" panose="020B0604020202020204" pitchFamily="34" charset="0"/>
              <a:buChar char="•"/>
            </a:pPr>
            <a:r>
              <a:rPr lang="en-GB" sz="1200" dirty="0">
                <a:latin typeface="+mj-lt"/>
              </a:rPr>
              <a:t>A new EMDR (Electricity Market Design Regulation) has been adopted. In this new text, there is a change which is highly impacting TERRE:</a:t>
            </a:r>
          </a:p>
          <a:p>
            <a:pPr marL="857250" lvl="2" indent="0">
              <a:buNone/>
            </a:pPr>
            <a:r>
              <a:rPr lang="en-US" sz="1200" dirty="0">
                <a:solidFill>
                  <a:srgbClr val="000000"/>
                </a:solidFill>
                <a:effectLst/>
                <a:latin typeface="+mj-lt"/>
                <a:ea typeface="Calibri" panose="020F0502020204030204" pitchFamily="34" charset="0"/>
              </a:rPr>
              <a:t>(5) Article 8 is amended as follows: </a:t>
            </a:r>
            <a:endParaRPr lang="fr-FR" sz="1200" dirty="0">
              <a:solidFill>
                <a:srgbClr val="000000"/>
              </a:solidFill>
              <a:effectLst/>
              <a:latin typeface="+mj-lt"/>
              <a:ea typeface="Calibri" panose="020F0502020204030204" pitchFamily="34" charset="0"/>
            </a:endParaRPr>
          </a:p>
          <a:p>
            <a:pPr marL="857250" lvl="2" indent="0">
              <a:buNone/>
            </a:pPr>
            <a:r>
              <a:rPr lang="en-US" sz="1200" dirty="0">
                <a:solidFill>
                  <a:srgbClr val="000000"/>
                </a:solidFill>
                <a:effectLst/>
                <a:latin typeface="+mj-lt"/>
                <a:ea typeface="Calibri" panose="020F0502020204030204" pitchFamily="34" charset="0"/>
              </a:rPr>
              <a:t>(a) paragraph 1 is replaced by the following: </a:t>
            </a:r>
            <a:endParaRPr lang="fr-FR" sz="1200" dirty="0">
              <a:solidFill>
                <a:srgbClr val="000000"/>
              </a:solidFill>
              <a:effectLst/>
              <a:latin typeface="+mj-lt"/>
              <a:ea typeface="Calibri" panose="020F0502020204030204" pitchFamily="34" charset="0"/>
            </a:endParaRPr>
          </a:p>
          <a:p>
            <a:pPr marL="857250" lvl="2" indent="0">
              <a:buNone/>
            </a:pPr>
            <a:r>
              <a:rPr lang="en-US" sz="1200" dirty="0">
                <a:effectLst/>
                <a:latin typeface="+mj-lt"/>
                <a:ea typeface="Calibri" panose="020F0502020204030204" pitchFamily="34" charset="0"/>
              </a:rPr>
              <a:t>‘NEMOs shall allow market participants to trade energy as close to real time as possible and at least up to the intraday cross-zonal gate closure time. By 1 January 2026, the intraday cross-zonal gate closure time shall be at the earliest 30 minutes ahead of real time.’</a:t>
            </a:r>
          </a:p>
          <a:p>
            <a:pPr marL="857250" lvl="2" indent="0">
              <a:buNone/>
            </a:pPr>
            <a:endParaRPr lang="fr-FR" sz="1200" dirty="0">
              <a:effectLst/>
              <a:latin typeface="+mj-lt"/>
              <a:ea typeface="Calibri" panose="020F0502020204030204" pitchFamily="34" charset="0"/>
            </a:endParaRPr>
          </a:p>
          <a:p>
            <a:pPr marL="285750" indent="-285750">
              <a:buClr>
                <a:schemeClr val="tx2"/>
              </a:buClr>
              <a:buFont typeface="Arial" panose="020B0604020202020204" pitchFamily="34" charset="0"/>
              <a:buChar char="•"/>
            </a:pPr>
            <a:r>
              <a:rPr lang="en-US" sz="1200" b="1" dirty="0">
                <a:solidFill>
                  <a:schemeClr val="tx1">
                    <a:lumMod val="85000"/>
                    <a:lumOff val="15000"/>
                  </a:schemeClr>
                </a:solidFill>
                <a:latin typeface="Calibri (Body)"/>
                <a:cs typeface="Times New Roman" panose="02020603050405020304" pitchFamily="18" charset="0"/>
              </a:rPr>
              <a:t>An intraday cross-zonal gate closure time of 30 minutes is clearly not compatible with the RR process</a:t>
            </a:r>
            <a:r>
              <a:rPr lang="en-US" sz="1200" dirty="0">
                <a:solidFill>
                  <a:schemeClr val="tx1">
                    <a:lumMod val="85000"/>
                    <a:lumOff val="15000"/>
                  </a:schemeClr>
                </a:solidFill>
                <a:latin typeface="Calibri (Body)"/>
                <a:cs typeface="Times New Roman" panose="02020603050405020304" pitchFamily="18" charset="0"/>
              </a:rPr>
              <a:t>. Today’s process timing is the following:</a:t>
            </a:r>
          </a:p>
          <a:p>
            <a:pPr marL="285750" indent="-285750">
              <a:buClr>
                <a:schemeClr val="tx2"/>
              </a:buClr>
              <a:buFont typeface="Arial" panose="020B0604020202020204" pitchFamily="34" charset="0"/>
              <a:buChar char="•"/>
            </a:pPr>
            <a:endParaRPr lang="en-US" sz="1400" dirty="0">
              <a:solidFill>
                <a:schemeClr val="tx1">
                  <a:lumMod val="85000"/>
                  <a:lumOff val="15000"/>
                </a:schemeClr>
              </a:solidFill>
              <a:latin typeface="Calibri (Body)"/>
              <a:cs typeface="Times New Roman" panose="02020603050405020304" pitchFamily="18" charset="0"/>
            </a:endParaRPr>
          </a:p>
          <a:p>
            <a:pPr marL="285750" indent="-285750">
              <a:buClr>
                <a:schemeClr val="tx2"/>
              </a:buClr>
              <a:buFont typeface="Arial" panose="020B0604020202020204" pitchFamily="34" charset="0"/>
              <a:buChar char="•"/>
            </a:pPr>
            <a:endParaRPr lang="en-US" sz="1400" dirty="0">
              <a:solidFill>
                <a:schemeClr val="tx1">
                  <a:lumMod val="85000"/>
                  <a:lumOff val="15000"/>
                </a:schemeClr>
              </a:solidFill>
              <a:latin typeface="Calibri (Body)"/>
              <a:cs typeface="Times New Roman" panose="02020603050405020304" pitchFamily="18" charset="0"/>
            </a:endParaRPr>
          </a:p>
          <a:p>
            <a:pPr marL="285750" indent="-285750">
              <a:buClr>
                <a:schemeClr val="tx2"/>
              </a:buClr>
              <a:buFont typeface="Arial" panose="020B0604020202020204" pitchFamily="34" charset="0"/>
              <a:buChar char="•"/>
            </a:pPr>
            <a:endParaRPr lang="en-US" sz="1400" dirty="0">
              <a:solidFill>
                <a:schemeClr val="tx1">
                  <a:lumMod val="85000"/>
                  <a:lumOff val="15000"/>
                </a:schemeClr>
              </a:solidFill>
              <a:latin typeface="Calibri (Body)"/>
              <a:cs typeface="Times New Roman" panose="02020603050405020304" pitchFamily="18" charset="0"/>
            </a:endParaRPr>
          </a:p>
          <a:p>
            <a:pPr marL="285750" indent="-285750">
              <a:buClr>
                <a:schemeClr val="tx2"/>
              </a:buClr>
              <a:buFont typeface="Arial" panose="020B0604020202020204" pitchFamily="34" charset="0"/>
              <a:buChar char="•"/>
            </a:pPr>
            <a:endParaRPr lang="en-US" sz="1400" dirty="0">
              <a:solidFill>
                <a:schemeClr val="tx1">
                  <a:lumMod val="85000"/>
                  <a:lumOff val="15000"/>
                </a:schemeClr>
              </a:solidFill>
              <a:latin typeface="Calibri (Body)"/>
              <a:cs typeface="Times New Roman" panose="02020603050405020304" pitchFamily="18" charset="0"/>
            </a:endParaRPr>
          </a:p>
          <a:p>
            <a:pPr marL="0" indent="0">
              <a:buClr>
                <a:schemeClr val="tx2"/>
              </a:buClr>
              <a:buNone/>
            </a:pPr>
            <a:endParaRPr lang="en-US" sz="1400" b="1" dirty="0">
              <a:solidFill>
                <a:schemeClr val="tx1">
                  <a:lumMod val="85000"/>
                  <a:lumOff val="15000"/>
                </a:schemeClr>
              </a:solidFill>
              <a:latin typeface="Calibri (Body)"/>
              <a:cs typeface="Times New Roman" panose="02020603050405020304" pitchFamily="18" charset="0"/>
              <a:sym typeface="Wingdings" panose="05000000000000000000" pitchFamily="2" charset="2"/>
            </a:endParaRPr>
          </a:p>
          <a:p>
            <a:pPr marL="0" indent="0">
              <a:buClr>
                <a:schemeClr val="tx2"/>
              </a:buClr>
              <a:buNone/>
            </a:pPr>
            <a:endParaRPr lang="en-US" sz="1200" b="1" dirty="0">
              <a:solidFill>
                <a:schemeClr val="tx1">
                  <a:lumMod val="85000"/>
                  <a:lumOff val="15000"/>
                </a:schemeClr>
              </a:solidFill>
              <a:latin typeface="Calibri (Body)"/>
              <a:cs typeface="Times New Roman" panose="02020603050405020304" pitchFamily="18" charset="0"/>
            </a:endParaRPr>
          </a:p>
          <a:p>
            <a:pPr marL="0" indent="0">
              <a:buClr>
                <a:schemeClr val="tx2"/>
              </a:buClr>
              <a:buNone/>
            </a:pPr>
            <a:endParaRPr lang="en-US" sz="1200" b="1" dirty="0">
              <a:solidFill>
                <a:schemeClr val="tx1">
                  <a:lumMod val="85000"/>
                  <a:lumOff val="15000"/>
                </a:schemeClr>
              </a:solidFill>
              <a:latin typeface="Calibri (Body)"/>
              <a:cs typeface="Times New Roman" panose="02020603050405020304" pitchFamily="18" charset="0"/>
            </a:endParaRPr>
          </a:p>
          <a:p>
            <a:pPr marL="0" indent="0">
              <a:buClr>
                <a:schemeClr val="tx2"/>
              </a:buClr>
              <a:buNone/>
            </a:pPr>
            <a:endParaRPr lang="en-US" sz="1200" b="1" dirty="0">
              <a:solidFill>
                <a:schemeClr val="tx1">
                  <a:lumMod val="85000"/>
                  <a:lumOff val="15000"/>
                </a:schemeClr>
              </a:solidFill>
              <a:latin typeface="Calibri (Body)"/>
              <a:cs typeface="Times New Roman" panose="02020603050405020304" pitchFamily="18" charset="0"/>
            </a:endParaRPr>
          </a:p>
          <a:p>
            <a:pPr marL="0" indent="0">
              <a:buClr>
                <a:schemeClr val="tx2"/>
              </a:buClr>
              <a:buNone/>
            </a:pPr>
            <a:endParaRPr lang="en-US" sz="1200" b="1" dirty="0">
              <a:solidFill>
                <a:schemeClr val="tx1">
                  <a:lumMod val="85000"/>
                  <a:lumOff val="15000"/>
                </a:schemeClr>
              </a:solidFill>
              <a:latin typeface="Calibri (Body)"/>
              <a:cs typeface="Times New Roman" panose="02020603050405020304" pitchFamily="18" charset="0"/>
            </a:endParaRPr>
          </a:p>
          <a:p>
            <a:pPr marL="0" indent="0">
              <a:buClr>
                <a:schemeClr val="tx2"/>
              </a:buClr>
              <a:buNone/>
            </a:pPr>
            <a:endParaRPr lang="en-US" sz="500" b="1" dirty="0">
              <a:solidFill>
                <a:schemeClr val="tx1">
                  <a:lumMod val="85000"/>
                  <a:lumOff val="15000"/>
                </a:schemeClr>
              </a:solidFill>
              <a:latin typeface="Calibri (Body)"/>
              <a:cs typeface="Times New Roman" panose="02020603050405020304" pitchFamily="18" charset="0"/>
            </a:endParaRPr>
          </a:p>
          <a:p>
            <a:pPr>
              <a:buFont typeface="Wingdings" panose="05000000000000000000" pitchFamily="2" charset="2"/>
              <a:buChar char="è"/>
            </a:pPr>
            <a:r>
              <a:rPr lang="en-US" sz="1200" b="1" dirty="0">
                <a:solidFill>
                  <a:schemeClr val="tx1">
                    <a:lumMod val="85000"/>
                    <a:lumOff val="15000"/>
                  </a:schemeClr>
                </a:solidFill>
                <a:latin typeface="Calibri (Body)"/>
                <a:cs typeface="Times New Roman" panose="02020603050405020304" pitchFamily="18" charset="0"/>
              </a:rPr>
              <a:t>The new EMDR is forcing the end of the TERRE project as t</a:t>
            </a:r>
            <a:r>
              <a:rPr lang="en-GB" sz="1200" b="1" dirty="0">
                <a:solidFill>
                  <a:schemeClr val="tx1">
                    <a:lumMod val="85000"/>
                    <a:lumOff val="15000"/>
                  </a:schemeClr>
                </a:solidFill>
                <a:latin typeface="Calibri (Body)"/>
                <a:cs typeface="Times New Roman" panose="02020603050405020304" pitchFamily="18" charset="0"/>
              </a:rPr>
              <a:t>he new IDGCT will have to be applied starting from January 2026 (with possible derogations).</a:t>
            </a:r>
            <a:endParaRPr lang="en-US" sz="1200" b="1" dirty="0">
              <a:solidFill>
                <a:schemeClr val="tx1">
                  <a:lumMod val="85000"/>
                  <a:lumOff val="15000"/>
                </a:schemeClr>
              </a:solidFill>
              <a:latin typeface="Calibri (Body)"/>
              <a:cs typeface="Times New Roman" panose="02020603050405020304" pitchFamily="18" charset="0"/>
            </a:endParaRPr>
          </a:p>
          <a:p>
            <a:pPr>
              <a:buFont typeface="Wingdings" panose="05000000000000000000" pitchFamily="2" charset="2"/>
              <a:buChar char="è"/>
            </a:pPr>
            <a:r>
              <a:rPr lang="en-GB" sz="1200" b="1" dirty="0">
                <a:solidFill>
                  <a:schemeClr val="tx1">
                    <a:lumMod val="85000"/>
                    <a:lumOff val="15000"/>
                  </a:schemeClr>
                </a:solidFill>
                <a:latin typeface="Calibri (Body)"/>
                <a:cs typeface="Times New Roman" panose="02020603050405020304" pitchFamily="18" charset="0"/>
              </a:rPr>
              <a:t>Even if the process timing and FAT are drastically reduced, there is not enough time for the RR process.</a:t>
            </a:r>
            <a:endParaRPr lang="en-US" sz="1200" b="1" dirty="0">
              <a:solidFill>
                <a:schemeClr val="tx1">
                  <a:lumMod val="85000"/>
                  <a:lumOff val="15000"/>
                </a:schemeClr>
              </a:solidFill>
              <a:latin typeface="Calibri (Body)"/>
              <a:cs typeface="Times New Roman" panose="02020603050405020304" pitchFamily="18" charset="0"/>
            </a:endParaRPr>
          </a:p>
          <a:p>
            <a:pPr>
              <a:buClr>
                <a:schemeClr val="tx2"/>
              </a:buClr>
              <a:buFont typeface="Wingdings" panose="05000000000000000000" pitchFamily="2" charset="2"/>
              <a:buChar char="è"/>
            </a:pPr>
            <a:r>
              <a:rPr lang="en-US" sz="1200" b="1" dirty="0">
                <a:solidFill>
                  <a:schemeClr val="tx1">
                    <a:lumMod val="85000"/>
                    <a:lumOff val="15000"/>
                  </a:schemeClr>
                </a:solidFill>
                <a:latin typeface="Calibri (Body)"/>
                <a:cs typeface="Times New Roman" panose="02020603050405020304" pitchFamily="18" charset="0"/>
              </a:rPr>
              <a:t>In this context, the investing on the TERRE platform to implement evolutions is significantly less advantageous.</a:t>
            </a:r>
          </a:p>
          <a:p>
            <a:pPr marL="0" lvl="1" indent="0" eaLnBrk="0" fontAlgn="base" hangingPunct="0">
              <a:spcBef>
                <a:spcPct val="0"/>
              </a:spcBef>
              <a:spcAft>
                <a:spcPct val="0"/>
              </a:spcAft>
              <a:buNone/>
            </a:pPr>
            <a:endParaRPr lang="en-US" sz="1400" b="1" dirty="0">
              <a:solidFill>
                <a:schemeClr val="tx2"/>
              </a:solidFill>
              <a:latin typeface="+mj-lt"/>
              <a:cs typeface="Times New Roman" panose="02020603050405020304" pitchFamily="18" charset="0"/>
            </a:endParaRPr>
          </a:p>
          <a:p>
            <a:pPr marL="0" lvl="1" indent="0" eaLnBrk="0" fontAlgn="base" hangingPunct="0">
              <a:spcBef>
                <a:spcPct val="0"/>
              </a:spcBef>
              <a:spcAft>
                <a:spcPct val="0"/>
              </a:spcAft>
              <a:buNone/>
            </a:pPr>
            <a:endParaRPr lang="en-US" sz="1400" dirty="0">
              <a:solidFill>
                <a:srgbClr val="000000"/>
              </a:solidFill>
              <a:latin typeface="Calibri" panose="020F0502020204030204" pitchFamily="34" charset="0"/>
            </a:endParaRPr>
          </a:p>
          <a:p>
            <a:pPr marL="0" lvl="1" indent="0" eaLnBrk="0" fontAlgn="base" hangingPunct="0">
              <a:spcBef>
                <a:spcPct val="0"/>
              </a:spcBef>
              <a:spcAft>
                <a:spcPct val="0"/>
              </a:spcAft>
              <a:buNone/>
            </a:pPr>
            <a:endParaRPr lang="en-US" sz="1400" b="1" dirty="0">
              <a:solidFill>
                <a:schemeClr val="tx2"/>
              </a:solidFill>
              <a:latin typeface="+mj-lt"/>
              <a:cs typeface="Times New Roman" panose="02020603050405020304" pitchFamily="18" charset="0"/>
            </a:endParaRPr>
          </a:p>
          <a:p>
            <a:pPr marL="0" lvl="1" indent="0" eaLnBrk="0" fontAlgn="base" hangingPunct="0">
              <a:spcBef>
                <a:spcPct val="0"/>
              </a:spcBef>
              <a:spcAft>
                <a:spcPct val="0"/>
              </a:spcAft>
              <a:buNone/>
            </a:pPr>
            <a:endParaRPr lang="en-US" sz="1400" i="1" dirty="0">
              <a:solidFill>
                <a:srgbClr val="000000"/>
              </a:solidFill>
              <a:latin typeface="Calibri" panose="020F0502020204030204" pitchFamily="34" charset="0"/>
            </a:endParaRPr>
          </a:p>
        </p:txBody>
      </p:sp>
      <p:sp>
        <p:nvSpPr>
          <p:cNvPr id="9" name="Flèche : pentagone 7">
            <a:extLst>
              <a:ext uri="{FF2B5EF4-FFF2-40B4-BE49-F238E27FC236}">
                <a16:creationId xmlns:a16="http://schemas.microsoft.com/office/drawing/2014/main" id="{80DB0EB7-9359-FD2A-54F6-678580080429}"/>
              </a:ext>
            </a:extLst>
          </p:cNvPr>
          <p:cNvSpPr/>
          <p:nvPr/>
        </p:nvSpPr>
        <p:spPr>
          <a:xfrm>
            <a:off x="1596115" y="4695582"/>
            <a:ext cx="1520301" cy="247960"/>
          </a:xfrm>
          <a:prstGeom prst="homePlate">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Flèche : chevron 8">
            <a:extLst>
              <a:ext uri="{FF2B5EF4-FFF2-40B4-BE49-F238E27FC236}">
                <a16:creationId xmlns:a16="http://schemas.microsoft.com/office/drawing/2014/main" id="{D5CCFF5A-2873-1271-B1A2-B63530AE3525}"/>
              </a:ext>
            </a:extLst>
          </p:cNvPr>
          <p:cNvSpPr/>
          <p:nvPr/>
        </p:nvSpPr>
        <p:spPr>
          <a:xfrm>
            <a:off x="4794141" y="4695582"/>
            <a:ext cx="3877236" cy="247960"/>
          </a:xfrm>
          <a:prstGeom prst="chevron">
            <a:avLst/>
          </a:pr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ZoneTexte 9">
            <a:extLst>
              <a:ext uri="{FF2B5EF4-FFF2-40B4-BE49-F238E27FC236}">
                <a16:creationId xmlns:a16="http://schemas.microsoft.com/office/drawing/2014/main" id="{83AC0FBD-68BE-3097-1960-47A551B1C305}"/>
              </a:ext>
            </a:extLst>
          </p:cNvPr>
          <p:cNvSpPr txBox="1"/>
          <p:nvPr/>
        </p:nvSpPr>
        <p:spPr>
          <a:xfrm>
            <a:off x="8305646" y="4359275"/>
            <a:ext cx="514826" cy="246221"/>
          </a:xfrm>
          <a:prstGeom prst="rect">
            <a:avLst/>
          </a:prstGeom>
          <a:noFill/>
        </p:spPr>
        <p:txBody>
          <a:bodyPr wrap="square" rtlCol="0">
            <a:spAutoFit/>
          </a:bodyPr>
          <a:lstStyle/>
          <a:p>
            <a:pPr algn="ctr"/>
            <a:r>
              <a:rPr lang="fr-FR" sz="1000" b="1" dirty="0"/>
              <a:t>H+60</a:t>
            </a:r>
          </a:p>
        </p:txBody>
      </p:sp>
      <p:sp>
        <p:nvSpPr>
          <p:cNvPr id="13" name="ZoneTexte 10">
            <a:extLst>
              <a:ext uri="{FF2B5EF4-FFF2-40B4-BE49-F238E27FC236}">
                <a16:creationId xmlns:a16="http://schemas.microsoft.com/office/drawing/2014/main" id="{F08D506A-40D6-B6EE-8F94-A1BC290755A1}"/>
              </a:ext>
            </a:extLst>
          </p:cNvPr>
          <p:cNvSpPr txBox="1"/>
          <p:nvPr/>
        </p:nvSpPr>
        <p:spPr>
          <a:xfrm>
            <a:off x="6068745" y="4695582"/>
            <a:ext cx="1328028" cy="276999"/>
          </a:xfrm>
          <a:prstGeom prst="rect">
            <a:avLst/>
          </a:prstGeom>
          <a:noFill/>
        </p:spPr>
        <p:txBody>
          <a:bodyPr wrap="square" rtlCol="0">
            <a:spAutoFit/>
          </a:bodyPr>
          <a:lstStyle/>
          <a:p>
            <a:pPr algn="ctr"/>
            <a:r>
              <a:rPr lang="fr-FR" sz="1200" b="1" dirty="0"/>
              <a:t>Delivery </a:t>
            </a:r>
            <a:r>
              <a:rPr lang="fr-FR" sz="1200" b="1" dirty="0" err="1"/>
              <a:t>period</a:t>
            </a:r>
            <a:endParaRPr lang="fr-FR" sz="1200" b="1" dirty="0"/>
          </a:p>
        </p:txBody>
      </p:sp>
      <p:sp>
        <p:nvSpPr>
          <p:cNvPr id="14" name="Flèche : chevron 11">
            <a:extLst>
              <a:ext uri="{FF2B5EF4-FFF2-40B4-BE49-F238E27FC236}">
                <a16:creationId xmlns:a16="http://schemas.microsoft.com/office/drawing/2014/main" id="{E28DD682-478F-1CB3-6752-545EC81D70C3}"/>
              </a:ext>
            </a:extLst>
          </p:cNvPr>
          <p:cNvSpPr/>
          <p:nvPr/>
        </p:nvSpPr>
        <p:spPr>
          <a:xfrm>
            <a:off x="2972401" y="4695582"/>
            <a:ext cx="1994684" cy="247960"/>
          </a:xfrm>
          <a:prstGeom prst="chevron">
            <a:avLst/>
          </a:pr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6" name="ZoneTexte 13">
            <a:extLst>
              <a:ext uri="{FF2B5EF4-FFF2-40B4-BE49-F238E27FC236}">
                <a16:creationId xmlns:a16="http://schemas.microsoft.com/office/drawing/2014/main" id="{FF138537-68C4-3B56-44C7-7ADF47206E15}"/>
              </a:ext>
            </a:extLst>
          </p:cNvPr>
          <p:cNvSpPr txBox="1"/>
          <p:nvPr/>
        </p:nvSpPr>
        <p:spPr>
          <a:xfrm>
            <a:off x="2827070" y="3861048"/>
            <a:ext cx="514826" cy="246221"/>
          </a:xfrm>
          <a:prstGeom prst="rect">
            <a:avLst/>
          </a:prstGeom>
          <a:noFill/>
        </p:spPr>
        <p:txBody>
          <a:bodyPr wrap="square" rtlCol="0">
            <a:spAutoFit/>
          </a:bodyPr>
          <a:lstStyle/>
          <a:p>
            <a:pPr algn="ctr"/>
            <a:r>
              <a:rPr lang="fr-FR" sz="1000" b="1" dirty="0"/>
              <a:t>H-30</a:t>
            </a:r>
          </a:p>
        </p:txBody>
      </p:sp>
      <p:sp>
        <p:nvSpPr>
          <p:cNvPr id="17" name="ZoneTexte 14">
            <a:extLst>
              <a:ext uri="{FF2B5EF4-FFF2-40B4-BE49-F238E27FC236}">
                <a16:creationId xmlns:a16="http://schemas.microsoft.com/office/drawing/2014/main" id="{5FF05A02-6E57-EDC1-D255-C9213B4F5C5F}"/>
              </a:ext>
            </a:extLst>
          </p:cNvPr>
          <p:cNvSpPr txBox="1"/>
          <p:nvPr/>
        </p:nvSpPr>
        <p:spPr>
          <a:xfrm>
            <a:off x="4652424" y="4309298"/>
            <a:ext cx="426450" cy="246221"/>
          </a:xfrm>
          <a:prstGeom prst="rect">
            <a:avLst/>
          </a:prstGeom>
          <a:noFill/>
        </p:spPr>
        <p:txBody>
          <a:bodyPr wrap="square" rtlCol="0">
            <a:spAutoFit/>
          </a:bodyPr>
          <a:lstStyle/>
          <a:p>
            <a:pPr algn="ctr"/>
            <a:r>
              <a:rPr lang="fr-FR" sz="1000" b="1" dirty="0"/>
              <a:t>H</a:t>
            </a:r>
          </a:p>
        </p:txBody>
      </p:sp>
      <p:sp>
        <p:nvSpPr>
          <p:cNvPr id="18" name="ZoneTexte 15">
            <a:extLst>
              <a:ext uri="{FF2B5EF4-FFF2-40B4-BE49-F238E27FC236}">
                <a16:creationId xmlns:a16="http://schemas.microsoft.com/office/drawing/2014/main" id="{C0342B30-8C69-2121-7598-7ACFBE9DE786}"/>
              </a:ext>
            </a:extLst>
          </p:cNvPr>
          <p:cNvSpPr txBox="1"/>
          <p:nvPr/>
        </p:nvSpPr>
        <p:spPr>
          <a:xfrm>
            <a:off x="1997026" y="3904655"/>
            <a:ext cx="867545" cy="707886"/>
          </a:xfrm>
          <a:prstGeom prst="rect">
            <a:avLst/>
          </a:prstGeom>
          <a:noFill/>
        </p:spPr>
        <p:txBody>
          <a:bodyPr wrap="square" rtlCol="0">
            <a:spAutoFit/>
          </a:bodyPr>
          <a:lstStyle/>
          <a:p>
            <a:pPr algn="ctr"/>
            <a:r>
              <a:rPr lang="fr-FR" sz="1000" b="1" dirty="0"/>
              <a:t>H-40</a:t>
            </a:r>
          </a:p>
          <a:p>
            <a:pPr algn="ctr"/>
            <a:r>
              <a:rPr lang="fr-FR" sz="1000" dirty="0"/>
              <a:t>RR TSO Energy </a:t>
            </a:r>
            <a:r>
              <a:rPr lang="fr-FR" sz="1000" dirty="0" err="1"/>
              <a:t>bid</a:t>
            </a:r>
            <a:r>
              <a:rPr lang="fr-FR" sz="1000" dirty="0"/>
              <a:t> GCT</a:t>
            </a:r>
          </a:p>
        </p:txBody>
      </p:sp>
      <p:sp>
        <p:nvSpPr>
          <p:cNvPr id="19" name="ZoneTexte 16">
            <a:extLst>
              <a:ext uri="{FF2B5EF4-FFF2-40B4-BE49-F238E27FC236}">
                <a16:creationId xmlns:a16="http://schemas.microsoft.com/office/drawing/2014/main" id="{4BC13C83-787F-DD68-79D5-3C403628D4E3}"/>
              </a:ext>
            </a:extLst>
          </p:cNvPr>
          <p:cNvSpPr txBox="1"/>
          <p:nvPr/>
        </p:nvSpPr>
        <p:spPr>
          <a:xfrm>
            <a:off x="1015069" y="4006296"/>
            <a:ext cx="1218415" cy="553998"/>
          </a:xfrm>
          <a:prstGeom prst="rect">
            <a:avLst/>
          </a:prstGeom>
          <a:noFill/>
        </p:spPr>
        <p:txBody>
          <a:bodyPr wrap="square" rtlCol="0">
            <a:spAutoFit/>
          </a:bodyPr>
          <a:lstStyle/>
          <a:p>
            <a:pPr algn="ctr"/>
            <a:r>
              <a:rPr lang="fr-FR" sz="1000" b="1" dirty="0"/>
              <a:t>H-55</a:t>
            </a:r>
          </a:p>
          <a:p>
            <a:pPr algn="ctr"/>
            <a:r>
              <a:rPr lang="fr-FR" sz="1000" dirty="0"/>
              <a:t>RR Balancing </a:t>
            </a:r>
            <a:r>
              <a:rPr lang="fr-FR" sz="1000" dirty="0" err="1"/>
              <a:t>energy</a:t>
            </a:r>
            <a:r>
              <a:rPr lang="fr-FR" sz="1000" dirty="0"/>
              <a:t> GCT</a:t>
            </a:r>
          </a:p>
        </p:txBody>
      </p:sp>
      <p:cxnSp>
        <p:nvCxnSpPr>
          <p:cNvPr id="20" name="Connecteur droit 18">
            <a:extLst>
              <a:ext uri="{FF2B5EF4-FFF2-40B4-BE49-F238E27FC236}">
                <a16:creationId xmlns:a16="http://schemas.microsoft.com/office/drawing/2014/main" id="{4BF5FF6D-0C6D-2E82-8BB7-AA5248183B7A}"/>
              </a:ext>
            </a:extLst>
          </p:cNvPr>
          <p:cNvCxnSpPr>
            <a:cxnSpLocks/>
          </p:cNvCxnSpPr>
          <p:nvPr/>
        </p:nvCxnSpPr>
        <p:spPr>
          <a:xfrm flipV="1">
            <a:off x="2421446" y="4605496"/>
            <a:ext cx="0" cy="339847"/>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Connecteur droit 19">
            <a:extLst>
              <a:ext uri="{FF2B5EF4-FFF2-40B4-BE49-F238E27FC236}">
                <a16:creationId xmlns:a16="http://schemas.microsoft.com/office/drawing/2014/main" id="{5487A50D-521C-B83E-EAEC-CC39DEC4F1A4}"/>
              </a:ext>
            </a:extLst>
          </p:cNvPr>
          <p:cNvCxnSpPr>
            <a:cxnSpLocks/>
          </p:cNvCxnSpPr>
          <p:nvPr/>
        </p:nvCxnSpPr>
        <p:spPr>
          <a:xfrm flipV="1">
            <a:off x="1596114" y="4570908"/>
            <a:ext cx="0" cy="381791"/>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B6D3CEC-E957-E0D3-1856-B57259A6A289}"/>
              </a:ext>
            </a:extLst>
          </p:cNvPr>
          <p:cNvCxnSpPr>
            <a:cxnSpLocks/>
          </p:cNvCxnSpPr>
          <p:nvPr/>
        </p:nvCxnSpPr>
        <p:spPr>
          <a:xfrm>
            <a:off x="2972401" y="4242476"/>
            <a:ext cx="0" cy="701066"/>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664A458-0233-CCB3-2BC8-450BABA2B825}"/>
              </a:ext>
            </a:extLst>
          </p:cNvPr>
          <p:cNvSpPr txBox="1"/>
          <p:nvPr/>
        </p:nvSpPr>
        <p:spPr>
          <a:xfrm>
            <a:off x="2864572" y="4012418"/>
            <a:ext cx="867545" cy="261610"/>
          </a:xfrm>
          <a:prstGeom prst="rect">
            <a:avLst/>
          </a:prstGeom>
          <a:noFill/>
        </p:spPr>
        <p:txBody>
          <a:bodyPr wrap="none" rtlCol="0">
            <a:spAutoFit/>
          </a:bodyPr>
          <a:lstStyle/>
          <a:p>
            <a:r>
              <a:rPr lang="fr-FR" sz="1100" b="1" i="1" dirty="0">
                <a:solidFill>
                  <a:srgbClr val="FF0000"/>
                </a:solidFill>
              </a:rPr>
              <a:t>New ID GCT</a:t>
            </a:r>
            <a:endParaRPr lang="en-GB" sz="1100" b="1" i="1" dirty="0">
              <a:solidFill>
                <a:srgbClr val="FF0000"/>
              </a:solidFill>
            </a:endParaRPr>
          </a:p>
        </p:txBody>
      </p:sp>
      <p:cxnSp>
        <p:nvCxnSpPr>
          <p:cNvPr id="25" name="Connecteur droit 18">
            <a:extLst>
              <a:ext uri="{FF2B5EF4-FFF2-40B4-BE49-F238E27FC236}">
                <a16:creationId xmlns:a16="http://schemas.microsoft.com/office/drawing/2014/main" id="{B26E8688-153B-6C10-E248-1FCFB9966A3D}"/>
              </a:ext>
            </a:extLst>
          </p:cNvPr>
          <p:cNvCxnSpPr>
            <a:cxnSpLocks/>
          </p:cNvCxnSpPr>
          <p:nvPr/>
        </p:nvCxnSpPr>
        <p:spPr>
          <a:xfrm flipV="1">
            <a:off x="4865649" y="4555519"/>
            <a:ext cx="0" cy="388023"/>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6A8F5AB7-5E79-89B5-FAD9-864462F2718C}"/>
              </a:ext>
            </a:extLst>
          </p:cNvPr>
          <p:cNvSpPr txBox="1"/>
          <p:nvPr/>
        </p:nvSpPr>
        <p:spPr>
          <a:xfrm>
            <a:off x="185360" y="4190746"/>
            <a:ext cx="875304" cy="276999"/>
          </a:xfrm>
          <a:prstGeom prst="rect">
            <a:avLst/>
          </a:prstGeom>
          <a:noFill/>
        </p:spPr>
        <p:txBody>
          <a:bodyPr wrap="none" rtlCol="0">
            <a:spAutoFit/>
          </a:bodyPr>
          <a:lstStyle/>
          <a:p>
            <a:r>
              <a:rPr lang="fr-FR" sz="1200" b="1" dirty="0"/>
              <a:t>RR process</a:t>
            </a:r>
            <a:endParaRPr lang="en-GB" sz="1200" b="1" dirty="0"/>
          </a:p>
        </p:txBody>
      </p:sp>
      <p:sp>
        <p:nvSpPr>
          <p:cNvPr id="30" name="TextBox 29">
            <a:extLst>
              <a:ext uri="{FF2B5EF4-FFF2-40B4-BE49-F238E27FC236}">
                <a16:creationId xmlns:a16="http://schemas.microsoft.com/office/drawing/2014/main" id="{7C0D6C10-5237-53EE-1951-20635EB1AF42}"/>
              </a:ext>
            </a:extLst>
          </p:cNvPr>
          <p:cNvSpPr txBox="1"/>
          <p:nvPr/>
        </p:nvSpPr>
        <p:spPr>
          <a:xfrm>
            <a:off x="151628" y="5227517"/>
            <a:ext cx="1070871" cy="276999"/>
          </a:xfrm>
          <a:prstGeom prst="rect">
            <a:avLst/>
          </a:prstGeom>
          <a:noFill/>
        </p:spPr>
        <p:txBody>
          <a:bodyPr wrap="none" rtlCol="0">
            <a:spAutoFit/>
          </a:bodyPr>
          <a:lstStyle/>
          <a:p>
            <a:r>
              <a:rPr lang="fr-FR" sz="1200" b="1" dirty="0" err="1">
                <a:solidFill>
                  <a:schemeClr val="accent4"/>
                </a:solidFill>
              </a:rPr>
              <a:t>mFRR</a:t>
            </a:r>
            <a:r>
              <a:rPr lang="fr-FR" sz="1200" b="1" dirty="0">
                <a:solidFill>
                  <a:schemeClr val="accent4"/>
                </a:solidFill>
              </a:rPr>
              <a:t> process</a:t>
            </a:r>
            <a:endParaRPr lang="en-GB" sz="1200" b="1" dirty="0">
              <a:solidFill>
                <a:schemeClr val="accent4"/>
              </a:solidFill>
            </a:endParaRPr>
          </a:p>
        </p:txBody>
      </p:sp>
      <p:sp>
        <p:nvSpPr>
          <p:cNvPr id="31" name="ZoneTexte 15">
            <a:extLst>
              <a:ext uri="{FF2B5EF4-FFF2-40B4-BE49-F238E27FC236}">
                <a16:creationId xmlns:a16="http://schemas.microsoft.com/office/drawing/2014/main" id="{3441F2F6-1690-D8BC-B257-1526151D1AEB}"/>
              </a:ext>
            </a:extLst>
          </p:cNvPr>
          <p:cNvSpPr txBox="1"/>
          <p:nvPr/>
        </p:nvSpPr>
        <p:spPr>
          <a:xfrm>
            <a:off x="3950595" y="5098124"/>
            <a:ext cx="953154" cy="707886"/>
          </a:xfrm>
          <a:prstGeom prst="rect">
            <a:avLst/>
          </a:prstGeom>
          <a:noFill/>
        </p:spPr>
        <p:txBody>
          <a:bodyPr wrap="square" rtlCol="0">
            <a:spAutoFit/>
          </a:bodyPr>
          <a:lstStyle/>
          <a:p>
            <a:pPr algn="ctr"/>
            <a:r>
              <a:rPr lang="fr-FR" sz="1000" b="1" dirty="0">
                <a:solidFill>
                  <a:schemeClr val="accent4"/>
                </a:solidFill>
              </a:rPr>
              <a:t>H-12</a:t>
            </a:r>
          </a:p>
          <a:p>
            <a:pPr algn="ctr"/>
            <a:r>
              <a:rPr lang="fr-FR" sz="1000" dirty="0" err="1">
                <a:solidFill>
                  <a:schemeClr val="accent4"/>
                </a:solidFill>
              </a:rPr>
              <a:t>mFRR</a:t>
            </a:r>
            <a:r>
              <a:rPr lang="fr-FR" sz="1000" dirty="0">
                <a:solidFill>
                  <a:schemeClr val="accent4"/>
                </a:solidFill>
              </a:rPr>
              <a:t> TSO Energy </a:t>
            </a:r>
            <a:r>
              <a:rPr lang="fr-FR" sz="1000" dirty="0" err="1">
                <a:solidFill>
                  <a:schemeClr val="accent4"/>
                </a:solidFill>
              </a:rPr>
              <a:t>bid</a:t>
            </a:r>
            <a:r>
              <a:rPr lang="fr-FR" sz="1000" dirty="0">
                <a:solidFill>
                  <a:schemeClr val="accent4"/>
                </a:solidFill>
              </a:rPr>
              <a:t> GCT</a:t>
            </a:r>
          </a:p>
        </p:txBody>
      </p:sp>
      <p:cxnSp>
        <p:nvCxnSpPr>
          <p:cNvPr id="32" name="Connecteur droit 18">
            <a:extLst>
              <a:ext uri="{FF2B5EF4-FFF2-40B4-BE49-F238E27FC236}">
                <a16:creationId xmlns:a16="http://schemas.microsoft.com/office/drawing/2014/main" id="{DECBA274-C9CC-5231-0375-051EE202BD25}"/>
              </a:ext>
            </a:extLst>
          </p:cNvPr>
          <p:cNvCxnSpPr>
            <a:cxnSpLocks/>
          </p:cNvCxnSpPr>
          <p:nvPr/>
        </p:nvCxnSpPr>
        <p:spPr>
          <a:xfrm flipV="1">
            <a:off x="4427984" y="4710101"/>
            <a:ext cx="0" cy="388023"/>
          </a:xfrm>
          <a:prstGeom prst="line">
            <a:avLst/>
          </a:prstGeom>
          <a:ln w="12700">
            <a:solidFill>
              <a:srgbClr val="8064A2"/>
            </a:solidFill>
            <a:prstDash val="dash"/>
          </a:ln>
        </p:spPr>
        <p:style>
          <a:lnRef idx="1">
            <a:schemeClr val="accent1"/>
          </a:lnRef>
          <a:fillRef idx="0">
            <a:schemeClr val="accent1"/>
          </a:fillRef>
          <a:effectRef idx="0">
            <a:schemeClr val="accent1"/>
          </a:effectRef>
          <a:fontRef idx="minor">
            <a:schemeClr val="tx1"/>
          </a:fontRef>
        </p:style>
      </p:cxnSp>
      <p:sp>
        <p:nvSpPr>
          <p:cNvPr id="33" name="ZoneTexte 16">
            <a:extLst>
              <a:ext uri="{FF2B5EF4-FFF2-40B4-BE49-F238E27FC236}">
                <a16:creationId xmlns:a16="http://schemas.microsoft.com/office/drawing/2014/main" id="{429AD4D2-3F2B-514D-96ED-8F8F97B9EFD8}"/>
              </a:ext>
            </a:extLst>
          </p:cNvPr>
          <p:cNvSpPr txBox="1"/>
          <p:nvPr/>
        </p:nvSpPr>
        <p:spPr>
          <a:xfrm>
            <a:off x="2555776" y="5113993"/>
            <a:ext cx="1218415" cy="553998"/>
          </a:xfrm>
          <a:prstGeom prst="rect">
            <a:avLst/>
          </a:prstGeom>
          <a:noFill/>
        </p:spPr>
        <p:txBody>
          <a:bodyPr wrap="square" rtlCol="0">
            <a:spAutoFit/>
          </a:bodyPr>
          <a:lstStyle/>
          <a:p>
            <a:pPr algn="ctr"/>
            <a:r>
              <a:rPr lang="fr-FR" sz="1000" b="1" dirty="0">
                <a:solidFill>
                  <a:schemeClr val="accent4"/>
                </a:solidFill>
              </a:rPr>
              <a:t>H-25</a:t>
            </a:r>
          </a:p>
          <a:p>
            <a:pPr algn="ctr"/>
            <a:r>
              <a:rPr lang="fr-FR" sz="1000" dirty="0" err="1">
                <a:solidFill>
                  <a:schemeClr val="accent4"/>
                </a:solidFill>
              </a:rPr>
              <a:t>mFRR</a:t>
            </a:r>
            <a:r>
              <a:rPr lang="fr-FR" sz="1000" dirty="0">
                <a:solidFill>
                  <a:schemeClr val="accent4"/>
                </a:solidFill>
              </a:rPr>
              <a:t> Balancing </a:t>
            </a:r>
            <a:r>
              <a:rPr lang="fr-FR" sz="1000" dirty="0" err="1">
                <a:solidFill>
                  <a:schemeClr val="accent4"/>
                </a:solidFill>
              </a:rPr>
              <a:t>energy</a:t>
            </a:r>
            <a:r>
              <a:rPr lang="fr-FR" sz="1000" dirty="0">
                <a:solidFill>
                  <a:schemeClr val="accent4"/>
                </a:solidFill>
              </a:rPr>
              <a:t> GCT</a:t>
            </a:r>
          </a:p>
        </p:txBody>
      </p:sp>
      <p:cxnSp>
        <p:nvCxnSpPr>
          <p:cNvPr id="34" name="Connecteur droit 18">
            <a:extLst>
              <a:ext uri="{FF2B5EF4-FFF2-40B4-BE49-F238E27FC236}">
                <a16:creationId xmlns:a16="http://schemas.microsoft.com/office/drawing/2014/main" id="{A4369088-342A-6ED8-241A-990B1A822EAC}"/>
              </a:ext>
            </a:extLst>
          </p:cNvPr>
          <p:cNvCxnSpPr>
            <a:cxnSpLocks/>
          </p:cNvCxnSpPr>
          <p:nvPr/>
        </p:nvCxnSpPr>
        <p:spPr>
          <a:xfrm flipV="1">
            <a:off x="3174403" y="4710100"/>
            <a:ext cx="0" cy="388023"/>
          </a:xfrm>
          <a:prstGeom prst="line">
            <a:avLst/>
          </a:prstGeom>
          <a:ln w="12700">
            <a:solidFill>
              <a:srgbClr val="8064A2"/>
            </a:solidFill>
            <a:prstDash val="dash"/>
          </a:ln>
        </p:spPr>
        <p:style>
          <a:lnRef idx="1">
            <a:schemeClr val="accent1"/>
          </a:lnRef>
          <a:fillRef idx="0">
            <a:schemeClr val="accent1"/>
          </a:fillRef>
          <a:effectRef idx="0">
            <a:schemeClr val="accent1"/>
          </a:effectRef>
          <a:fontRef idx="minor">
            <a:schemeClr val="tx1"/>
          </a:fontRef>
        </p:style>
      </p:cxnSp>
      <p:sp>
        <p:nvSpPr>
          <p:cNvPr id="15" name="ZoneTexte 12">
            <a:extLst>
              <a:ext uri="{FF2B5EF4-FFF2-40B4-BE49-F238E27FC236}">
                <a16:creationId xmlns:a16="http://schemas.microsoft.com/office/drawing/2014/main" id="{D4384B1D-755C-EA9D-EFF3-612D5E3AEA81}"/>
              </a:ext>
            </a:extLst>
          </p:cNvPr>
          <p:cNvSpPr txBox="1"/>
          <p:nvPr/>
        </p:nvSpPr>
        <p:spPr>
          <a:xfrm>
            <a:off x="3313922" y="4681062"/>
            <a:ext cx="1328028" cy="276999"/>
          </a:xfrm>
          <a:prstGeom prst="rect">
            <a:avLst/>
          </a:prstGeom>
          <a:noFill/>
        </p:spPr>
        <p:txBody>
          <a:bodyPr wrap="square" rtlCol="0">
            <a:spAutoFit/>
          </a:bodyPr>
          <a:lstStyle/>
          <a:p>
            <a:pPr algn="ctr"/>
            <a:r>
              <a:rPr lang="fr-FR" sz="1200" b="1" dirty="0"/>
              <a:t>Activation </a:t>
            </a:r>
            <a:r>
              <a:rPr lang="fr-FR" sz="1200" b="1" dirty="0" err="1"/>
              <a:t>period</a:t>
            </a:r>
            <a:endParaRPr lang="fr-FR" sz="1200" b="1" dirty="0"/>
          </a:p>
        </p:txBody>
      </p:sp>
    </p:spTree>
    <p:extLst>
      <p:ext uri="{BB962C8B-B14F-4D97-AF65-F5344CB8AC3E}">
        <p14:creationId xmlns:p14="http://schemas.microsoft.com/office/powerpoint/2010/main" val="26949196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PWIZARD_ID" val="5"/>
  <p:tag name="EE4P_MAPWIZARD_HEADINGS" val="party_name\display_na"/>
  <p:tag name="EE4P_MAPWIZARD" val="MAVIR Magyar Villamosenergia-ipari Átviteli Rendszerirányító Zrt.\MAVIR"/>
</p:tagLst>
</file>

<file path=ppt/tags/tag11.xml><?xml version="1.0" encoding="utf-8"?>
<p:tagLst xmlns:a="http://schemas.openxmlformats.org/drawingml/2006/main" xmlns:r="http://schemas.openxmlformats.org/officeDocument/2006/relationships" xmlns:p="http://schemas.openxmlformats.org/presentationml/2006/main">
  <p:tag name="EE4P_MAPWIZARD_ID" val="6"/>
  <p:tag name="EE4P_MAPWIZARD_HEADINGS" val="party_name\display_na"/>
  <p:tag name="EE4P_MAPWIZARD" val="Red Eléctrica de España S.A.U.\REE"/>
</p:tagLst>
</file>

<file path=ppt/tags/tag12.xml><?xml version="1.0" encoding="utf-8"?>
<p:tagLst xmlns:a="http://schemas.openxmlformats.org/drawingml/2006/main" xmlns:r="http://schemas.openxmlformats.org/officeDocument/2006/relationships" xmlns:p="http://schemas.openxmlformats.org/presentationml/2006/main">
  <p:tag name="EE4P_MAPWIZARD_ID" val="9"/>
  <p:tag name="EE4P_MAPWIZARD_HEADINGS" val="party_name\display_na"/>
  <p:tag name="EE4P_MAPWIZARD" val="Elia\Elia"/>
</p:tagLst>
</file>

<file path=ppt/tags/tag13.xml><?xml version="1.0" encoding="utf-8"?>
<p:tagLst xmlns:a="http://schemas.openxmlformats.org/drawingml/2006/main" xmlns:r="http://schemas.openxmlformats.org/officeDocument/2006/relationships" xmlns:p="http://schemas.openxmlformats.org/presentationml/2006/main">
  <p:tag name="EE4P_MAPWIZARD_ID" val="16"/>
  <p:tag name="EE4P_MAPWIZARD_HEADINGS" val="party_name\display_na"/>
  <p:tag name="EE4P_MAPWIZARD" val="Fingrid Oyj\Fingrid"/>
</p:tagLst>
</file>

<file path=ppt/tags/tag14.xml><?xml version="1.0" encoding="utf-8"?>
<p:tagLst xmlns:a="http://schemas.openxmlformats.org/drawingml/2006/main" xmlns:r="http://schemas.openxmlformats.org/officeDocument/2006/relationships" xmlns:p="http://schemas.openxmlformats.org/presentationml/2006/main">
  <p:tag name="EE4P_MAPWIZARD_ID" val="19"/>
  <p:tag name="EE4P_MAPWIZARD_HEADINGS" val="party_name\display_na"/>
  <p:tag name="EE4P_MAPWIZARD" val="EirGrid Plc.\Eirgrid"/>
</p:tagLst>
</file>

<file path=ppt/tags/tag15.xml><?xml version="1.0" encoding="utf-8"?>
<p:tagLst xmlns:a="http://schemas.openxmlformats.org/drawingml/2006/main" xmlns:r="http://schemas.openxmlformats.org/officeDocument/2006/relationships" xmlns:p="http://schemas.openxmlformats.org/presentationml/2006/main">
  <p:tag name="EE4P_MAPWIZARD_ID" val="22"/>
  <p:tag name="EE4P_MAPWIZARD_HEADINGS" val="party_name\display_na"/>
  <p:tag name="EE4P_MAPWIZARD" val="STATNETT SF\Statnett"/>
</p:tagLst>
</file>

<file path=ppt/tags/tag16.xml><?xml version="1.0" encoding="utf-8"?>
<p:tagLst xmlns:a="http://schemas.openxmlformats.org/drawingml/2006/main" xmlns:r="http://schemas.openxmlformats.org/officeDocument/2006/relationships" xmlns:p="http://schemas.openxmlformats.org/presentationml/2006/main">
  <p:tag name="EE4P_MAPWIZARD_ID" val="23"/>
  <p:tag name="EE4P_MAPWIZARD_HEADINGS" val="party_name\display_na"/>
  <p:tag name="EE4P_MAPWIZARD" val="Rede Eléctrica Nacional, S.A\REN"/>
</p:tagLst>
</file>

<file path=ppt/tags/tag17.xml><?xml version="1.0" encoding="utf-8"?>
<p:tagLst xmlns:a="http://schemas.openxmlformats.org/drawingml/2006/main" xmlns:r="http://schemas.openxmlformats.org/officeDocument/2006/relationships" xmlns:p="http://schemas.openxmlformats.org/presentationml/2006/main">
  <p:tag name="EE4P_MAPWIZARD_ID" val="26"/>
  <p:tag name="EE4P_MAPWIZARD_HEADINGS" val="party_name\display_na"/>
  <p:tag name="EE4P_MAPWIZARD" val="SLOVENSKA ELEKTRIZACNA PRENOSOVA SUSTAVA a.s.\SEPS"/>
</p:tagLst>
</file>

<file path=ppt/tags/tag18.xml><?xml version="1.0" encoding="utf-8"?>
<p:tagLst xmlns:a="http://schemas.openxmlformats.org/drawingml/2006/main" xmlns:r="http://schemas.openxmlformats.org/officeDocument/2006/relationships" xmlns:p="http://schemas.openxmlformats.org/presentationml/2006/main">
  <p:tag name="EE4P_MAPWIZARD_ID" val="29"/>
  <p:tag name="EE4P_MAPWIZARD_HEADINGS" val="party_name\display_na"/>
  <p:tag name="EE4P_MAPWIZARD" val="CNTEE TRANSELECTRICA SA\TEL"/>
</p:tagLst>
</file>

<file path=ppt/tags/tag19.xml><?xml version="1.0" encoding="utf-8"?>
<p:tagLst xmlns:a="http://schemas.openxmlformats.org/drawingml/2006/main" xmlns:r="http://schemas.openxmlformats.org/officeDocument/2006/relationships" xmlns:p="http://schemas.openxmlformats.org/presentationml/2006/main">
  <p:tag name="EE4P_MAPWIZARD_ID" val="32"/>
  <p:tag name="EE4P_MAPWIZARD_HEADINGS" val="party_name\display_na"/>
  <p:tag name="EE4P_MAPWIZARD" val="MEPSO - Operator na elektroprenosniot sistem na Makedonija. AD. vo dr\MEPSO"/>
</p:tagLst>
</file>

<file path=ppt/tags/tag2.xml><?xml version="1.0" encoding="utf-8"?>
<p:tagLst xmlns:a="http://schemas.openxmlformats.org/drawingml/2006/main" xmlns:r="http://schemas.openxmlformats.org/officeDocument/2006/relationships" xmlns:p="http://schemas.openxmlformats.org/presentationml/2006/main">
  <p:tag name="EE4P_MAPWIZARD_ID" val="10"/>
  <p:tag name="EE4P_MAPWIZARD_HEADINGS" val="party_name\display_na"/>
  <p:tag name="EE4P_MAPWIZARD" val="ČEPS, a.s.\CEPS"/>
</p:tagLst>
</file>

<file path=ppt/tags/tag20.xml><?xml version="1.0" encoding="utf-8"?>
<p:tagLst xmlns:a="http://schemas.openxmlformats.org/drawingml/2006/main" xmlns:r="http://schemas.openxmlformats.org/officeDocument/2006/relationships" xmlns:p="http://schemas.openxmlformats.org/presentationml/2006/main">
  <p:tag name="EE4P_MAPWIZARD_ID" val="33"/>
  <p:tag name="EE4P_MAPWIZARD_HEADINGS" val="party_name\display_na"/>
  <p:tag name="EE4P_MAPWIZARD" val="Crnogorski elektroprenosni sistem AD\CGES"/>
</p:tagLst>
</file>

<file path=ppt/tags/tag21.xml><?xml version="1.0" encoding="utf-8"?>
<p:tagLst xmlns:a="http://schemas.openxmlformats.org/drawingml/2006/main" xmlns:r="http://schemas.openxmlformats.org/officeDocument/2006/relationships" xmlns:p="http://schemas.openxmlformats.org/presentationml/2006/main">
  <p:tag name="EE4P_MAPWIZARD_ID" val="35"/>
  <p:tag name="EE4P_MAPWIZARD_HEADINGS" val="party_name\display_na"/>
  <p:tag name="EE4P_MAPWIZARD" val="TERNA\Terna"/>
</p:tagLst>
</file>

<file path=ppt/tags/tag22.xml><?xml version="1.0" encoding="utf-8"?>
<p:tagLst xmlns:a="http://schemas.openxmlformats.org/drawingml/2006/main" xmlns:r="http://schemas.openxmlformats.org/officeDocument/2006/relationships" xmlns:p="http://schemas.openxmlformats.org/presentationml/2006/main">
  <p:tag name="EE4P_MAPWIZARD_ID" val="42"/>
  <p:tag name="EE4P_MAPWIZARD_HEADINGS" val="party_name\display_na"/>
  <p:tag name="EE4P_MAPWIZARD" val="AS Augstsprieguma tīkls\LV-AST"/>
</p:tagLst>
</file>

<file path=ppt/tags/tag23.xml><?xml version="1.0" encoding="utf-8"?>
<p:tagLst xmlns:a="http://schemas.openxmlformats.org/drawingml/2006/main" xmlns:r="http://schemas.openxmlformats.org/officeDocument/2006/relationships" xmlns:p="http://schemas.openxmlformats.org/presentationml/2006/main">
  <p:tag name="EE4P_MAPWIZARD_ID" val="43"/>
  <p:tag name="EE4P_MAPWIZARD_HEADINGS" val="party_name\display_na"/>
  <p:tag name="EE4P_MAPWIZARD" val="LITGRID\Litgrid"/>
</p:tagLst>
</file>

<file path=ppt/tags/tag24.xml><?xml version="1.0" encoding="utf-8"?>
<p:tagLst xmlns:a="http://schemas.openxmlformats.org/drawingml/2006/main" xmlns:r="http://schemas.openxmlformats.org/officeDocument/2006/relationships" xmlns:p="http://schemas.openxmlformats.org/presentationml/2006/main">
  <p:tag name="EE4P_MAPWIZARD_ID" val="57"/>
  <p:tag name="EE4P_MAPWIZARD_HEADINGS" val="party_name\display_na"/>
  <p:tag name="EE4P_MAPWIZARD" val="\HOPS"/>
</p:tagLst>
</file>

<file path=ppt/tags/tag25.xml><?xml version="1.0" encoding="utf-8"?>
<p:tagLst xmlns:a="http://schemas.openxmlformats.org/drawingml/2006/main" xmlns:r="http://schemas.openxmlformats.org/officeDocument/2006/relationships" xmlns:p="http://schemas.openxmlformats.org/presentationml/2006/main">
  <p:tag name="EE4P_MAPWIZARD_ID" val="58"/>
  <p:tag name="EE4P_MAPWIZARD_HEADINGS" val="party_name\display_na"/>
  <p:tag name="EE4P_MAPWIZARD" val="\NOS BiH"/>
</p:tagLst>
</file>

<file path=ppt/tags/tag26.xml><?xml version="1.0" encoding="utf-8"?>
<p:tagLst xmlns:a="http://schemas.openxmlformats.org/drawingml/2006/main" xmlns:r="http://schemas.openxmlformats.org/officeDocument/2006/relationships" xmlns:p="http://schemas.openxmlformats.org/presentationml/2006/main">
  <p:tag name="EE4P_MAPWIZARD_ID" val="65"/>
  <p:tag name="EE4P_MAPWIZARD_HEADINGS" val="party_name\display_na"/>
  <p:tag name="EE4P_MAPWIZARD" val="\ESO"/>
</p:tagLst>
</file>

<file path=ppt/tags/tag27.xml><?xml version="1.0" encoding="utf-8"?>
<p:tagLst xmlns:a="http://schemas.openxmlformats.org/drawingml/2006/main" xmlns:r="http://schemas.openxmlformats.org/officeDocument/2006/relationships" xmlns:p="http://schemas.openxmlformats.org/presentationml/2006/main">
  <p:tag name="EE4P_MAPWIZARD_ID" val="13"/>
  <p:tag name="EE4P_MAPWIZARD_HEADINGS" val="party_name\display_na"/>
  <p:tag name="EE4P_MAPWIZARD" val="Amprion GmbH\Amprion"/>
</p:tagLst>
</file>

<file path=ppt/tags/tag28.xml><?xml version="1.0" encoding="utf-8"?>
<p:tagLst xmlns:a="http://schemas.openxmlformats.org/drawingml/2006/main" xmlns:r="http://schemas.openxmlformats.org/officeDocument/2006/relationships" xmlns:p="http://schemas.openxmlformats.org/presentationml/2006/main">
  <p:tag name="EE4P_MAPWIZARD_ID" val="13"/>
  <p:tag name="EE4P_MAPWIZARD_HEADINGS" val="party_name\display_na"/>
  <p:tag name="EE4P_MAPWIZARD" val="Amprion GmbH\Amprion"/>
</p:tagLst>
</file>

<file path=ppt/tags/tag29.xml><?xml version="1.0" encoding="utf-8"?>
<p:tagLst xmlns:a="http://schemas.openxmlformats.org/drawingml/2006/main" xmlns:r="http://schemas.openxmlformats.org/officeDocument/2006/relationships" xmlns:p="http://schemas.openxmlformats.org/presentationml/2006/main">
  <p:tag name="EE4P_MAPWIZARD_ID" val="12"/>
  <p:tag name="EE4P_MAPWIZARD_HEADINGS" val="party_name\display_na"/>
  <p:tag name="EE4P_MAPWIZARD" val="EnBW Transportnetze AG\TransnetBW"/>
</p:tagLst>
</file>

<file path=ppt/tags/tag3.xml><?xml version="1.0" encoding="utf-8"?>
<p:tagLst xmlns:a="http://schemas.openxmlformats.org/drawingml/2006/main" xmlns:r="http://schemas.openxmlformats.org/officeDocument/2006/relationships" xmlns:p="http://schemas.openxmlformats.org/presentationml/2006/main">
  <p:tag name="EE4P_MAPWIZARD_ID" val="24"/>
  <p:tag name="EE4P_MAPWIZARD_HEADINGS" val="party_name\display_na"/>
  <p:tag name="EE4P_MAPWIZARD" val="Svenska kraftnät\SVK"/>
</p:tagLst>
</file>

<file path=ppt/tags/tag30.xml><?xml version="1.0" encoding="utf-8"?>
<p:tagLst xmlns:a="http://schemas.openxmlformats.org/drawingml/2006/main" xmlns:r="http://schemas.openxmlformats.org/officeDocument/2006/relationships" xmlns:p="http://schemas.openxmlformats.org/presentationml/2006/main">
  <p:tag name="EE4P_MAPWIZARD_ID" val="14"/>
  <p:tag name="EE4P_MAPWIZARD_HEADINGS" val="party_name\display_na"/>
  <p:tag name="EE4P_MAPWIZARD" val="50Hertz Transmission\50Hertz"/>
</p:tagLst>
</file>

<file path=ppt/tags/tag31.xml><?xml version="1.0" encoding="utf-8"?>
<p:tagLst xmlns:a="http://schemas.openxmlformats.org/drawingml/2006/main" xmlns:r="http://schemas.openxmlformats.org/officeDocument/2006/relationships" xmlns:p="http://schemas.openxmlformats.org/presentationml/2006/main">
  <p:tag name="EE4P_MAPWIZARD_ID" val="11"/>
  <p:tag name="EE4P_MAPWIZARD_HEADINGS" val="party_name\display_na"/>
  <p:tag name="EE4P_MAPWIZARD" val="TenneT TSO GmbH\TenneT Deutschland"/>
</p:tagLst>
</file>

<file path=ppt/tags/tag32.xml><?xml version="1.0" encoding="utf-8"?>
<p:tagLst xmlns:a="http://schemas.openxmlformats.org/drawingml/2006/main" xmlns:r="http://schemas.openxmlformats.org/officeDocument/2006/relationships" xmlns:p="http://schemas.openxmlformats.org/presentationml/2006/main">
  <p:tag name="EE4P_MAPWIZARD_ID" val="51"/>
  <p:tag name="EE4P_MAPWIZARD_HEADINGS" val="party_name\display_na"/>
  <p:tag name="EE4P_MAPWIZARD" val="\IPTO"/>
</p:tagLst>
</file>

<file path=ppt/tags/tag33.xml><?xml version="1.0" encoding="utf-8"?>
<p:tagLst xmlns:a="http://schemas.openxmlformats.org/drawingml/2006/main" xmlns:r="http://schemas.openxmlformats.org/officeDocument/2006/relationships" xmlns:p="http://schemas.openxmlformats.org/presentationml/2006/main">
  <p:tag name="EE4P_MAPWIZARD_ID" val="53"/>
  <p:tag name="EE4P_MAPWIZARD_HEADINGS" val="party_name\display_na"/>
  <p:tag name="EE4P_MAPWIZARD" val="National Grid\National Grid"/>
</p:tagLst>
</file>

<file path=ppt/tags/tag34.xml><?xml version="1.0" encoding="utf-8"?>
<p:tagLst xmlns:a="http://schemas.openxmlformats.org/drawingml/2006/main" xmlns:r="http://schemas.openxmlformats.org/officeDocument/2006/relationships" xmlns:p="http://schemas.openxmlformats.org/presentationml/2006/main">
  <p:tag name="EE4P_MAPWIZARD_ID" val="55"/>
  <p:tag name="EE4P_MAPWIZARD_HEADINGS" val="party_name\display_na"/>
  <p:tag name="EE4P_MAPWIZARD" val="\Elering"/>
</p:tagLst>
</file>

<file path=ppt/tags/tag35.xml><?xml version="1.0" encoding="utf-8"?>
<p:tagLst xmlns:a="http://schemas.openxmlformats.org/drawingml/2006/main" xmlns:r="http://schemas.openxmlformats.org/officeDocument/2006/relationships" xmlns:p="http://schemas.openxmlformats.org/presentationml/2006/main">
  <p:tag name="EE4P_MAPWIZARD_ID" val="56"/>
  <p:tag name="EE4P_MAPWIZARD_HEADINGS" val="party_name\display_na"/>
  <p:tag name="EE4P_MAPWIZARD" val="\ELES"/>
</p:tagLst>
</file>

<file path=ppt/tags/tag36.xml><?xml version="1.0" encoding="utf-8"?>
<p:tagLst xmlns:a="http://schemas.openxmlformats.org/drawingml/2006/main" xmlns:r="http://schemas.openxmlformats.org/officeDocument/2006/relationships" xmlns:p="http://schemas.openxmlformats.org/presentationml/2006/main">
  <p:tag name="EE4P_MAPWIZARD_ID" val="60"/>
  <p:tag name="EE4P_MAPWIZARD_HEADINGS" val="party_name\display_na"/>
  <p:tag name="EE4P_MAPWIZARD" val="\EMS"/>
</p:tagLst>
</file>

<file path=ppt/tags/tag37.xml><?xml version="1.0" encoding="utf-8"?>
<p:tagLst xmlns:a="http://schemas.openxmlformats.org/drawingml/2006/main" xmlns:r="http://schemas.openxmlformats.org/officeDocument/2006/relationships" xmlns:p="http://schemas.openxmlformats.org/presentationml/2006/main">
  <p:tag name="EE4P_MAPWIZARD_ID" val="8"/>
  <p:tag name="EE4P_MAPWIZARD_HEADINGS" val="party_name\display_na"/>
  <p:tag name="EE4P_MAPWIZARD" val="Vorarlberger Übertragungsnetz GmbH\VUEN"/>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MAPWIZARD_ID" val="15"/>
  <p:tag name="EE4P_MAPWIZARD_HEADINGS" val="party_name\display_na"/>
  <p:tag name="EE4P_MAPWIZARD" val="Energinet.dk\Energinet"/>
</p:tagLst>
</file>

<file path=ppt/tags/tag5.xml><?xml version="1.0" encoding="utf-8"?>
<p:tagLst xmlns:a="http://schemas.openxmlformats.org/drawingml/2006/main" xmlns:r="http://schemas.openxmlformats.org/officeDocument/2006/relationships" xmlns:p="http://schemas.openxmlformats.org/presentationml/2006/main">
  <p:tag name="EE4P_MAPWIZARD_ID" val="20"/>
  <p:tag name="EE4P_MAPWIZARD_HEADINGS" val="party_name\display_na"/>
  <p:tag name="EE4P_MAPWIZARD" val="Creos Luxembourg S.A.\Creos"/>
</p:tagLst>
</file>

<file path=ppt/tags/tag6.xml><?xml version="1.0" encoding="utf-8"?>
<p:tagLst xmlns:a="http://schemas.openxmlformats.org/drawingml/2006/main" xmlns:r="http://schemas.openxmlformats.org/officeDocument/2006/relationships" xmlns:p="http://schemas.openxmlformats.org/presentationml/2006/main">
  <p:tag name="EE4P_MAPWIZARD_ID" val="21"/>
  <p:tag name="EE4P_MAPWIZARD_HEADINGS" val="party_name\display_na"/>
  <p:tag name="EE4P_MAPWIZARD" val="TenneT TSO B.V.\TenneT Niederlande"/>
</p:tagLst>
</file>

<file path=ppt/tags/tag7.xml><?xml version="1.0" encoding="utf-8"?>
<p:tagLst xmlns:a="http://schemas.openxmlformats.org/drawingml/2006/main" xmlns:r="http://schemas.openxmlformats.org/officeDocument/2006/relationships" xmlns:p="http://schemas.openxmlformats.org/presentationml/2006/main">
  <p:tag name="EE4P_MAPWIZARD_ID" val="52"/>
  <p:tag name="EE4P_MAPWIZARD_HEADINGS" val="party_name\display_na"/>
  <p:tag name="EE4P_MAPWIZARD" val="Polskie Sieci Elektroenergetyczne Spółka Akcyjna\PSE"/>
</p:tagLst>
</file>

<file path=ppt/tags/tag8.xml><?xml version="1.0" encoding="utf-8"?>
<p:tagLst xmlns:a="http://schemas.openxmlformats.org/drawingml/2006/main" xmlns:r="http://schemas.openxmlformats.org/officeDocument/2006/relationships" xmlns:p="http://schemas.openxmlformats.org/presentationml/2006/main">
  <p:tag name="EE4P_MAPWIZARD_ID" val="17"/>
  <p:tag name="EE4P_MAPWIZARD_HEADINGS" val="party_name\display_na"/>
  <p:tag name="EE4P_MAPWIZARD" val="Réseau de Transport d'Electricité (RTE)\RTE"/>
</p:tagLst>
</file>

<file path=ppt/tags/tag9.xml><?xml version="1.0" encoding="utf-8"?>
<p:tagLst xmlns:a="http://schemas.openxmlformats.org/drawingml/2006/main" xmlns:r="http://schemas.openxmlformats.org/officeDocument/2006/relationships" xmlns:p="http://schemas.openxmlformats.org/presentationml/2006/main">
  <p:tag name="EE4P_MAPWIZARD_ID" val="36"/>
  <p:tag name="EE4P_MAPWIZARD_HEADINGS" val="party_name\display_na"/>
  <p:tag name="EE4P_MAPWIZARD" val="swissgrid AG\Swissgrid"/>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onception personnalisé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6BA906296274A4EBA33AD590DCEFA74" ma:contentTypeVersion="2" ma:contentTypeDescription="Create a new document." ma:contentTypeScope="" ma:versionID="8e900dba2f39d518e17eb1d97f9511e2">
  <xsd:schema xmlns:xsd="http://www.w3.org/2001/XMLSchema" xmlns:xs="http://www.w3.org/2001/XMLSchema" xmlns:p="http://schemas.microsoft.com/office/2006/metadata/properties" targetNamespace="http://schemas.microsoft.com/office/2006/metadata/properties" ma:root="true" ma:fieldsID="2666914d067f913ab42d9fbd2248f72c">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DB1772D-D463-47C5-862C-60537E54D9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CA1ABF33-A6D7-43E5-A11C-F26F64E6942A}">
  <ds:schemaRefs>
    <ds:schemaRef ds:uri="http://purl.org/dc/dcmitype/"/>
    <ds:schemaRef ds:uri="http://schemas.microsoft.com/office/2006/metadata/properties"/>
    <ds:schemaRef ds:uri="http://purl.org/dc/elements/1.1/"/>
    <ds:schemaRef ds:uri="http://schemas.microsoft.com/office/infopath/2007/PartnerControls"/>
    <ds:schemaRef ds:uri="http://www.w3.org/XML/1998/namespace"/>
    <ds:schemaRef ds:uri="http://schemas.microsoft.com/office/2006/documentManagement/types"/>
    <ds:schemaRef ds:uri="http://purl.org/dc/terms/"/>
    <ds:schemaRef ds:uri="http://schemas.openxmlformats.org/package/2006/metadata/core-properties"/>
  </ds:schemaRefs>
</ds:datastoreItem>
</file>

<file path=customXml/itemProps3.xml><?xml version="1.0" encoding="utf-8"?>
<ds:datastoreItem xmlns:ds="http://schemas.openxmlformats.org/officeDocument/2006/customXml" ds:itemID="{3B0FD0FE-9176-454C-ACF8-66CF2DD5E47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111</TotalTime>
  <Words>2046</Words>
  <Application>Microsoft Office PowerPoint</Application>
  <PresentationFormat>On-screen Show (4:3)</PresentationFormat>
  <Paragraphs>286</Paragraphs>
  <Slides>16</Slides>
  <Notes>11</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2</vt:i4>
      </vt:variant>
      <vt:variant>
        <vt:lpstr>Slide Titles</vt:lpstr>
      </vt:variant>
      <vt:variant>
        <vt:i4>16</vt:i4>
      </vt:variant>
    </vt:vector>
  </HeadingPairs>
  <TitlesOfParts>
    <vt:vector size="28" baseType="lpstr">
      <vt:lpstr>ＭＳ Ｐゴシック</vt:lpstr>
      <vt:lpstr>Arial</vt:lpstr>
      <vt:lpstr>Calibri</vt:lpstr>
      <vt:lpstr>Calibri (Body)</vt:lpstr>
      <vt:lpstr>Calibri Light</vt:lpstr>
      <vt:lpstr>Times New Roman</vt:lpstr>
      <vt:lpstr>Wingdings</vt:lpstr>
      <vt:lpstr>Thème Office</vt:lpstr>
      <vt:lpstr>Conception personnalisée</vt:lpstr>
      <vt:lpstr>1_Conception personnalisée</vt:lpstr>
      <vt:lpstr>Arbeitsblatt</vt:lpstr>
      <vt:lpstr>think-cell Folie</vt:lpstr>
      <vt:lpstr>TERRE  Trans European Replacement Reserves Exchange</vt:lpstr>
      <vt:lpstr>Agenda</vt:lpstr>
      <vt:lpstr>Topic 1: Introduction</vt:lpstr>
      <vt:lpstr>1. Introduction </vt:lpstr>
      <vt:lpstr>1. Introduction </vt:lpstr>
      <vt:lpstr>Cost and time estimations to implement 96 clearings</vt:lpstr>
      <vt:lpstr>Topic 2: Future of the TERRE project</vt:lpstr>
      <vt:lpstr>Information on the future of the project</vt:lpstr>
      <vt:lpstr>Information about the future of the project</vt:lpstr>
      <vt:lpstr>Information about the future of the project</vt:lpstr>
      <vt:lpstr>Information about the future of the project</vt:lpstr>
      <vt:lpstr>Information about the future of the project</vt:lpstr>
      <vt:lpstr>Information about the future of the project</vt:lpstr>
      <vt:lpstr>Information about the future of the project</vt:lpstr>
      <vt:lpstr>Information about the future of the project</vt:lpstr>
      <vt:lpstr>Topic 3: Questions and answers</vt:lpstr>
    </vt:vector>
  </TitlesOfParts>
  <Company>R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ENTSO-E</dc:creator>
  <cp:lastModifiedBy>Cyprien PELLETIER DE CHAMBURE</cp:lastModifiedBy>
  <cp:revision>2173</cp:revision>
  <cp:lastPrinted>2016-07-26T07:12:08Z</cp:lastPrinted>
  <dcterms:created xsi:type="dcterms:W3CDTF">2015-03-04T15:02:46Z</dcterms:created>
  <dcterms:modified xsi:type="dcterms:W3CDTF">2024-04-23T13:1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BA906296274A4EBA33AD590DCEFA74</vt:lpwstr>
  </property>
</Properties>
</file>